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1" r:id="rId1"/>
    <p:sldMasterId id="2147483725" r:id="rId2"/>
  </p:sldMasterIdLst>
  <p:notesMasterIdLst>
    <p:notesMasterId r:id="rId16"/>
  </p:notesMasterIdLst>
  <p:handoutMasterIdLst>
    <p:handoutMasterId r:id="rId17"/>
  </p:handoutMasterIdLst>
  <p:sldIdLst>
    <p:sldId id="258" r:id="rId3"/>
    <p:sldId id="261" r:id="rId4"/>
    <p:sldId id="270" r:id="rId5"/>
    <p:sldId id="279" r:id="rId6"/>
    <p:sldId id="282" r:id="rId7"/>
    <p:sldId id="272" r:id="rId8"/>
    <p:sldId id="280" r:id="rId9"/>
    <p:sldId id="281" r:id="rId10"/>
    <p:sldId id="283" r:id="rId11"/>
    <p:sldId id="274" r:id="rId12"/>
    <p:sldId id="285" r:id="rId13"/>
    <p:sldId id="278" r:id="rId14"/>
    <p:sldId id="284"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05EC3E5-79A8-42F7-9D19-A81568EDDB45}">
          <p14:sldIdLst>
            <p14:sldId id="258"/>
            <p14:sldId id="261"/>
            <p14:sldId id="270"/>
            <p14:sldId id="279"/>
            <p14:sldId id="282"/>
            <p14:sldId id="272"/>
            <p14:sldId id="280"/>
            <p14:sldId id="281"/>
            <p14:sldId id="283"/>
            <p14:sldId id="274"/>
            <p14:sldId id="285"/>
            <p14:sldId id="278"/>
            <p14:sldId id="284"/>
          </p14:sldIdLst>
        </p14:section>
      </p14:sectionLst>
    </p:ext>
    <p:ext uri="{EFAFB233-063F-42B5-8137-9DF3F51BA10A}">
      <p15:sldGuideLst xmlns:p15="http://schemas.microsoft.com/office/powerpoint/2012/main">
        <p15:guide id="1" pos="650" userDrawn="1">
          <p15:clr>
            <a:srgbClr val="A4A3A4"/>
          </p15:clr>
        </p15:guide>
        <p15:guide id="2" orient="horz" pos="648" userDrawn="1">
          <p15:clr>
            <a:srgbClr val="A4A3A4"/>
          </p15:clr>
        </p15:guide>
        <p15:guide id="3" orient="horz" pos="4008" userDrawn="1">
          <p15:clr>
            <a:srgbClr val="A4A3A4"/>
          </p15:clr>
        </p15:guide>
        <p15:guide id="4" pos="7296" userDrawn="1">
          <p15:clr>
            <a:srgbClr val="A4A3A4"/>
          </p15:clr>
        </p15:guide>
        <p15:guide id="5" orient="horz" pos="232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ha Jassim" initials="TJ" lastIdx="1" clrIdx="0">
    <p:extLst>
      <p:ext uri="{19B8F6BF-5375-455C-9EA6-DF929625EA0E}">
        <p15:presenceInfo xmlns:p15="http://schemas.microsoft.com/office/powerpoint/2012/main" userId="S::c01911@GIB.COM::24a45f11-1da4-430c-8d02-db1fbeedc6b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4D5"/>
    <a:srgbClr val="DCF4E7"/>
    <a:srgbClr val="FF9933"/>
    <a:srgbClr val="53565A"/>
    <a:srgbClr val="D9D9D6"/>
    <a:srgbClr val="FFCB05"/>
    <a:srgbClr val="F1F2F4"/>
    <a:srgbClr val="BC921D"/>
    <a:srgbClr val="FFFFFF"/>
    <a:srgbClr val="5556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162" autoAdjust="0"/>
    <p:restoredTop sz="94660"/>
  </p:normalViewPr>
  <p:slideViewPr>
    <p:cSldViewPr snapToGrid="0">
      <p:cViewPr varScale="1">
        <p:scale>
          <a:sx n="74" d="100"/>
          <a:sy n="74" d="100"/>
        </p:scale>
        <p:origin x="450" y="72"/>
      </p:cViewPr>
      <p:guideLst>
        <p:guide pos="650"/>
        <p:guide orient="horz" pos="648"/>
        <p:guide orient="horz" pos="4008"/>
        <p:guide pos="7296"/>
        <p:guide orient="horz" pos="2328"/>
      </p:guideLst>
    </p:cSldViewPr>
  </p:slideViewPr>
  <p:notesTextViewPr>
    <p:cViewPr>
      <p:scale>
        <a:sx n="3" d="2"/>
        <a:sy n="3" d="2"/>
      </p:scale>
      <p:origin x="0" y="0"/>
    </p:cViewPr>
  </p:notesTextViewPr>
  <p:notesViewPr>
    <p:cSldViewPr snapToGrid="0">
      <p:cViewPr varScale="1">
        <p:scale>
          <a:sx n="67" d="100"/>
          <a:sy n="67" d="100"/>
        </p:scale>
        <p:origin x="3228" y="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EBC2207-394A-4DFA-BD01-DA1427BAB5F7}"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IN"/>
        </a:p>
      </dgm:t>
    </dgm:pt>
    <dgm:pt modelId="{8B66A2AD-EE28-484A-BAA9-004FB8DC5C27}">
      <dgm:prSet phldrT="[Text]" custT="1"/>
      <dgm:spPr/>
      <dgm:t>
        <a:bodyPr/>
        <a:lstStyle/>
        <a:p>
          <a:r>
            <a:rPr lang="en-IN" sz="5000" dirty="0">
              <a:solidFill>
                <a:schemeClr val="bg1">
                  <a:lumMod val="10000"/>
                </a:schemeClr>
              </a:solidFill>
              <a:latin typeface="Calibri" panose="020F0502020204030204" pitchFamily="34" charset="0"/>
              <a:cs typeface="Calibri" panose="020F0502020204030204" pitchFamily="34" charset="0"/>
            </a:rPr>
            <a:t>Sprint 1</a:t>
          </a:r>
        </a:p>
      </dgm:t>
    </dgm:pt>
    <dgm:pt modelId="{8C22B71A-97D3-4D34-8A90-ECE97B6B42A2}" type="parTrans" cxnId="{CBDC5D98-26AB-4D68-BA9C-2AA541D2B4BD}">
      <dgm:prSet/>
      <dgm:spPr/>
      <dgm:t>
        <a:bodyPr/>
        <a:lstStyle/>
        <a:p>
          <a:endParaRPr lang="en-IN">
            <a:latin typeface="Calibri" panose="020F0502020204030204" pitchFamily="34" charset="0"/>
            <a:cs typeface="Calibri" panose="020F0502020204030204" pitchFamily="34" charset="0"/>
          </a:endParaRPr>
        </a:p>
      </dgm:t>
    </dgm:pt>
    <dgm:pt modelId="{5D3555B5-E5B6-42F5-83B9-2E4C77CD5F34}" type="sibTrans" cxnId="{CBDC5D98-26AB-4D68-BA9C-2AA541D2B4BD}">
      <dgm:prSet/>
      <dgm:spPr/>
      <dgm:t>
        <a:bodyPr/>
        <a:lstStyle/>
        <a:p>
          <a:endParaRPr lang="en-IN">
            <a:latin typeface="Calibri" panose="020F0502020204030204" pitchFamily="34" charset="0"/>
            <a:cs typeface="Calibri" panose="020F0502020204030204" pitchFamily="34" charset="0"/>
          </a:endParaRPr>
        </a:p>
      </dgm:t>
    </dgm:pt>
    <dgm:pt modelId="{66BCA579-445E-4789-82AB-82EF1679B83B}">
      <dgm:prSet phldrT="[Text]" custT="1"/>
      <dgm:spPr/>
      <dgm:t>
        <a:bodyPr anchor="ctr"/>
        <a:lstStyle/>
        <a:p>
          <a:pPr algn="just"/>
          <a:r>
            <a:rPr lang="en-IN" sz="1200" dirty="0">
              <a:solidFill>
                <a:schemeClr val="bg1">
                  <a:lumMod val="10000"/>
                </a:schemeClr>
              </a:solidFill>
              <a:latin typeface="Calibri" panose="020F0502020204030204" pitchFamily="34" charset="0"/>
              <a:cs typeface="Calibri" panose="020F0502020204030204" pitchFamily="34" charset="0"/>
            </a:rPr>
            <a:t>Gather and Analyse customer usage trend from production</a:t>
          </a:r>
        </a:p>
      </dgm:t>
    </dgm:pt>
    <dgm:pt modelId="{549480A1-525D-4F6E-84DD-00286F31A680}" type="parTrans" cxnId="{8C55ECD4-2B4B-4DF3-8A26-6632C9355702}">
      <dgm:prSet/>
      <dgm:spPr/>
      <dgm:t>
        <a:bodyPr/>
        <a:lstStyle/>
        <a:p>
          <a:endParaRPr lang="en-IN">
            <a:latin typeface="Calibri" panose="020F0502020204030204" pitchFamily="34" charset="0"/>
            <a:cs typeface="Calibri" panose="020F0502020204030204" pitchFamily="34" charset="0"/>
          </a:endParaRPr>
        </a:p>
      </dgm:t>
    </dgm:pt>
    <dgm:pt modelId="{7029C87C-2873-4382-8634-38CC069EDF7A}" type="sibTrans" cxnId="{8C55ECD4-2B4B-4DF3-8A26-6632C9355702}">
      <dgm:prSet/>
      <dgm:spPr/>
      <dgm:t>
        <a:bodyPr/>
        <a:lstStyle/>
        <a:p>
          <a:endParaRPr lang="en-IN">
            <a:latin typeface="Calibri" panose="020F0502020204030204" pitchFamily="34" charset="0"/>
            <a:cs typeface="Calibri" panose="020F0502020204030204" pitchFamily="34" charset="0"/>
          </a:endParaRPr>
        </a:p>
      </dgm:t>
    </dgm:pt>
    <dgm:pt modelId="{85326095-9201-48D1-A7DC-6C016096D116}">
      <dgm:prSet phldrT="[Text]" custT="1"/>
      <dgm:spPr/>
      <dgm:t>
        <a:bodyPr anchor="ctr"/>
        <a:lstStyle/>
        <a:p>
          <a:pPr algn="just"/>
          <a:r>
            <a:rPr lang="en-IN" sz="1200" dirty="0">
              <a:solidFill>
                <a:schemeClr val="bg1">
                  <a:lumMod val="10000"/>
                </a:schemeClr>
              </a:solidFill>
              <a:latin typeface="Calibri" panose="020F0502020204030204" pitchFamily="34" charset="0"/>
              <a:cs typeface="Calibri" panose="020F0502020204030204" pitchFamily="34" charset="0"/>
            </a:rPr>
            <a:t>Derive workload model</a:t>
          </a:r>
        </a:p>
      </dgm:t>
    </dgm:pt>
    <dgm:pt modelId="{FC33F039-49ED-421E-B397-8897F0227344}" type="parTrans" cxnId="{EB89CF2A-7774-40AF-8945-4F15D062C328}">
      <dgm:prSet/>
      <dgm:spPr/>
      <dgm:t>
        <a:bodyPr/>
        <a:lstStyle/>
        <a:p>
          <a:endParaRPr lang="en-IN">
            <a:latin typeface="Calibri" panose="020F0502020204030204" pitchFamily="34" charset="0"/>
            <a:cs typeface="Calibri" panose="020F0502020204030204" pitchFamily="34" charset="0"/>
          </a:endParaRPr>
        </a:p>
      </dgm:t>
    </dgm:pt>
    <dgm:pt modelId="{5B7A497E-B533-4B84-B3BF-846694D789BC}" type="sibTrans" cxnId="{EB89CF2A-7774-40AF-8945-4F15D062C328}">
      <dgm:prSet/>
      <dgm:spPr/>
      <dgm:t>
        <a:bodyPr/>
        <a:lstStyle/>
        <a:p>
          <a:endParaRPr lang="en-IN">
            <a:latin typeface="Calibri" panose="020F0502020204030204" pitchFamily="34" charset="0"/>
            <a:cs typeface="Calibri" panose="020F0502020204030204" pitchFamily="34" charset="0"/>
          </a:endParaRPr>
        </a:p>
      </dgm:t>
    </dgm:pt>
    <dgm:pt modelId="{04684CBF-1D37-4FDA-A025-79C6DD5A4A88}">
      <dgm:prSet phldrT="[Text]" custT="1"/>
      <dgm:spPr/>
      <dgm:t>
        <a:bodyPr/>
        <a:lstStyle/>
        <a:p>
          <a:r>
            <a:rPr lang="en-IN" sz="5000" dirty="0">
              <a:solidFill>
                <a:schemeClr val="bg1">
                  <a:lumMod val="10000"/>
                </a:schemeClr>
              </a:solidFill>
              <a:latin typeface="Calibri" panose="020F0502020204030204" pitchFamily="34" charset="0"/>
              <a:cs typeface="Calibri" panose="020F0502020204030204" pitchFamily="34" charset="0"/>
            </a:rPr>
            <a:t>Sprint 2</a:t>
          </a:r>
        </a:p>
      </dgm:t>
    </dgm:pt>
    <dgm:pt modelId="{28B2ED3E-7AAA-4B75-891E-84FD5D240556}" type="parTrans" cxnId="{A9A1EE76-0EFF-4220-AB9F-85415AB1D713}">
      <dgm:prSet/>
      <dgm:spPr/>
      <dgm:t>
        <a:bodyPr/>
        <a:lstStyle/>
        <a:p>
          <a:endParaRPr lang="en-IN">
            <a:latin typeface="Calibri" panose="020F0502020204030204" pitchFamily="34" charset="0"/>
            <a:cs typeface="Calibri" panose="020F0502020204030204" pitchFamily="34" charset="0"/>
          </a:endParaRPr>
        </a:p>
      </dgm:t>
    </dgm:pt>
    <dgm:pt modelId="{C6E8AFC5-5AE4-4805-B17F-5171978EC2A1}" type="sibTrans" cxnId="{A9A1EE76-0EFF-4220-AB9F-85415AB1D713}">
      <dgm:prSet/>
      <dgm:spPr/>
      <dgm:t>
        <a:bodyPr/>
        <a:lstStyle/>
        <a:p>
          <a:endParaRPr lang="en-IN">
            <a:latin typeface="Calibri" panose="020F0502020204030204" pitchFamily="34" charset="0"/>
            <a:cs typeface="Calibri" panose="020F0502020204030204" pitchFamily="34" charset="0"/>
          </a:endParaRPr>
        </a:p>
      </dgm:t>
    </dgm:pt>
    <dgm:pt modelId="{04B9515C-28B8-4478-8724-FB12EE6E858A}">
      <dgm:prSet phldrT="[Text]" custT="1"/>
      <dgm:spPr/>
      <dgm:t>
        <a:bodyPr anchor="ctr"/>
        <a:lstStyle/>
        <a:p>
          <a:pPr algn="just"/>
          <a:r>
            <a:rPr lang="en-IN" sz="1200" dirty="0">
              <a:solidFill>
                <a:schemeClr val="bg1">
                  <a:lumMod val="10000"/>
                </a:schemeClr>
              </a:solidFill>
              <a:latin typeface="Calibri" panose="020F0502020204030204" pitchFamily="34" charset="0"/>
              <a:cs typeface="Calibri" panose="020F0502020204030204" pitchFamily="34" charset="0"/>
            </a:rPr>
            <a:t>Gather technical details/architecture of identified performance test environment and evaluate against production</a:t>
          </a:r>
        </a:p>
      </dgm:t>
    </dgm:pt>
    <dgm:pt modelId="{98774B70-6D25-477D-BDCE-A9591128C0ED}" type="parTrans" cxnId="{E872F7B8-7441-4E48-A510-E611CE1F4A72}">
      <dgm:prSet/>
      <dgm:spPr/>
      <dgm:t>
        <a:bodyPr/>
        <a:lstStyle/>
        <a:p>
          <a:endParaRPr lang="en-IN">
            <a:latin typeface="Calibri" panose="020F0502020204030204" pitchFamily="34" charset="0"/>
            <a:cs typeface="Calibri" panose="020F0502020204030204" pitchFamily="34" charset="0"/>
          </a:endParaRPr>
        </a:p>
      </dgm:t>
    </dgm:pt>
    <dgm:pt modelId="{F5ACC958-D6A0-4B6E-A01E-CC1C062DF7E4}" type="sibTrans" cxnId="{E872F7B8-7441-4E48-A510-E611CE1F4A72}">
      <dgm:prSet/>
      <dgm:spPr/>
      <dgm:t>
        <a:bodyPr/>
        <a:lstStyle/>
        <a:p>
          <a:endParaRPr lang="en-IN">
            <a:latin typeface="Calibri" panose="020F0502020204030204" pitchFamily="34" charset="0"/>
            <a:cs typeface="Calibri" panose="020F0502020204030204" pitchFamily="34" charset="0"/>
          </a:endParaRPr>
        </a:p>
      </dgm:t>
    </dgm:pt>
    <dgm:pt modelId="{5682063E-1BEC-4E86-B143-8D1490438CEE}">
      <dgm:prSet phldrT="[Text]" custT="1"/>
      <dgm:spPr/>
      <dgm:t>
        <a:bodyPr anchor="ctr"/>
        <a:lstStyle/>
        <a:p>
          <a:pPr algn="just"/>
          <a:r>
            <a:rPr lang="en-IN" sz="1200" dirty="0">
              <a:solidFill>
                <a:schemeClr val="bg1">
                  <a:lumMod val="10000"/>
                </a:schemeClr>
              </a:solidFill>
              <a:latin typeface="Calibri" panose="020F0502020204030204" pitchFamily="34" charset="0"/>
              <a:cs typeface="Calibri" panose="020F0502020204030204" pitchFamily="34" charset="0"/>
            </a:rPr>
            <a:t>Prepare and publish Test Plan</a:t>
          </a:r>
        </a:p>
      </dgm:t>
    </dgm:pt>
    <dgm:pt modelId="{0CABA842-56AD-4AB9-8B17-5836C7EFE03F}" type="parTrans" cxnId="{B57BF127-E8EB-400E-BBE7-48EFC73CD110}">
      <dgm:prSet/>
      <dgm:spPr/>
      <dgm:t>
        <a:bodyPr/>
        <a:lstStyle/>
        <a:p>
          <a:endParaRPr lang="en-IN">
            <a:latin typeface="Calibri" panose="020F0502020204030204" pitchFamily="34" charset="0"/>
            <a:cs typeface="Calibri" panose="020F0502020204030204" pitchFamily="34" charset="0"/>
          </a:endParaRPr>
        </a:p>
      </dgm:t>
    </dgm:pt>
    <dgm:pt modelId="{F07E12FB-EB54-4728-8C9B-970CC1C45CEA}" type="sibTrans" cxnId="{B57BF127-E8EB-400E-BBE7-48EFC73CD110}">
      <dgm:prSet/>
      <dgm:spPr/>
      <dgm:t>
        <a:bodyPr/>
        <a:lstStyle/>
        <a:p>
          <a:endParaRPr lang="en-IN">
            <a:latin typeface="Calibri" panose="020F0502020204030204" pitchFamily="34" charset="0"/>
            <a:cs typeface="Calibri" panose="020F0502020204030204" pitchFamily="34" charset="0"/>
          </a:endParaRPr>
        </a:p>
      </dgm:t>
    </dgm:pt>
    <dgm:pt modelId="{3E1CC42C-FD30-4026-9073-5ABA09756AC7}">
      <dgm:prSet phldrT="[Text]" custT="1"/>
      <dgm:spPr/>
      <dgm:t>
        <a:bodyPr anchor="ctr"/>
        <a:lstStyle/>
        <a:p>
          <a:pPr algn="just"/>
          <a:r>
            <a:rPr lang="en-IN" sz="1200" dirty="0">
              <a:solidFill>
                <a:schemeClr val="bg1">
                  <a:lumMod val="10000"/>
                </a:schemeClr>
              </a:solidFill>
              <a:latin typeface="Calibri" panose="020F0502020204030204" pitchFamily="34" charset="0"/>
              <a:cs typeface="Calibri" panose="020F0502020204030204" pitchFamily="34" charset="0"/>
            </a:rPr>
            <a:t>Finalize transactions in scope for phase 1 performance testing</a:t>
          </a:r>
        </a:p>
      </dgm:t>
    </dgm:pt>
    <dgm:pt modelId="{B3F0EE46-4445-4961-93F9-D47097672DA5}" type="parTrans" cxnId="{01AF74FC-02AE-482D-801E-EB9CCC108B56}">
      <dgm:prSet/>
      <dgm:spPr/>
      <dgm:t>
        <a:bodyPr/>
        <a:lstStyle/>
        <a:p>
          <a:endParaRPr lang="en-IN">
            <a:latin typeface="Calibri" panose="020F0502020204030204" pitchFamily="34" charset="0"/>
            <a:cs typeface="Calibri" panose="020F0502020204030204" pitchFamily="34" charset="0"/>
          </a:endParaRPr>
        </a:p>
      </dgm:t>
    </dgm:pt>
    <dgm:pt modelId="{A54B4B3A-E986-4398-96A2-864DF7A5045E}" type="sibTrans" cxnId="{01AF74FC-02AE-482D-801E-EB9CCC108B56}">
      <dgm:prSet/>
      <dgm:spPr/>
      <dgm:t>
        <a:bodyPr/>
        <a:lstStyle/>
        <a:p>
          <a:endParaRPr lang="en-IN">
            <a:latin typeface="Calibri" panose="020F0502020204030204" pitchFamily="34" charset="0"/>
            <a:cs typeface="Calibri" panose="020F0502020204030204" pitchFamily="34" charset="0"/>
          </a:endParaRPr>
        </a:p>
      </dgm:t>
    </dgm:pt>
    <dgm:pt modelId="{840DC793-D695-44BC-B7F8-B795FD09F635}">
      <dgm:prSet phldrT="[Text]" custT="1"/>
      <dgm:spPr/>
      <dgm:t>
        <a:bodyPr anchor="ctr"/>
        <a:lstStyle/>
        <a:p>
          <a:pPr algn="just"/>
          <a:r>
            <a:rPr lang="en-IN" sz="1200" dirty="0">
              <a:solidFill>
                <a:schemeClr val="bg1">
                  <a:lumMod val="10000"/>
                </a:schemeClr>
              </a:solidFill>
              <a:latin typeface="Calibri" panose="020F0502020204030204" pitchFamily="34" charset="0"/>
              <a:cs typeface="Calibri" panose="020F0502020204030204" pitchFamily="34" charset="0"/>
            </a:rPr>
            <a:t>Identify and prepare performance test environment</a:t>
          </a:r>
        </a:p>
      </dgm:t>
    </dgm:pt>
    <dgm:pt modelId="{C6CEFCD3-66DE-49D4-A54D-7DF29C6AC3EB}" type="parTrans" cxnId="{C19AC9F9-ECCA-485F-8957-2DD517C8D97A}">
      <dgm:prSet/>
      <dgm:spPr/>
      <dgm:t>
        <a:bodyPr/>
        <a:lstStyle/>
        <a:p>
          <a:endParaRPr lang="en-IN">
            <a:latin typeface="Calibri" panose="020F0502020204030204" pitchFamily="34" charset="0"/>
            <a:cs typeface="Calibri" panose="020F0502020204030204" pitchFamily="34" charset="0"/>
          </a:endParaRPr>
        </a:p>
      </dgm:t>
    </dgm:pt>
    <dgm:pt modelId="{29CCABBC-86E4-48A6-8BA8-BD5F1878ED4A}" type="sibTrans" cxnId="{C19AC9F9-ECCA-485F-8957-2DD517C8D97A}">
      <dgm:prSet/>
      <dgm:spPr/>
      <dgm:t>
        <a:bodyPr/>
        <a:lstStyle/>
        <a:p>
          <a:endParaRPr lang="en-IN">
            <a:latin typeface="Calibri" panose="020F0502020204030204" pitchFamily="34" charset="0"/>
            <a:cs typeface="Calibri" panose="020F0502020204030204" pitchFamily="34" charset="0"/>
          </a:endParaRPr>
        </a:p>
      </dgm:t>
    </dgm:pt>
    <dgm:pt modelId="{F56AFD5A-149E-4452-BD2E-F43D036C1E33}">
      <dgm:prSet phldrT="[Text]" custT="1"/>
      <dgm:spPr/>
      <dgm:t>
        <a:bodyPr anchor="ctr"/>
        <a:lstStyle/>
        <a:p>
          <a:pPr algn="just"/>
          <a:r>
            <a:rPr lang="en-IN" sz="1200" dirty="0">
              <a:solidFill>
                <a:schemeClr val="bg1">
                  <a:lumMod val="10000"/>
                </a:schemeClr>
              </a:solidFill>
              <a:latin typeface="Calibri" panose="020F0502020204030204" pitchFamily="34" charset="0"/>
              <a:cs typeface="Calibri" panose="020F0502020204030204" pitchFamily="34" charset="0"/>
            </a:rPr>
            <a:t>Develop scripts for at least 3 transactions from finalized scope</a:t>
          </a:r>
        </a:p>
      </dgm:t>
    </dgm:pt>
    <dgm:pt modelId="{F4344A4D-ABF3-40DA-BEE9-B1B2456BF866}" type="parTrans" cxnId="{2819E4B1-C4DF-48CE-9BDE-F35EA359F0CD}">
      <dgm:prSet/>
      <dgm:spPr/>
      <dgm:t>
        <a:bodyPr/>
        <a:lstStyle/>
        <a:p>
          <a:endParaRPr lang="en-IN">
            <a:latin typeface="Calibri" panose="020F0502020204030204" pitchFamily="34" charset="0"/>
            <a:cs typeface="Calibri" panose="020F0502020204030204" pitchFamily="34" charset="0"/>
          </a:endParaRPr>
        </a:p>
      </dgm:t>
    </dgm:pt>
    <dgm:pt modelId="{01EBD92A-7A27-47E9-95A7-9795E3E58042}" type="sibTrans" cxnId="{2819E4B1-C4DF-48CE-9BDE-F35EA359F0CD}">
      <dgm:prSet/>
      <dgm:spPr/>
      <dgm:t>
        <a:bodyPr/>
        <a:lstStyle/>
        <a:p>
          <a:endParaRPr lang="en-IN">
            <a:latin typeface="Calibri" panose="020F0502020204030204" pitchFamily="34" charset="0"/>
            <a:cs typeface="Calibri" panose="020F0502020204030204" pitchFamily="34" charset="0"/>
          </a:endParaRPr>
        </a:p>
      </dgm:t>
    </dgm:pt>
    <dgm:pt modelId="{45B16D9F-349A-4CB6-B84A-311D90E855BF}">
      <dgm:prSet phldrT="[Text]" custT="1"/>
      <dgm:spPr/>
      <dgm:t>
        <a:bodyPr anchor="ctr"/>
        <a:lstStyle/>
        <a:p>
          <a:pPr algn="just"/>
          <a:r>
            <a:rPr lang="en-IN" sz="1200" dirty="0">
              <a:solidFill>
                <a:schemeClr val="bg1">
                  <a:lumMod val="10000"/>
                </a:schemeClr>
              </a:solidFill>
              <a:latin typeface="Calibri" panose="020F0502020204030204" pitchFamily="34" charset="0"/>
              <a:cs typeface="Calibri" panose="020F0502020204030204" pitchFamily="34" charset="0"/>
            </a:rPr>
            <a:t>Conduct sanity and baseline execution for developed scripts</a:t>
          </a:r>
        </a:p>
      </dgm:t>
    </dgm:pt>
    <dgm:pt modelId="{DD11B52F-F999-48A9-8E9D-CB3FC60A3E74}" type="parTrans" cxnId="{B761C9C1-08E6-47A6-A6F2-F779C51E75F3}">
      <dgm:prSet/>
      <dgm:spPr/>
      <dgm:t>
        <a:bodyPr/>
        <a:lstStyle/>
        <a:p>
          <a:endParaRPr lang="en-IN">
            <a:latin typeface="Calibri" panose="020F0502020204030204" pitchFamily="34" charset="0"/>
            <a:cs typeface="Calibri" panose="020F0502020204030204" pitchFamily="34" charset="0"/>
          </a:endParaRPr>
        </a:p>
      </dgm:t>
    </dgm:pt>
    <dgm:pt modelId="{B678D197-71E4-49B3-B9A3-2416C027F5C0}" type="sibTrans" cxnId="{B761C9C1-08E6-47A6-A6F2-F779C51E75F3}">
      <dgm:prSet/>
      <dgm:spPr/>
      <dgm:t>
        <a:bodyPr/>
        <a:lstStyle/>
        <a:p>
          <a:endParaRPr lang="en-IN">
            <a:latin typeface="Calibri" panose="020F0502020204030204" pitchFamily="34" charset="0"/>
            <a:cs typeface="Calibri" panose="020F0502020204030204" pitchFamily="34" charset="0"/>
          </a:endParaRPr>
        </a:p>
      </dgm:t>
    </dgm:pt>
    <dgm:pt modelId="{A3FCDE10-80E3-4E4B-A24B-0A1FA9D25A78}">
      <dgm:prSet phldrT="[Text]" custT="1"/>
      <dgm:spPr/>
      <dgm:t>
        <a:bodyPr anchor="ctr"/>
        <a:lstStyle/>
        <a:p>
          <a:pPr algn="just"/>
          <a:r>
            <a:rPr lang="en-IN" sz="1200" dirty="0">
              <a:solidFill>
                <a:schemeClr val="bg1">
                  <a:lumMod val="10000"/>
                </a:schemeClr>
              </a:solidFill>
              <a:latin typeface="Calibri" panose="020F0502020204030204" pitchFamily="34" charset="0"/>
              <a:cs typeface="Calibri" panose="020F0502020204030204" pitchFamily="34" charset="0"/>
            </a:rPr>
            <a:t>Monitoring tools configuration in identified test environment and access if required</a:t>
          </a:r>
        </a:p>
      </dgm:t>
    </dgm:pt>
    <dgm:pt modelId="{7990471A-0B62-41AB-8A8D-6FAFD3CFAE2B}" type="parTrans" cxnId="{2D6FE0DB-8A14-4DA4-8F51-CBD42E4BBEA4}">
      <dgm:prSet/>
      <dgm:spPr/>
      <dgm:t>
        <a:bodyPr/>
        <a:lstStyle/>
        <a:p>
          <a:endParaRPr lang="en-IN"/>
        </a:p>
      </dgm:t>
    </dgm:pt>
    <dgm:pt modelId="{69042C22-13D4-4CB6-BE26-30747492F1CD}" type="sibTrans" cxnId="{2D6FE0DB-8A14-4DA4-8F51-CBD42E4BBEA4}">
      <dgm:prSet/>
      <dgm:spPr/>
      <dgm:t>
        <a:bodyPr/>
        <a:lstStyle/>
        <a:p>
          <a:endParaRPr lang="en-IN"/>
        </a:p>
      </dgm:t>
    </dgm:pt>
    <dgm:pt modelId="{02223BD9-D9AD-41D9-B90C-668FD4277254}">
      <dgm:prSet phldrT="[Text]" custT="1"/>
      <dgm:spPr/>
      <dgm:t>
        <a:bodyPr anchor="ctr"/>
        <a:lstStyle/>
        <a:p>
          <a:pPr algn="just"/>
          <a:r>
            <a:rPr lang="en-IN" sz="1200" dirty="0">
              <a:solidFill>
                <a:schemeClr val="bg1">
                  <a:lumMod val="10000"/>
                </a:schemeClr>
              </a:solidFill>
              <a:latin typeface="Calibri" panose="020F0502020204030204" pitchFamily="34" charset="0"/>
              <a:cs typeface="Calibri" panose="020F0502020204030204" pitchFamily="34" charset="0"/>
            </a:rPr>
            <a:t>Develop scripts for 5 transactions from IB finalized scope</a:t>
          </a:r>
        </a:p>
      </dgm:t>
    </dgm:pt>
    <dgm:pt modelId="{97EE0FEC-1E1A-4806-9382-3077DE5896CB}" type="parTrans" cxnId="{C34E86B7-9B5A-4713-BB36-A43D38E7A0DE}">
      <dgm:prSet/>
      <dgm:spPr/>
      <dgm:t>
        <a:bodyPr/>
        <a:lstStyle/>
        <a:p>
          <a:endParaRPr lang="en-IN"/>
        </a:p>
      </dgm:t>
    </dgm:pt>
    <dgm:pt modelId="{5DC94799-2C23-4E58-9A02-AA31A8D74B42}" type="sibTrans" cxnId="{C34E86B7-9B5A-4713-BB36-A43D38E7A0DE}">
      <dgm:prSet/>
      <dgm:spPr/>
      <dgm:t>
        <a:bodyPr/>
        <a:lstStyle/>
        <a:p>
          <a:endParaRPr lang="en-IN"/>
        </a:p>
      </dgm:t>
    </dgm:pt>
    <dgm:pt modelId="{296A1006-5583-4853-AA56-5630B5F5E341}">
      <dgm:prSet phldrT="[Text]" custT="1"/>
      <dgm:spPr/>
      <dgm:t>
        <a:bodyPr anchor="ctr"/>
        <a:lstStyle/>
        <a:p>
          <a:pPr algn="just"/>
          <a:r>
            <a:rPr lang="en-IN" sz="1200" dirty="0">
              <a:solidFill>
                <a:schemeClr val="bg1">
                  <a:lumMod val="10000"/>
                </a:schemeClr>
              </a:solidFill>
              <a:latin typeface="Calibri" panose="020F0502020204030204" pitchFamily="34" charset="0"/>
              <a:cs typeface="Calibri" panose="020F0502020204030204" pitchFamily="34" charset="0"/>
            </a:rPr>
            <a:t>Conduct 10% and 30% load test based on derived work load model for 8 transactions</a:t>
          </a:r>
        </a:p>
      </dgm:t>
    </dgm:pt>
    <dgm:pt modelId="{9969B8E1-1670-4830-86E2-8776EDE27795}" type="parTrans" cxnId="{AD76A9E5-39EB-4492-AFF6-07DEA38174E9}">
      <dgm:prSet/>
      <dgm:spPr/>
      <dgm:t>
        <a:bodyPr/>
        <a:lstStyle/>
        <a:p>
          <a:endParaRPr lang="en-IN"/>
        </a:p>
      </dgm:t>
    </dgm:pt>
    <dgm:pt modelId="{5136E96C-48CF-4C7C-86CD-8745CFD50194}" type="sibTrans" cxnId="{AD76A9E5-39EB-4492-AFF6-07DEA38174E9}">
      <dgm:prSet/>
      <dgm:spPr/>
      <dgm:t>
        <a:bodyPr/>
        <a:lstStyle/>
        <a:p>
          <a:endParaRPr lang="en-IN"/>
        </a:p>
      </dgm:t>
    </dgm:pt>
    <dgm:pt modelId="{6F00174E-041E-4B0B-BD27-62789C690CB3}">
      <dgm:prSet phldrT="[Text]" custT="1"/>
      <dgm:spPr/>
      <dgm:t>
        <a:bodyPr/>
        <a:lstStyle/>
        <a:p>
          <a:pPr algn="just"/>
          <a:r>
            <a:rPr lang="en-IN" sz="1200" dirty="0">
              <a:solidFill>
                <a:schemeClr val="bg1">
                  <a:lumMod val="10000"/>
                </a:schemeClr>
              </a:solidFill>
              <a:latin typeface="Calibri" panose="020F0502020204030204" pitchFamily="34" charset="0"/>
              <a:cs typeface="Calibri" panose="020F0502020204030204" pitchFamily="34" charset="0"/>
            </a:rPr>
            <a:t>Test data creation and maintenance</a:t>
          </a:r>
        </a:p>
      </dgm:t>
    </dgm:pt>
    <dgm:pt modelId="{3BB93DB2-757A-49CB-A84C-F2781F2152E9}" type="parTrans" cxnId="{833A6DEC-4493-4A75-9ADC-6D07FF91F4BE}">
      <dgm:prSet/>
      <dgm:spPr/>
      <dgm:t>
        <a:bodyPr/>
        <a:lstStyle/>
        <a:p>
          <a:endParaRPr lang="en-IN"/>
        </a:p>
      </dgm:t>
    </dgm:pt>
    <dgm:pt modelId="{52D1B9CB-39EF-41C8-9C4B-600F6F3C9645}" type="sibTrans" cxnId="{833A6DEC-4493-4A75-9ADC-6D07FF91F4BE}">
      <dgm:prSet/>
      <dgm:spPr/>
      <dgm:t>
        <a:bodyPr/>
        <a:lstStyle/>
        <a:p>
          <a:endParaRPr lang="en-IN"/>
        </a:p>
      </dgm:t>
    </dgm:pt>
    <dgm:pt modelId="{914C1E1B-58EE-470B-B431-F2E8C6C213BC}">
      <dgm:prSet phldrT="[Text]" custT="1"/>
      <dgm:spPr/>
      <dgm:t>
        <a:bodyPr/>
        <a:lstStyle/>
        <a:p>
          <a:pPr algn="just"/>
          <a:r>
            <a:rPr lang="en-IN" sz="1200" dirty="0">
              <a:solidFill>
                <a:schemeClr val="bg1">
                  <a:lumMod val="10000"/>
                </a:schemeClr>
              </a:solidFill>
              <a:latin typeface="Calibri" panose="020F0502020204030204" pitchFamily="34" charset="0"/>
              <a:cs typeface="Calibri" panose="020F0502020204030204" pitchFamily="34" charset="0"/>
            </a:rPr>
            <a:t>Test data creation and maintenance</a:t>
          </a:r>
        </a:p>
      </dgm:t>
    </dgm:pt>
    <dgm:pt modelId="{71858D61-E08E-4A79-A8DA-245F789EF9A7}" type="parTrans" cxnId="{68E59CF8-59AC-4112-89B1-1A24778D19D9}">
      <dgm:prSet/>
      <dgm:spPr/>
      <dgm:t>
        <a:bodyPr/>
        <a:lstStyle/>
        <a:p>
          <a:endParaRPr lang="en-IN"/>
        </a:p>
      </dgm:t>
    </dgm:pt>
    <dgm:pt modelId="{D5F849F9-8902-46B5-B125-79C7F25FF0E5}" type="sibTrans" cxnId="{68E59CF8-59AC-4112-89B1-1A24778D19D9}">
      <dgm:prSet/>
      <dgm:spPr/>
      <dgm:t>
        <a:bodyPr/>
        <a:lstStyle/>
        <a:p>
          <a:endParaRPr lang="en-IN"/>
        </a:p>
      </dgm:t>
    </dgm:pt>
    <dgm:pt modelId="{5DD0ABF3-FDFF-4D44-AAFF-195ADCD9225F}">
      <dgm:prSet phldrT="[Text]" custT="1"/>
      <dgm:spPr/>
      <dgm:t>
        <a:bodyPr anchor="ctr"/>
        <a:lstStyle/>
        <a:p>
          <a:pPr algn="just"/>
          <a:r>
            <a:rPr lang="en-IN" sz="1200" dirty="0">
              <a:solidFill>
                <a:schemeClr val="bg1">
                  <a:lumMod val="10000"/>
                </a:schemeClr>
              </a:solidFill>
              <a:latin typeface="Calibri" panose="020F0502020204030204" pitchFamily="34" charset="0"/>
              <a:cs typeface="Calibri" panose="020F0502020204030204" pitchFamily="34" charset="0"/>
            </a:rPr>
            <a:t>Tools installation and set up</a:t>
          </a:r>
        </a:p>
      </dgm:t>
    </dgm:pt>
    <dgm:pt modelId="{B5EF1E6E-C789-44D8-94F1-5788715A3FBF}" type="parTrans" cxnId="{895BC8B9-05AC-4070-869C-E40855E2BC65}">
      <dgm:prSet/>
      <dgm:spPr/>
      <dgm:t>
        <a:bodyPr/>
        <a:lstStyle/>
        <a:p>
          <a:endParaRPr lang="en-IN"/>
        </a:p>
      </dgm:t>
    </dgm:pt>
    <dgm:pt modelId="{A1C8E747-6AF9-4F9D-BAAB-0D696EEF9223}" type="sibTrans" cxnId="{895BC8B9-05AC-4070-869C-E40855E2BC65}">
      <dgm:prSet/>
      <dgm:spPr/>
      <dgm:t>
        <a:bodyPr/>
        <a:lstStyle/>
        <a:p>
          <a:endParaRPr lang="en-IN"/>
        </a:p>
      </dgm:t>
    </dgm:pt>
    <dgm:pt modelId="{5EE0B5A4-762C-4057-A738-117D32E2CDCE}" type="pres">
      <dgm:prSet presAssocID="{BEBC2207-394A-4DFA-BD01-DA1427BAB5F7}" presName="Name0" presStyleCnt="0">
        <dgm:presLayoutVars>
          <dgm:dir/>
          <dgm:animLvl val="lvl"/>
          <dgm:resizeHandles/>
        </dgm:presLayoutVars>
      </dgm:prSet>
      <dgm:spPr/>
      <dgm:t>
        <a:bodyPr/>
        <a:lstStyle/>
        <a:p>
          <a:endParaRPr lang="en-IN"/>
        </a:p>
      </dgm:t>
    </dgm:pt>
    <dgm:pt modelId="{44E22859-B131-4EEB-A620-E9AFF6792573}" type="pres">
      <dgm:prSet presAssocID="{8B66A2AD-EE28-484A-BAA9-004FB8DC5C27}" presName="linNode" presStyleCnt="0"/>
      <dgm:spPr/>
    </dgm:pt>
    <dgm:pt modelId="{E228FD31-99D6-4636-8434-D04F0E7B6A3A}" type="pres">
      <dgm:prSet presAssocID="{8B66A2AD-EE28-484A-BAA9-004FB8DC5C27}" presName="parentShp" presStyleLbl="node1" presStyleIdx="0" presStyleCnt="2">
        <dgm:presLayoutVars>
          <dgm:bulletEnabled val="1"/>
        </dgm:presLayoutVars>
      </dgm:prSet>
      <dgm:spPr/>
      <dgm:t>
        <a:bodyPr/>
        <a:lstStyle/>
        <a:p>
          <a:endParaRPr lang="en-IN"/>
        </a:p>
      </dgm:t>
    </dgm:pt>
    <dgm:pt modelId="{47D0D86B-0AC7-46A6-BFE6-839F878D99F0}" type="pres">
      <dgm:prSet presAssocID="{8B66A2AD-EE28-484A-BAA9-004FB8DC5C27}" presName="childShp" presStyleLbl="bgAccFollowNode1" presStyleIdx="0" presStyleCnt="2">
        <dgm:presLayoutVars>
          <dgm:bulletEnabled val="1"/>
        </dgm:presLayoutVars>
      </dgm:prSet>
      <dgm:spPr/>
      <dgm:t>
        <a:bodyPr/>
        <a:lstStyle/>
        <a:p>
          <a:endParaRPr lang="en-IN"/>
        </a:p>
      </dgm:t>
    </dgm:pt>
    <dgm:pt modelId="{432BA2F2-0C06-45E5-9055-A04BF7DBDB56}" type="pres">
      <dgm:prSet presAssocID="{5D3555B5-E5B6-42F5-83B9-2E4C77CD5F34}" presName="spacing" presStyleCnt="0"/>
      <dgm:spPr/>
    </dgm:pt>
    <dgm:pt modelId="{7BF10F27-B278-4CF6-B205-01D3D44CC52E}" type="pres">
      <dgm:prSet presAssocID="{04684CBF-1D37-4FDA-A025-79C6DD5A4A88}" presName="linNode" presStyleCnt="0"/>
      <dgm:spPr/>
    </dgm:pt>
    <dgm:pt modelId="{8E8C3AF3-55A2-4653-A269-A13FA78E124B}" type="pres">
      <dgm:prSet presAssocID="{04684CBF-1D37-4FDA-A025-79C6DD5A4A88}" presName="parentShp" presStyleLbl="node1" presStyleIdx="1" presStyleCnt="2">
        <dgm:presLayoutVars>
          <dgm:bulletEnabled val="1"/>
        </dgm:presLayoutVars>
      </dgm:prSet>
      <dgm:spPr/>
      <dgm:t>
        <a:bodyPr/>
        <a:lstStyle/>
        <a:p>
          <a:endParaRPr lang="en-IN"/>
        </a:p>
      </dgm:t>
    </dgm:pt>
    <dgm:pt modelId="{61F481CE-99C2-4ABF-A52A-AE8941D784F5}" type="pres">
      <dgm:prSet presAssocID="{04684CBF-1D37-4FDA-A025-79C6DD5A4A88}" presName="childShp" presStyleLbl="bgAccFollowNode1" presStyleIdx="1" presStyleCnt="2" custScaleX="100122" custScaleY="103785">
        <dgm:presLayoutVars>
          <dgm:bulletEnabled val="1"/>
        </dgm:presLayoutVars>
      </dgm:prSet>
      <dgm:spPr/>
      <dgm:t>
        <a:bodyPr/>
        <a:lstStyle/>
        <a:p>
          <a:endParaRPr lang="en-IN"/>
        </a:p>
      </dgm:t>
    </dgm:pt>
  </dgm:ptLst>
  <dgm:cxnLst>
    <dgm:cxn modelId="{C34E86B7-9B5A-4713-BB36-A43D38E7A0DE}" srcId="{04684CBF-1D37-4FDA-A025-79C6DD5A4A88}" destId="{02223BD9-D9AD-41D9-B90C-668FD4277254}" srcOrd="3" destOrd="0" parTransId="{97EE0FEC-1E1A-4806-9382-3077DE5896CB}" sibTransId="{5DC94799-2C23-4E58-9A02-AA31A8D74B42}"/>
    <dgm:cxn modelId="{988A143C-8E3F-460C-ACAC-E5CB1AE89DD7}" type="presOf" srcId="{02223BD9-D9AD-41D9-B90C-668FD4277254}" destId="{61F481CE-99C2-4ABF-A52A-AE8941D784F5}" srcOrd="0" destOrd="3" presId="urn:microsoft.com/office/officeart/2005/8/layout/vList6"/>
    <dgm:cxn modelId="{B761C9C1-08E6-47A6-A6F2-F779C51E75F3}" srcId="{8B66A2AD-EE28-484A-BAA9-004FB8DC5C27}" destId="{45B16D9F-349A-4CB6-B84A-311D90E855BF}" srcOrd="7" destOrd="0" parTransId="{DD11B52F-F999-48A9-8E9D-CB3FC60A3E74}" sibTransId="{B678D197-71E4-49B3-B9A3-2416C027F5C0}"/>
    <dgm:cxn modelId="{4AFD754E-A3F4-49ED-8F43-575CA7FA3C64}" type="presOf" srcId="{840DC793-D695-44BC-B7F8-B795FD09F635}" destId="{47D0D86B-0AC7-46A6-BFE6-839F878D99F0}" srcOrd="0" destOrd="2" presId="urn:microsoft.com/office/officeart/2005/8/layout/vList6"/>
    <dgm:cxn modelId="{A9A1EE76-0EFF-4220-AB9F-85415AB1D713}" srcId="{BEBC2207-394A-4DFA-BD01-DA1427BAB5F7}" destId="{04684CBF-1D37-4FDA-A025-79C6DD5A4A88}" srcOrd="1" destOrd="0" parTransId="{28B2ED3E-7AAA-4B75-891E-84FD5D240556}" sibTransId="{C6E8AFC5-5AE4-4805-B17F-5171978EC2A1}"/>
    <dgm:cxn modelId="{6875AB9D-1C5D-433A-9DBE-EDC683F6A6F5}" type="presOf" srcId="{914C1E1B-58EE-470B-B431-F2E8C6C213BC}" destId="{47D0D86B-0AC7-46A6-BFE6-839F878D99F0}" srcOrd="0" destOrd="6" presId="urn:microsoft.com/office/officeart/2005/8/layout/vList6"/>
    <dgm:cxn modelId="{E872F7B8-7441-4E48-A510-E611CE1F4A72}" srcId="{04684CBF-1D37-4FDA-A025-79C6DD5A4A88}" destId="{04B9515C-28B8-4478-8724-FB12EE6E858A}" srcOrd="0" destOrd="0" parTransId="{98774B70-6D25-477D-BDCE-A9591128C0ED}" sibTransId="{F5ACC958-D6A0-4B6E-A01E-CC1C062DF7E4}"/>
    <dgm:cxn modelId="{D1AFE33D-7841-4291-A5A0-1B82B0654CEF}" type="presOf" srcId="{5DD0ABF3-FDFF-4D44-AAFF-195ADCD9225F}" destId="{47D0D86B-0AC7-46A6-BFE6-839F878D99F0}" srcOrd="0" destOrd="4" presId="urn:microsoft.com/office/officeart/2005/8/layout/vList6"/>
    <dgm:cxn modelId="{AD76A9E5-39EB-4492-AFF6-07DEA38174E9}" srcId="{04684CBF-1D37-4FDA-A025-79C6DD5A4A88}" destId="{296A1006-5583-4853-AA56-5630B5F5E341}" srcOrd="5" destOrd="0" parTransId="{9969B8E1-1670-4830-86E2-8776EDE27795}" sibTransId="{5136E96C-48CF-4C7C-86CD-8745CFD50194}"/>
    <dgm:cxn modelId="{4D4536CA-3D0C-441C-A8BF-7A4998D333CD}" type="presOf" srcId="{45B16D9F-349A-4CB6-B84A-311D90E855BF}" destId="{47D0D86B-0AC7-46A6-BFE6-839F878D99F0}" srcOrd="0" destOrd="7" presId="urn:microsoft.com/office/officeart/2005/8/layout/vList6"/>
    <dgm:cxn modelId="{95D7E2EE-F909-48E9-A5FB-AE673B8717BF}" type="presOf" srcId="{A3FCDE10-80E3-4E4B-A24B-0A1FA9D25A78}" destId="{61F481CE-99C2-4ABF-A52A-AE8941D784F5}" srcOrd="0" destOrd="1" presId="urn:microsoft.com/office/officeart/2005/8/layout/vList6"/>
    <dgm:cxn modelId="{2B5535A7-ED48-47C5-BDB9-F1C6F815FF3E}" type="presOf" srcId="{66BCA579-445E-4789-82AB-82EF1679B83B}" destId="{47D0D86B-0AC7-46A6-BFE6-839F878D99F0}" srcOrd="0" destOrd="0" presId="urn:microsoft.com/office/officeart/2005/8/layout/vList6"/>
    <dgm:cxn modelId="{EB89CF2A-7774-40AF-8945-4F15D062C328}" srcId="{8B66A2AD-EE28-484A-BAA9-004FB8DC5C27}" destId="{85326095-9201-48D1-A7DC-6C016096D116}" srcOrd="3" destOrd="0" parTransId="{FC33F039-49ED-421E-B397-8897F0227344}" sibTransId="{5B7A497E-B533-4B84-B3BF-846694D789BC}"/>
    <dgm:cxn modelId="{2819E4B1-C4DF-48CE-9BDE-F35EA359F0CD}" srcId="{8B66A2AD-EE28-484A-BAA9-004FB8DC5C27}" destId="{F56AFD5A-149E-4452-BD2E-F43D036C1E33}" srcOrd="5" destOrd="0" parTransId="{F4344A4D-ABF3-40DA-BEE9-B1B2456BF866}" sibTransId="{01EBD92A-7A27-47E9-95A7-9795E3E58042}"/>
    <dgm:cxn modelId="{833A6DEC-4493-4A75-9ADC-6D07FF91F4BE}" srcId="{04684CBF-1D37-4FDA-A025-79C6DD5A4A88}" destId="{6F00174E-041E-4B0B-BD27-62789C690CB3}" srcOrd="4" destOrd="0" parTransId="{3BB93DB2-757A-49CB-A84C-F2781F2152E9}" sibTransId="{52D1B9CB-39EF-41C8-9C4B-600F6F3C9645}"/>
    <dgm:cxn modelId="{B57BF127-E8EB-400E-BBE7-48EFC73CD110}" srcId="{04684CBF-1D37-4FDA-A025-79C6DD5A4A88}" destId="{5682063E-1BEC-4E86-B143-8D1490438CEE}" srcOrd="2" destOrd="0" parTransId="{0CABA842-56AD-4AB9-8B17-5836C7EFE03F}" sibTransId="{F07E12FB-EB54-4728-8C9B-970CC1C45CEA}"/>
    <dgm:cxn modelId="{68E59CF8-59AC-4112-89B1-1A24778D19D9}" srcId="{8B66A2AD-EE28-484A-BAA9-004FB8DC5C27}" destId="{914C1E1B-58EE-470B-B431-F2E8C6C213BC}" srcOrd="6" destOrd="0" parTransId="{71858D61-E08E-4A79-A8DA-245F789EF9A7}" sibTransId="{D5F849F9-8902-46B5-B125-79C7F25FF0E5}"/>
    <dgm:cxn modelId="{01AF74FC-02AE-482D-801E-EB9CCC108B56}" srcId="{8B66A2AD-EE28-484A-BAA9-004FB8DC5C27}" destId="{3E1CC42C-FD30-4026-9073-5ABA09756AC7}" srcOrd="1" destOrd="0" parTransId="{B3F0EE46-4445-4961-93F9-D47097672DA5}" sibTransId="{A54B4B3A-E986-4398-96A2-864DF7A5045E}"/>
    <dgm:cxn modelId="{A53770BC-6E4D-434D-A5B2-F585960E7384}" type="presOf" srcId="{5682063E-1BEC-4E86-B143-8D1490438CEE}" destId="{61F481CE-99C2-4ABF-A52A-AE8941D784F5}" srcOrd="0" destOrd="2" presId="urn:microsoft.com/office/officeart/2005/8/layout/vList6"/>
    <dgm:cxn modelId="{10046CB6-C734-4C61-966F-005861CBE100}" type="presOf" srcId="{F56AFD5A-149E-4452-BD2E-F43D036C1E33}" destId="{47D0D86B-0AC7-46A6-BFE6-839F878D99F0}" srcOrd="0" destOrd="5" presId="urn:microsoft.com/office/officeart/2005/8/layout/vList6"/>
    <dgm:cxn modelId="{2D6FE0DB-8A14-4DA4-8F51-CBD42E4BBEA4}" srcId="{04684CBF-1D37-4FDA-A025-79C6DD5A4A88}" destId="{A3FCDE10-80E3-4E4B-A24B-0A1FA9D25A78}" srcOrd="1" destOrd="0" parTransId="{7990471A-0B62-41AB-8A8D-6FAFD3CFAE2B}" sibTransId="{69042C22-13D4-4CB6-BE26-30747492F1CD}"/>
    <dgm:cxn modelId="{874261E0-23BA-4E07-A115-FDD4709F25B2}" type="presOf" srcId="{8B66A2AD-EE28-484A-BAA9-004FB8DC5C27}" destId="{E228FD31-99D6-4636-8434-D04F0E7B6A3A}" srcOrd="0" destOrd="0" presId="urn:microsoft.com/office/officeart/2005/8/layout/vList6"/>
    <dgm:cxn modelId="{19CB1AA3-9F90-4F36-B70C-3F0C1126703C}" type="presOf" srcId="{296A1006-5583-4853-AA56-5630B5F5E341}" destId="{61F481CE-99C2-4ABF-A52A-AE8941D784F5}" srcOrd="0" destOrd="5" presId="urn:microsoft.com/office/officeart/2005/8/layout/vList6"/>
    <dgm:cxn modelId="{8C55ECD4-2B4B-4DF3-8A26-6632C9355702}" srcId="{8B66A2AD-EE28-484A-BAA9-004FB8DC5C27}" destId="{66BCA579-445E-4789-82AB-82EF1679B83B}" srcOrd="0" destOrd="0" parTransId="{549480A1-525D-4F6E-84DD-00286F31A680}" sibTransId="{7029C87C-2873-4382-8634-38CC069EDF7A}"/>
    <dgm:cxn modelId="{A9F30A30-6A4A-4479-9B32-805A2185268A}" type="presOf" srcId="{85326095-9201-48D1-A7DC-6C016096D116}" destId="{47D0D86B-0AC7-46A6-BFE6-839F878D99F0}" srcOrd="0" destOrd="3" presId="urn:microsoft.com/office/officeart/2005/8/layout/vList6"/>
    <dgm:cxn modelId="{79AA5F29-63F5-4B07-9858-1753E7F8AEC0}" type="presOf" srcId="{6F00174E-041E-4B0B-BD27-62789C690CB3}" destId="{61F481CE-99C2-4ABF-A52A-AE8941D784F5}" srcOrd="0" destOrd="4" presId="urn:microsoft.com/office/officeart/2005/8/layout/vList6"/>
    <dgm:cxn modelId="{A4014060-1289-4BDE-8C15-3A817FDA29B4}" type="presOf" srcId="{04684CBF-1D37-4FDA-A025-79C6DD5A4A88}" destId="{8E8C3AF3-55A2-4653-A269-A13FA78E124B}" srcOrd="0" destOrd="0" presId="urn:microsoft.com/office/officeart/2005/8/layout/vList6"/>
    <dgm:cxn modelId="{C19AC9F9-ECCA-485F-8957-2DD517C8D97A}" srcId="{8B66A2AD-EE28-484A-BAA9-004FB8DC5C27}" destId="{840DC793-D695-44BC-B7F8-B795FD09F635}" srcOrd="2" destOrd="0" parTransId="{C6CEFCD3-66DE-49D4-A54D-7DF29C6AC3EB}" sibTransId="{29CCABBC-86E4-48A6-8BA8-BD5F1878ED4A}"/>
    <dgm:cxn modelId="{81FC92B6-D223-4A7C-BB28-8554EBAF1C44}" type="presOf" srcId="{3E1CC42C-FD30-4026-9073-5ABA09756AC7}" destId="{47D0D86B-0AC7-46A6-BFE6-839F878D99F0}" srcOrd="0" destOrd="1" presId="urn:microsoft.com/office/officeart/2005/8/layout/vList6"/>
    <dgm:cxn modelId="{659CF94C-E761-4859-98E7-B79BB9079E78}" type="presOf" srcId="{BEBC2207-394A-4DFA-BD01-DA1427BAB5F7}" destId="{5EE0B5A4-762C-4057-A738-117D32E2CDCE}" srcOrd="0" destOrd="0" presId="urn:microsoft.com/office/officeart/2005/8/layout/vList6"/>
    <dgm:cxn modelId="{CBDC5D98-26AB-4D68-BA9C-2AA541D2B4BD}" srcId="{BEBC2207-394A-4DFA-BD01-DA1427BAB5F7}" destId="{8B66A2AD-EE28-484A-BAA9-004FB8DC5C27}" srcOrd="0" destOrd="0" parTransId="{8C22B71A-97D3-4D34-8A90-ECE97B6B42A2}" sibTransId="{5D3555B5-E5B6-42F5-83B9-2E4C77CD5F34}"/>
    <dgm:cxn modelId="{DD7DBE62-AEB4-4A28-8762-CE39D0E5D988}" type="presOf" srcId="{04B9515C-28B8-4478-8724-FB12EE6E858A}" destId="{61F481CE-99C2-4ABF-A52A-AE8941D784F5}" srcOrd="0" destOrd="0" presId="urn:microsoft.com/office/officeart/2005/8/layout/vList6"/>
    <dgm:cxn modelId="{895BC8B9-05AC-4070-869C-E40855E2BC65}" srcId="{8B66A2AD-EE28-484A-BAA9-004FB8DC5C27}" destId="{5DD0ABF3-FDFF-4D44-AAFF-195ADCD9225F}" srcOrd="4" destOrd="0" parTransId="{B5EF1E6E-C789-44D8-94F1-5788715A3FBF}" sibTransId="{A1C8E747-6AF9-4F9D-BAAB-0D696EEF9223}"/>
    <dgm:cxn modelId="{8B7E5FC3-4E04-4B1F-B442-821DFD0BD5D7}" type="presParOf" srcId="{5EE0B5A4-762C-4057-A738-117D32E2CDCE}" destId="{44E22859-B131-4EEB-A620-E9AFF6792573}" srcOrd="0" destOrd="0" presId="urn:microsoft.com/office/officeart/2005/8/layout/vList6"/>
    <dgm:cxn modelId="{2590B7CB-3FDD-4DA6-9D1E-AC6AA9425F03}" type="presParOf" srcId="{44E22859-B131-4EEB-A620-E9AFF6792573}" destId="{E228FD31-99D6-4636-8434-D04F0E7B6A3A}" srcOrd="0" destOrd="0" presId="urn:microsoft.com/office/officeart/2005/8/layout/vList6"/>
    <dgm:cxn modelId="{9A444835-AD2F-42CD-8552-48443103EB6F}" type="presParOf" srcId="{44E22859-B131-4EEB-A620-E9AFF6792573}" destId="{47D0D86B-0AC7-46A6-BFE6-839F878D99F0}" srcOrd="1" destOrd="0" presId="urn:microsoft.com/office/officeart/2005/8/layout/vList6"/>
    <dgm:cxn modelId="{A2A93CE0-8D2B-4A3F-8441-6E02FA03203D}" type="presParOf" srcId="{5EE0B5A4-762C-4057-A738-117D32E2CDCE}" destId="{432BA2F2-0C06-45E5-9055-A04BF7DBDB56}" srcOrd="1" destOrd="0" presId="urn:microsoft.com/office/officeart/2005/8/layout/vList6"/>
    <dgm:cxn modelId="{2DD3007C-1247-444F-B445-5C3241A0D48F}" type="presParOf" srcId="{5EE0B5A4-762C-4057-A738-117D32E2CDCE}" destId="{7BF10F27-B278-4CF6-B205-01D3D44CC52E}" srcOrd="2" destOrd="0" presId="urn:microsoft.com/office/officeart/2005/8/layout/vList6"/>
    <dgm:cxn modelId="{B99D722E-4E01-4CD2-98F8-EAF6697F4FDA}" type="presParOf" srcId="{7BF10F27-B278-4CF6-B205-01D3D44CC52E}" destId="{8E8C3AF3-55A2-4653-A269-A13FA78E124B}" srcOrd="0" destOrd="0" presId="urn:microsoft.com/office/officeart/2005/8/layout/vList6"/>
    <dgm:cxn modelId="{69A866D0-253C-47D9-A74B-970960939CA9}" type="presParOf" srcId="{7BF10F27-B278-4CF6-B205-01D3D44CC52E}" destId="{61F481CE-99C2-4ABF-A52A-AE8941D784F5}" srcOrd="1" destOrd="0" presId="urn:microsoft.com/office/officeart/2005/8/layout/v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EBC2207-394A-4DFA-BD01-DA1427BAB5F7}"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IN"/>
        </a:p>
      </dgm:t>
    </dgm:pt>
    <dgm:pt modelId="{8B66A2AD-EE28-484A-BAA9-004FB8DC5C27}">
      <dgm:prSet phldrT="[Text]" custT="1"/>
      <dgm:spPr/>
      <dgm:t>
        <a:bodyPr/>
        <a:lstStyle/>
        <a:p>
          <a:r>
            <a:rPr lang="en-IN" sz="5000" dirty="0">
              <a:solidFill>
                <a:schemeClr val="bg1">
                  <a:lumMod val="10000"/>
                </a:schemeClr>
              </a:solidFill>
              <a:latin typeface="Calibri" panose="020F0502020204030204" pitchFamily="34" charset="0"/>
              <a:cs typeface="Calibri" panose="020F0502020204030204" pitchFamily="34" charset="0"/>
            </a:rPr>
            <a:t>Sprint 3</a:t>
          </a:r>
        </a:p>
      </dgm:t>
    </dgm:pt>
    <dgm:pt modelId="{8C22B71A-97D3-4D34-8A90-ECE97B6B42A2}" type="parTrans" cxnId="{CBDC5D98-26AB-4D68-BA9C-2AA541D2B4BD}">
      <dgm:prSet/>
      <dgm:spPr/>
      <dgm:t>
        <a:bodyPr/>
        <a:lstStyle/>
        <a:p>
          <a:endParaRPr lang="en-IN">
            <a:latin typeface="Calibri" panose="020F0502020204030204" pitchFamily="34" charset="0"/>
            <a:cs typeface="Calibri" panose="020F0502020204030204" pitchFamily="34" charset="0"/>
          </a:endParaRPr>
        </a:p>
      </dgm:t>
    </dgm:pt>
    <dgm:pt modelId="{5D3555B5-E5B6-42F5-83B9-2E4C77CD5F34}" type="sibTrans" cxnId="{CBDC5D98-26AB-4D68-BA9C-2AA541D2B4BD}">
      <dgm:prSet/>
      <dgm:spPr/>
      <dgm:t>
        <a:bodyPr/>
        <a:lstStyle/>
        <a:p>
          <a:endParaRPr lang="en-IN">
            <a:latin typeface="Calibri" panose="020F0502020204030204" pitchFamily="34" charset="0"/>
            <a:cs typeface="Calibri" panose="020F0502020204030204" pitchFamily="34" charset="0"/>
          </a:endParaRPr>
        </a:p>
      </dgm:t>
    </dgm:pt>
    <dgm:pt modelId="{66BCA579-445E-4789-82AB-82EF1679B83B}">
      <dgm:prSet phldrT="[Text]" custT="1"/>
      <dgm:spPr/>
      <dgm:t>
        <a:bodyPr anchor="ctr"/>
        <a:lstStyle/>
        <a:p>
          <a:pPr algn="just"/>
          <a:r>
            <a:rPr lang="en-IN" sz="1200" dirty="0">
              <a:solidFill>
                <a:schemeClr val="bg1">
                  <a:lumMod val="10000"/>
                </a:schemeClr>
              </a:solidFill>
              <a:latin typeface="Calibri" panose="020F0502020204030204" pitchFamily="34" charset="0"/>
              <a:cs typeface="Calibri" panose="020F0502020204030204" pitchFamily="34" charset="0"/>
            </a:rPr>
            <a:t>Develop scripts for remaining 4 MB transactions in scope</a:t>
          </a:r>
        </a:p>
      </dgm:t>
    </dgm:pt>
    <dgm:pt modelId="{549480A1-525D-4F6E-84DD-00286F31A680}" type="parTrans" cxnId="{8C55ECD4-2B4B-4DF3-8A26-6632C9355702}">
      <dgm:prSet/>
      <dgm:spPr/>
      <dgm:t>
        <a:bodyPr/>
        <a:lstStyle/>
        <a:p>
          <a:endParaRPr lang="en-IN">
            <a:latin typeface="Calibri" panose="020F0502020204030204" pitchFamily="34" charset="0"/>
            <a:cs typeface="Calibri" panose="020F0502020204030204" pitchFamily="34" charset="0"/>
          </a:endParaRPr>
        </a:p>
      </dgm:t>
    </dgm:pt>
    <dgm:pt modelId="{7029C87C-2873-4382-8634-38CC069EDF7A}" type="sibTrans" cxnId="{8C55ECD4-2B4B-4DF3-8A26-6632C9355702}">
      <dgm:prSet/>
      <dgm:spPr/>
      <dgm:t>
        <a:bodyPr/>
        <a:lstStyle/>
        <a:p>
          <a:endParaRPr lang="en-IN">
            <a:latin typeface="Calibri" panose="020F0502020204030204" pitchFamily="34" charset="0"/>
            <a:cs typeface="Calibri" panose="020F0502020204030204" pitchFamily="34" charset="0"/>
          </a:endParaRPr>
        </a:p>
      </dgm:t>
    </dgm:pt>
    <dgm:pt modelId="{04684CBF-1D37-4FDA-A025-79C6DD5A4A88}">
      <dgm:prSet phldrT="[Text]" custT="1"/>
      <dgm:spPr/>
      <dgm:t>
        <a:bodyPr/>
        <a:lstStyle/>
        <a:p>
          <a:r>
            <a:rPr lang="en-IN" sz="5000" dirty="0">
              <a:solidFill>
                <a:schemeClr val="bg1">
                  <a:lumMod val="10000"/>
                </a:schemeClr>
              </a:solidFill>
              <a:latin typeface="Calibri" panose="020F0502020204030204" pitchFamily="34" charset="0"/>
              <a:cs typeface="Calibri" panose="020F0502020204030204" pitchFamily="34" charset="0"/>
            </a:rPr>
            <a:t>Sprint 4</a:t>
          </a:r>
        </a:p>
      </dgm:t>
    </dgm:pt>
    <dgm:pt modelId="{28B2ED3E-7AAA-4B75-891E-84FD5D240556}" type="parTrans" cxnId="{A9A1EE76-0EFF-4220-AB9F-85415AB1D713}">
      <dgm:prSet/>
      <dgm:spPr/>
      <dgm:t>
        <a:bodyPr/>
        <a:lstStyle/>
        <a:p>
          <a:endParaRPr lang="en-IN">
            <a:latin typeface="Calibri" panose="020F0502020204030204" pitchFamily="34" charset="0"/>
            <a:cs typeface="Calibri" panose="020F0502020204030204" pitchFamily="34" charset="0"/>
          </a:endParaRPr>
        </a:p>
      </dgm:t>
    </dgm:pt>
    <dgm:pt modelId="{C6E8AFC5-5AE4-4805-B17F-5171978EC2A1}" type="sibTrans" cxnId="{A9A1EE76-0EFF-4220-AB9F-85415AB1D713}">
      <dgm:prSet/>
      <dgm:spPr/>
      <dgm:t>
        <a:bodyPr/>
        <a:lstStyle/>
        <a:p>
          <a:endParaRPr lang="en-IN">
            <a:latin typeface="Calibri" panose="020F0502020204030204" pitchFamily="34" charset="0"/>
            <a:cs typeface="Calibri" panose="020F0502020204030204" pitchFamily="34" charset="0"/>
          </a:endParaRPr>
        </a:p>
      </dgm:t>
    </dgm:pt>
    <dgm:pt modelId="{04B9515C-28B8-4478-8724-FB12EE6E858A}">
      <dgm:prSet phldrT="[Text]" custT="1"/>
      <dgm:spPr/>
      <dgm:t>
        <a:bodyPr anchor="ctr"/>
        <a:lstStyle/>
        <a:p>
          <a:pPr algn="just"/>
          <a:r>
            <a:rPr lang="en-IN" sz="1200" dirty="0">
              <a:solidFill>
                <a:schemeClr val="bg1">
                  <a:lumMod val="10000"/>
                </a:schemeClr>
              </a:solidFill>
              <a:latin typeface="Calibri" panose="020F0502020204030204" pitchFamily="34" charset="0"/>
              <a:cs typeface="Calibri" panose="020F0502020204030204" pitchFamily="34" charset="0"/>
            </a:rPr>
            <a:t>Conduct stress to identify breakpoint</a:t>
          </a:r>
        </a:p>
      </dgm:t>
    </dgm:pt>
    <dgm:pt modelId="{98774B70-6D25-477D-BDCE-A9591128C0ED}" type="parTrans" cxnId="{E872F7B8-7441-4E48-A510-E611CE1F4A72}">
      <dgm:prSet/>
      <dgm:spPr/>
      <dgm:t>
        <a:bodyPr/>
        <a:lstStyle/>
        <a:p>
          <a:endParaRPr lang="en-IN">
            <a:latin typeface="Calibri" panose="020F0502020204030204" pitchFamily="34" charset="0"/>
            <a:cs typeface="Calibri" panose="020F0502020204030204" pitchFamily="34" charset="0"/>
          </a:endParaRPr>
        </a:p>
      </dgm:t>
    </dgm:pt>
    <dgm:pt modelId="{F5ACC958-D6A0-4B6E-A01E-CC1C062DF7E4}" type="sibTrans" cxnId="{E872F7B8-7441-4E48-A510-E611CE1F4A72}">
      <dgm:prSet/>
      <dgm:spPr/>
      <dgm:t>
        <a:bodyPr/>
        <a:lstStyle/>
        <a:p>
          <a:endParaRPr lang="en-IN">
            <a:latin typeface="Calibri" panose="020F0502020204030204" pitchFamily="34" charset="0"/>
            <a:cs typeface="Calibri" panose="020F0502020204030204" pitchFamily="34" charset="0"/>
          </a:endParaRPr>
        </a:p>
      </dgm:t>
    </dgm:pt>
    <dgm:pt modelId="{1977EB98-1E5B-4295-9FC0-43A3C86B772A}">
      <dgm:prSet phldrT="[Text]" custT="1"/>
      <dgm:spPr/>
      <dgm:t>
        <a:bodyPr anchor="ctr"/>
        <a:lstStyle/>
        <a:p>
          <a:pPr algn="just"/>
          <a:r>
            <a:rPr lang="en-IN" sz="1200" dirty="0">
              <a:solidFill>
                <a:schemeClr val="bg1">
                  <a:lumMod val="10000"/>
                </a:schemeClr>
              </a:solidFill>
              <a:latin typeface="Calibri" panose="020F0502020204030204" pitchFamily="34" charset="0"/>
              <a:cs typeface="Calibri" panose="020F0502020204030204" pitchFamily="34" charset="0"/>
            </a:rPr>
            <a:t>Script maintenance activity</a:t>
          </a:r>
        </a:p>
      </dgm:t>
    </dgm:pt>
    <dgm:pt modelId="{6D53B45D-84A4-42A7-9AE5-E2B45D83CFCE}" type="parTrans" cxnId="{86411430-8287-4B43-862F-C6DC625D03E9}">
      <dgm:prSet/>
      <dgm:spPr/>
      <dgm:t>
        <a:bodyPr/>
        <a:lstStyle/>
        <a:p>
          <a:endParaRPr lang="en-IN"/>
        </a:p>
      </dgm:t>
    </dgm:pt>
    <dgm:pt modelId="{4C861374-A731-40A0-849E-FBEA635B1E2E}" type="sibTrans" cxnId="{86411430-8287-4B43-862F-C6DC625D03E9}">
      <dgm:prSet/>
      <dgm:spPr/>
      <dgm:t>
        <a:bodyPr/>
        <a:lstStyle/>
        <a:p>
          <a:endParaRPr lang="en-IN"/>
        </a:p>
      </dgm:t>
    </dgm:pt>
    <dgm:pt modelId="{852DA34C-B929-4A07-B54A-6AE4BA469D02}">
      <dgm:prSet phldrT="[Text]" custT="1"/>
      <dgm:spPr/>
      <dgm:t>
        <a:bodyPr anchor="ctr"/>
        <a:lstStyle/>
        <a:p>
          <a:pPr algn="just"/>
          <a:r>
            <a:rPr lang="en-IN" sz="1200" dirty="0">
              <a:solidFill>
                <a:schemeClr val="bg1">
                  <a:lumMod val="10000"/>
                </a:schemeClr>
              </a:solidFill>
              <a:latin typeface="Calibri" panose="020F0502020204030204" pitchFamily="34" charset="0"/>
              <a:cs typeface="Calibri" panose="020F0502020204030204" pitchFamily="34" charset="0"/>
            </a:rPr>
            <a:t>Conduct 60% and 100% load test with all transactions in scope</a:t>
          </a:r>
        </a:p>
      </dgm:t>
    </dgm:pt>
    <dgm:pt modelId="{6A526DA4-D6AF-4904-9D55-705A0939AED8}" type="parTrans" cxnId="{783B4331-5880-4372-959A-CF13BCC31748}">
      <dgm:prSet/>
      <dgm:spPr/>
      <dgm:t>
        <a:bodyPr/>
        <a:lstStyle/>
        <a:p>
          <a:endParaRPr lang="en-IN"/>
        </a:p>
      </dgm:t>
    </dgm:pt>
    <dgm:pt modelId="{596BB6BD-9424-4788-9DFB-DAE45A448643}" type="sibTrans" cxnId="{783B4331-5880-4372-959A-CF13BCC31748}">
      <dgm:prSet/>
      <dgm:spPr/>
      <dgm:t>
        <a:bodyPr/>
        <a:lstStyle/>
        <a:p>
          <a:endParaRPr lang="en-IN"/>
        </a:p>
      </dgm:t>
    </dgm:pt>
    <dgm:pt modelId="{D94EAED5-80FC-4EAD-AC77-958AEB42A16E}">
      <dgm:prSet phldrT="[Text]" custT="1"/>
      <dgm:spPr/>
      <dgm:t>
        <a:bodyPr anchor="ctr"/>
        <a:lstStyle/>
        <a:p>
          <a:pPr algn="just"/>
          <a:r>
            <a:rPr lang="en-IN" sz="1200" dirty="0">
              <a:solidFill>
                <a:schemeClr val="bg1">
                  <a:lumMod val="10000"/>
                </a:schemeClr>
              </a:solidFill>
              <a:latin typeface="Calibri" panose="020F0502020204030204" pitchFamily="34" charset="0"/>
              <a:cs typeface="Calibri" panose="020F0502020204030204" pitchFamily="34" charset="0"/>
            </a:rPr>
            <a:t>Analyse performance and prepare report highlighting performance issues</a:t>
          </a:r>
        </a:p>
      </dgm:t>
    </dgm:pt>
    <dgm:pt modelId="{E752D829-74AD-4966-A566-4B529282EA44}" type="parTrans" cxnId="{AB95492A-2ED0-44B0-BD6E-418BB327BD94}">
      <dgm:prSet/>
      <dgm:spPr/>
      <dgm:t>
        <a:bodyPr/>
        <a:lstStyle/>
        <a:p>
          <a:endParaRPr lang="en-IN"/>
        </a:p>
      </dgm:t>
    </dgm:pt>
    <dgm:pt modelId="{FC31923D-DC6A-4BA3-814F-3FE0CCFBEE5D}" type="sibTrans" cxnId="{AB95492A-2ED0-44B0-BD6E-418BB327BD94}">
      <dgm:prSet/>
      <dgm:spPr/>
      <dgm:t>
        <a:bodyPr/>
        <a:lstStyle/>
        <a:p>
          <a:endParaRPr lang="en-IN"/>
        </a:p>
      </dgm:t>
    </dgm:pt>
    <dgm:pt modelId="{1F64B4F5-99BA-4E1B-9D7F-5E1E8C5D671A}">
      <dgm:prSet phldrT="[Text]" custT="1"/>
      <dgm:spPr/>
      <dgm:t>
        <a:bodyPr anchor="ctr"/>
        <a:lstStyle/>
        <a:p>
          <a:pPr algn="just"/>
          <a:r>
            <a:rPr lang="en-IN" sz="1200" dirty="0">
              <a:solidFill>
                <a:schemeClr val="bg1">
                  <a:lumMod val="10000"/>
                </a:schemeClr>
              </a:solidFill>
              <a:latin typeface="Calibri" panose="020F0502020204030204" pitchFamily="34" charset="0"/>
              <a:cs typeface="Calibri" panose="020F0502020204030204" pitchFamily="34" charset="0"/>
            </a:rPr>
            <a:t>Test data creation and maintenance</a:t>
          </a:r>
        </a:p>
      </dgm:t>
    </dgm:pt>
    <dgm:pt modelId="{3CDD7B03-435C-4891-BD20-031CF8409303}" type="parTrans" cxnId="{5564992F-D3F6-44B5-AC99-1F592E7225D8}">
      <dgm:prSet/>
      <dgm:spPr/>
      <dgm:t>
        <a:bodyPr/>
        <a:lstStyle/>
        <a:p>
          <a:endParaRPr lang="en-IN"/>
        </a:p>
      </dgm:t>
    </dgm:pt>
    <dgm:pt modelId="{CE5E466A-3934-41C8-8EBD-8FC0AB4981D8}" type="sibTrans" cxnId="{5564992F-D3F6-44B5-AC99-1F592E7225D8}">
      <dgm:prSet/>
      <dgm:spPr/>
      <dgm:t>
        <a:bodyPr/>
        <a:lstStyle/>
        <a:p>
          <a:endParaRPr lang="en-IN"/>
        </a:p>
      </dgm:t>
    </dgm:pt>
    <dgm:pt modelId="{5AAE0226-A13C-4E9A-9D6F-15014146CD37}">
      <dgm:prSet phldrT="[Text]" custT="1"/>
      <dgm:spPr/>
      <dgm:t>
        <a:bodyPr anchor="ctr"/>
        <a:lstStyle/>
        <a:p>
          <a:pPr algn="just"/>
          <a:r>
            <a:rPr lang="en-IN" sz="1200" dirty="0">
              <a:solidFill>
                <a:schemeClr val="bg1">
                  <a:lumMod val="10000"/>
                </a:schemeClr>
              </a:solidFill>
              <a:latin typeface="Calibri" panose="020F0502020204030204" pitchFamily="34" charset="0"/>
              <a:cs typeface="Calibri" panose="020F0502020204030204" pitchFamily="34" charset="0"/>
            </a:rPr>
            <a:t>Conduct endurance test</a:t>
          </a:r>
        </a:p>
      </dgm:t>
    </dgm:pt>
    <dgm:pt modelId="{99627737-9E27-4C54-A2CF-E1D7CD134F4B}" type="parTrans" cxnId="{741CFB1B-26F4-46B1-ABE4-581F0688A2C4}">
      <dgm:prSet/>
      <dgm:spPr/>
      <dgm:t>
        <a:bodyPr/>
        <a:lstStyle/>
        <a:p>
          <a:endParaRPr lang="en-IN"/>
        </a:p>
      </dgm:t>
    </dgm:pt>
    <dgm:pt modelId="{6482E380-C999-40E7-8A49-4F78DD6FB11E}" type="sibTrans" cxnId="{741CFB1B-26F4-46B1-ABE4-581F0688A2C4}">
      <dgm:prSet/>
      <dgm:spPr/>
      <dgm:t>
        <a:bodyPr/>
        <a:lstStyle/>
        <a:p>
          <a:endParaRPr lang="en-IN"/>
        </a:p>
      </dgm:t>
    </dgm:pt>
    <dgm:pt modelId="{0430041E-5FFC-4BBA-B5A4-E502C2D3BA94}">
      <dgm:prSet phldrT="[Text]" custT="1"/>
      <dgm:spPr/>
      <dgm:t>
        <a:bodyPr anchor="ctr"/>
        <a:lstStyle/>
        <a:p>
          <a:pPr algn="just"/>
          <a:r>
            <a:rPr lang="en-IN" sz="1200" dirty="0">
              <a:solidFill>
                <a:schemeClr val="bg1">
                  <a:lumMod val="10000"/>
                </a:schemeClr>
              </a:solidFill>
              <a:latin typeface="Calibri" panose="020F0502020204030204" pitchFamily="34" charset="0"/>
              <a:cs typeface="Calibri" panose="020F0502020204030204" pitchFamily="34" charset="0"/>
            </a:rPr>
            <a:t>Collate results of all round of execution</a:t>
          </a:r>
        </a:p>
      </dgm:t>
    </dgm:pt>
    <dgm:pt modelId="{077F373D-A1FF-47FD-9A99-AC595997BBEE}" type="parTrans" cxnId="{311CAE1A-142D-4F23-BCF1-29AB0AE562AC}">
      <dgm:prSet/>
      <dgm:spPr/>
      <dgm:t>
        <a:bodyPr/>
        <a:lstStyle/>
        <a:p>
          <a:endParaRPr lang="en-IN"/>
        </a:p>
      </dgm:t>
    </dgm:pt>
    <dgm:pt modelId="{CF8B3654-6172-42CF-BB05-100515BDA5B4}" type="sibTrans" cxnId="{311CAE1A-142D-4F23-BCF1-29AB0AE562AC}">
      <dgm:prSet/>
      <dgm:spPr/>
      <dgm:t>
        <a:bodyPr/>
        <a:lstStyle/>
        <a:p>
          <a:endParaRPr lang="en-IN"/>
        </a:p>
      </dgm:t>
    </dgm:pt>
    <dgm:pt modelId="{D93E7907-C20D-4410-832D-78737594D958}">
      <dgm:prSet phldrT="[Text]" custT="1"/>
      <dgm:spPr/>
      <dgm:t>
        <a:bodyPr anchor="ctr"/>
        <a:lstStyle/>
        <a:p>
          <a:pPr algn="just"/>
          <a:r>
            <a:rPr lang="en-IN" sz="1200" dirty="0">
              <a:solidFill>
                <a:schemeClr val="bg1">
                  <a:lumMod val="10000"/>
                </a:schemeClr>
              </a:solidFill>
              <a:latin typeface="Calibri" panose="020F0502020204030204" pitchFamily="34" charset="0"/>
              <a:cs typeface="Calibri" panose="020F0502020204030204" pitchFamily="34" charset="0"/>
            </a:rPr>
            <a:t>Prepare and publish Final Performance Test Closure report</a:t>
          </a:r>
        </a:p>
      </dgm:t>
    </dgm:pt>
    <dgm:pt modelId="{8E14E60C-2FF9-4E11-9901-27D1D12DA6BB}" type="parTrans" cxnId="{01529FCA-A034-41C6-8A06-FBE5DAF6D69A}">
      <dgm:prSet/>
      <dgm:spPr/>
      <dgm:t>
        <a:bodyPr/>
        <a:lstStyle/>
        <a:p>
          <a:endParaRPr lang="en-IN"/>
        </a:p>
      </dgm:t>
    </dgm:pt>
    <dgm:pt modelId="{B4E573CE-2DD4-43B0-A7B1-B16C4E6FB8C7}" type="sibTrans" cxnId="{01529FCA-A034-41C6-8A06-FBE5DAF6D69A}">
      <dgm:prSet/>
      <dgm:spPr/>
      <dgm:t>
        <a:bodyPr/>
        <a:lstStyle/>
        <a:p>
          <a:endParaRPr lang="en-IN"/>
        </a:p>
      </dgm:t>
    </dgm:pt>
    <dgm:pt modelId="{5EE0B5A4-762C-4057-A738-117D32E2CDCE}" type="pres">
      <dgm:prSet presAssocID="{BEBC2207-394A-4DFA-BD01-DA1427BAB5F7}" presName="Name0" presStyleCnt="0">
        <dgm:presLayoutVars>
          <dgm:dir/>
          <dgm:animLvl val="lvl"/>
          <dgm:resizeHandles/>
        </dgm:presLayoutVars>
      </dgm:prSet>
      <dgm:spPr/>
      <dgm:t>
        <a:bodyPr/>
        <a:lstStyle/>
        <a:p>
          <a:endParaRPr lang="en-IN"/>
        </a:p>
      </dgm:t>
    </dgm:pt>
    <dgm:pt modelId="{44E22859-B131-4EEB-A620-E9AFF6792573}" type="pres">
      <dgm:prSet presAssocID="{8B66A2AD-EE28-484A-BAA9-004FB8DC5C27}" presName="linNode" presStyleCnt="0"/>
      <dgm:spPr/>
    </dgm:pt>
    <dgm:pt modelId="{E228FD31-99D6-4636-8434-D04F0E7B6A3A}" type="pres">
      <dgm:prSet presAssocID="{8B66A2AD-EE28-484A-BAA9-004FB8DC5C27}" presName="parentShp" presStyleLbl="node1" presStyleIdx="0" presStyleCnt="2">
        <dgm:presLayoutVars>
          <dgm:bulletEnabled val="1"/>
        </dgm:presLayoutVars>
      </dgm:prSet>
      <dgm:spPr/>
      <dgm:t>
        <a:bodyPr/>
        <a:lstStyle/>
        <a:p>
          <a:endParaRPr lang="en-IN"/>
        </a:p>
      </dgm:t>
    </dgm:pt>
    <dgm:pt modelId="{47D0D86B-0AC7-46A6-BFE6-839F878D99F0}" type="pres">
      <dgm:prSet presAssocID="{8B66A2AD-EE28-484A-BAA9-004FB8DC5C27}" presName="childShp" presStyleLbl="bgAccFollowNode1" presStyleIdx="0" presStyleCnt="2">
        <dgm:presLayoutVars>
          <dgm:bulletEnabled val="1"/>
        </dgm:presLayoutVars>
      </dgm:prSet>
      <dgm:spPr/>
      <dgm:t>
        <a:bodyPr/>
        <a:lstStyle/>
        <a:p>
          <a:endParaRPr lang="en-IN"/>
        </a:p>
      </dgm:t>
    </dgm:pt>
    <dgm:pt modelId="{432BA2F2-0C06-45E5-9055-A04BF7DBDB56}" type="pres">
      <dgm:prSet presAssocID="{5D3555B5-E5B6-42F5-83B9-2E4C77CD5F34}" presName="spacing" presStyleCnt="0"/>
      <dgm:spPr/>
    </dgm:pt>
    <dgm:pt modelId="{7BF10F27-B278-4CF6-B205-01D3D44CC52E}" type="pres">
      <dgm:prSet presAssocID="{04684CBF-1D37-4FDA-A025-79C6DD5A4A88}" presName="linNode" presStyleCnt="0"/>
      <dgm:spPr/>
    </dgm:pt>
    <dgm:pt modelId="{8E8C3AF3-55A2-4653-A269-A13FA78E124B}" type="pres">
      <dgm:prSet presAssocID="{04684CBF-1D37-4FDA-A025-79C6DD5A4A88}" presName="parentShp" presStyleLbl="node1" presStyleIdx="1" presStyleCnt="2">
        <dgm:presLayoutVars>
          <dgm:bulletEnabled val="1"/>
        </dgm:presLayoutVars>
      </dgm:prSet>
      <dgm:spPr/>
      <dgm:t>
        <a:bodyPr/>
        <a:lstStyle/>
        <a:p>
          <a:endParaRPr lang="en-IN"/>
        </a:p>
      </dgm:t>
    </dgm:pt>
    <dgm:pt modelId="{61F481CE-99C2-4ABF-A52A-AE8941D784F5}" type="pres">
      <dgm:prSet presAssocID="{04684CBF-1D37-4FDA-A025-79C6DD5A4A88}" presName="childShp" presStyleLbl="bgAccFollowNode1" presStyleIdx="1" presStyleCnt="2">
        <dgm:presLayoutVars>
          <dgm:bulletEnabled val="1"/>
        </dgm:presLayoutVars>
      </dgm:prSet>
      <dgm:spPr/>
      <dgm:t>
        <a:bodyPr/>
        <a:lstStyle/>
        <a:p>
          <a:endParaRPr lang="en-IN"/>
        </a:p>
      </dgm:t>
    </dgm:pt>
  </dgm:ptLst>
  <dgm:cxnLst>
    <dgm:cxn modelId="{311CAE1A-142D-4F23-BCF1-29AB0AE562AC}" srcId="{04684CBF-1D37-4FDA-A025-79C6DD5A4A88}" destId="{0430041E-5FFC-4BBA-B5A4-E502C2D3BA94}" srcOrd="2" destOrd="0" parTransId="{077F373D-A1FF-47FD-9A99-AC595997BBEE}" sibTransId="{CF8B3654-6172-42CF-BB05-100515BDA5B4}"/>
    <dgm:cxn modelId="{783B4331-5880-4372-959A-CF13BCC31748}" srcId="{8B66A2AD-EE28-484A-BAA9-004FB8DC5C27}" destId="{852DA34C-B929-4A07-B54A-6AE4BA469D02}" srcOrd="3" destOrd="0" parTransId="{6A526DA4-D6AF-4904-9D55-705A0939AED8}" sibTransId="{596BB6BD-9424-4788-9DFB-DAE45A448643}"/>
    <dgm:cxn modelId="{07425A6E-6898-4FF9-AC17-A859583C9AC8}" type="presOf" srcId="{1F64B4F5-99BA-4E1B-9D7F-5E1E8C5D671A}" destId="{47D0D86B-0AC7-46A6-BFE6-839F878D99F0}" srcOrd="0" destOrd="2" presId="urn:microsoft.com/office/officeart/2005/8/layout/vList6"/>
    <dgm:cxn modelId="{A9A1EE76-0EFF-4220-AB9F-85415AB1D713}" srcId="{BEBC2207-394A-4DFA-BD01-DA1427BAB5F7}" destId="{04684CBF-1D37-4FDA-A025-79C6DD5A4A88}" srcOrd="1" destOrd="0" parTransId="{28B2ED3E-7AAA-4B75-891E-84FD5D240556}" sibTransId="{C6E8AFC5-5AE4-4805-B17F-5171978EC2A1}"/>
    <dgm:cxn modelId="{E872F7B8-7441-4E48-A510-E611CE1F4A72}" srcId="{04684CBF-1D37-4FDA-A025-79C6DD5A4A88}" destId="{04B9515C-28B8-4478-8724-FB12EE6E858A}" srcOrd="0" destOrd="0" parTransId="{98774B70-6D25-477D-BDCE-A9591128C0ED}" sibTransId="{F5ACC958-D6A0-4B6E-A01E-CC1C062DF7E4}"/>
    <dgm:cxn modelId="{86411430-8287-4B43-862F-C6DC625D03E9}" srcId="{8B66A2AD-EE28-484A-BAA9-004FB8DC5C27}" destId="{1977EB98-1E5B-4295-9FC0-43A3C86B772A}" srcOrd="1" destOrd="0" parTransId="{6D53B45D-84A4-42A7-9AE5-E2B45D83CFCE}" sibTransId="{4C861374-A731-40A0-849E-FBEA635B1E2E}"/>
    <dgm:cxn modelId="{7C64BC50-CA34-40D6-91D7-3348FB2BDF82}" type="presOf" srcId="{04684CBF-1D37-4FDA-A025-79C6DD5A4A88}" destId="{8E8C3AF3-55A2-4653-A269-A13FA78E124B}" srcOrd="0" destOrd="0" presId="urn:microsoft.com/office/officeart/2005/8/layout/vList6"/>
    <dgm:cxn modelId="{AA91C4F2-8624-484C-990A-2C4C559DEA35}" type="presOf" srcId="{1977EB98-1E5B-4295-9FC0-43A3C86B772A}" destId="{47D0D86B-0AC7-46A6-BFE6-839F878D99F0}" srcOrd="0" destOrd="1" presId="urn:microsoft.com/office/officeart/2005/8/layout/vList6"/>
    <dgm:cxn modelId="{5564992F-D3F6-44B5-AC99-1F592E7225D8}" srcId="{8B66A2AD-EE28-484A-BAA9-004FB8DC5C27}" destId="{1F64B4F5-99BA-4E1B-9D7F-5E1E8C5D671A}" srcOrd="2" destOrd="0" parTransId="{3CDD7B03-435C-4891-BD20-031CF8409303}" sibTransId="{CE5E466A-3934-41C8-8EBD-8FC0AB4981D8}"/>
    <dgm:cxn modelId="{B716DC20-BFE4-4775-85F9-34955F5E8383}" type="presOf" srcId="{5AAE0226-A13C-4E9A-9D6F-15014146CD37}" destId="{61F481CE-99C2-4ABF-A52A-AE8941D784F5}" srcOrd="0" destOrd="1" presId="urn:microsoft.com/office/officeart/2005/8/layout/vList6"/>
    <dgm:cxn modelId="{90E1C4ED-3CFD-4911-8A35-9A3380E3CB5C}" type="presOf" srcId="{04B9515C-28B8-4478-8724-FB12EE6E858A}" destId="{61F481CE-99C2-4ABF-A52A-AE8941D784F5}" srcOrd="0" destOrd="0" presId="urn:microsoft.com/office/officeart/2005/8/layout/vList6"/>
    <dgm:cxn modelId="{CCB5D8F5-301F-49F3-B3FD-EA0E9A612303}" type="presOf" srcId="{D94EAED5-80FC-4EAD-AC77-958AEB42A16E}" destId="{47D0D86B-0AC7-46A6-BFE6-839F878D99F0}" srcOrd="0" destOrd="4" presId="urn:microsoft.com/office/officeart/2005/8/layout/vList6"/>
    <dgm:cxn modelId="{AB95492A-2ED0-44B0-BD6E-418BB327BD94}" srcId="{8B66A2AD-EE28-484A-BAA9-004FB8DC5C27}" destId="{D94EAED5-80FC-4EAD-AC77-958AEB42A16E}" srcOrd="4" destOrd="0" parTransId="{E752D829-74AD-4966-A566-4B529282EA44}" sibTransId="{FC31923D-DC6A-4BA3-814F-3FE0CCFBEE5D}"/>
    <dgm:cxn modelId="{F1600CB5-716E-4A05-B720-46CEEC8F7511}" type="presOf" srcId="{0430041E-5FFC-4BBA-B5A4-E502C2D3BA94}" destId="{61F481CE-99C2-4ABF-A52A-AE8941D784F5}" srcOrd="0" destOrd="2" presId="urn:microsoft.com/office/officeart/2005/8/layout/vList6"/>
    <dgm:cxn modelId="{01529FCA-A034-41C6-8A06-FBE5DAF6D69A}" srcId="{04684CBF-1D37-4FDA-A025-79C6DD5A4A88}" destId="{D93E7907-C20D-4410-832D-78737594D958}" srcOrd="3" destOrd="0" parTransId="{8E14E60C-2FF9-4E11-9901-27D1D12DA6BB}" sibTransId="{B4E573CE-2DD4-43B0-A7B1-B16C4E6FB8C7}"/>
    <dgm:cxn modelId="{8C55ECD4-2B4B-4DF3-8A26-6632C9355702}" srcId="{8B66A2AD-EE28-484A-BAA9-004FB8DC5C27}" destId="{66BCA579-445E-4789-82AB-82EF1679B83B}" srcOrd="0" destOrd="0" parTransId="{549480A1-525D-4F6E-84DD-00286F31A680}" sibTransId="{7029C87C-2873-4382-8634-38CC069EDF7A}"/>
    <dgm:cxn modelId="{E4522108-EB6B-4095-B259-1DC564269062}" type="presOf" srcId="{BEBC2207-394A-4DFA-BD01-DA1427BAB5F7}" destId="{5EE0B5A4-762C-4057-A738-117D32E2CDCE}" srcOrd="0" destOrd="0" presId="urn:microsoft.com/office/officeart/2005/8/layout/vList6"/>
    <dgm:cxn modelId="{D909A631-9BAC-4808-927D-57FF2EB5D83C}" type="presOf" srcId="{66BCA579-445E-4789-82AB-82EF1679B83B}" destId="{47D0D86B-0AC7-46A6-BFE6-839F878D99F0}" srcOrd="0" destOrd="0" presId="urn:microsoft.com/office/officeart/2005/8/layout/vList6"/>
    <dgm:cxn modelId="{CBDC5D98-26AB-4D68-BA9C-2AA541D2B4BD}" srcId="{BEBC2207-394A-4DFA-BD01-DA1427BAB5F7}" destId="{8B66A2AD-EE28-484A-BAA9-004FB8DC5C27}" srcOrd="0" destOrd="0" parTransId="{8C22B71A-97D3-4D34-8A90-ECE97B6B42A2}" sibTransId="{5D3555B5-E5B6-42F5-83B9-2E4C77CD5F34}"/>
    <dgm:cxn modelId="{281EB3D3-B785-4135-836E-BE0A1E453738}" type="presOf" srcId="{852DA34C-B929-4A07-B54A-6AE4BA469D02}" destId="{47D0D86B-0AC7-46A6-BFE6-839F878D99F0}" srcOrd="0" destOrd="3" presId="urn:microsoft.com/office/officeart/2005/8/layout/vList6"/>
    <dgm:cxn modelId="{9B1BAB5F-5210-45BA-BC66-6FDC84E2B556}" type="presOf" srcId="{D93E7907-C20D-4410-832D-78737594D958}" destId="{61F481CE-99C2-4ABF-A52A-AE8941D784F5}" srcOrd="0" destOrd="3" presId="urn:microsoft.com/office/officeart/2005/8/layout/vList6"/>
    <dgm:cxn modelId="{A6FF77F3-F9E4-4BEF-A47B-3D8359C62998}" type="presOf" srcId="{8B66A2AD-EE28-484A-BAA9-004FB8DC5C27}" destId="{E228FD31-99D6-4636-8434-D04F0E7B6A3A}" srcOrd="0" destOrd="0" presId="urn:microsoft.com/office/officeart/2005/8/layout/vList6"/>
    <dgm:cxn modelId="{741CFB1B-26F4-46B1-ABE4-581F0688A2C4}" srcId="{04684CBF-1D37-4FDA-A025-79C6DD5A4A88}" destId="{5AAE0226-A13C-4E9A-9D6F-15014146CD37}" srcOrd="1" destOrd="0" parTransId="{99627737-9E27-4C54-A2CF-E1D7CD134F4B}" sibTransId="{6482E380-C999-40E7-8A49-4F78DD6FB11E}"/>
    <dgm:cxn modelId="{3DA2B4A8-A74E-4A32-8674-9036CD5A61C9}" type="presParOf" srcId="{5EE0B5A4-762C-4057-A738-117D32E2CDCE}" destId="{44E22859-B131-4EEB-A620-E9AFF6792573}" srcOrd="0" destOrd="0" presId="urn:microsoft.com/office/officeart/2005/8/layout/vList6"/>
    <dgm:cxn modelId="{0D3B5BD5-DE91-4366-BCDD-31E5DFBFC670}" type="presParOf" srcId="{44E22859-B131-4EEB-A620-E9AFF6792573}" destId="{E228FD31-99D6-4636-8434-D04F0E7B6A3A}" srcOrd="0" destOrd="0" presId="urn:microsoft.com/office/officeart/2005/8/layout/vList6"/>
    <dgm:cxn modelId="{FAF210A1-2E29-4C14-AA40-FA9EA57C3AFC}" type="presParOf" srcId="{44E22859-B131-4EEB-A620-E9AFF6792573}" destId="{47D0D86B-0AC7-46A6-BFE6-839F878D99F0}" srcOrd="1" destOrd="0" presId="urn:microsoft.com/office/officeart/2005/8/layout/vList6"/>
    <dgm:cxn modelId="{33282AE5-DE8A-4954-A51D-BDCFCCE72369}" type="presParOf" srcId="{5EE0B5A4-762C-4057-A738-117D32E2CDCE}" destId="{432BA2F2-0C06-45E5-9055-A04BF7DBDB56}" srcOrd="1" destOrd="0" presId="urn:microsoft.com/office/officeart/2005/8/layout/vList6"/>
    <dgm:cxn modelId="{662345A2-3205-4773-9B1B-DA19F6A1F91A}" type="presParOf" srcId="{5EE0B5A4-762C-4057-A738-117D32E2CDCE}" destId="{7BF10F27-B278-4CF6-B205-01D3D44CC52E}" srcOrd="2" destOrd="0" presId="urn:microsoft.com/office/officeart/2005/8/layout/vList6"/>
    <dgm:cxn modelId="{7B222B3F-505B-4442-AFCD-1309383A147B}" type="presParOf" srcId="{7BF10F27-B278-4CF6-B205-01D3D44CC52E}" destId="{8E8C3AF3-55A2-4653-A269-A13FA78E124B}" srcOrd="0" destOrd="0" presId="urn:microsoft.com/office/officeart/2005/8/layout/vList6"/>
    <dgm:cxn modelId="{203C356C-E74C-4CDB-8093-01E925407F38}" type="presParOf" srcId="{7BF10F27-B278-4CF6-B205-01D3D44CC52E}" destId="{61F481CE-99C2-4ABF-A52A-AE8941D784F5}" srcOrd="1" destOrd="0" presId="urn:microsoft.com/office/officeart/2005/8/layout/v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9E9800B-48E0-46F9-8B5E-AE8284A9BD7E}" type="doc">
      <dgm:prSet loTypeId="urn:microsoft.com/office/officeart/2005/8/layout/hList2" loCatId="relationship" qsTypeId="urn:microsoft.com/office/officeart/2005/8/quickstyle/simple1" qsCatId="simple" csTypeId="urn:microsoft.com/office/officeart/2005/8/colors/accent1_2" csCatId="accent1" phldr="1"/>
      <dgm:spPr/>
      <dgm:t>
        <a:bodyPr/>
        <a:lstStyle/>
        <a:p>
          <a:endParaRPr lang="en-IN"/>
        </a:p>
      </dgm:t>
    </dgm:pt>
    <dgm:pt modelId="{CD9D68B9-54A6-4503-A954-ACCAC0A92448}">
      <dgm:prSet phldrT="[Text]" custT="1"/>
      <dgm:spPr/>
      <dgm:t>
        <a:bodyPr/>
        <a:lstStyle/>
        <a:p>
          <a:r>
            <a:rPr lang="en-IN" sz="3000" dirty="0">
              <a:solidFill>
                <a:schemeClr val="bg1">
                  <a:lumMod val="10000"/>
                </a:schemeClr>
              </a:solidFill>
              <a:latin typeface="Calibri" panose="020F0502020204030204" pitchFamily="34" charset="0"/>
              <a:cs typeface="Calibri" panose="020F0502020204030204" pitchFamily="34" charset="0"/>
            </a:rPr>
            <a:t>JMeter</a:t>
          </a:r>
        </a:p>
      </dgm:t>
    </dgm:pt>
    <dgm:pt modelId="{542B1C76-D9FC-42F7-895D-568CFF53CCD6}" type="parTrans" cxnId="{78209C06-20C0-49E5-8CE6-14FF4CA44704}">
      <dgm:prSet/>
      <dgm:spPr/>
      <dgm:t>
        <a:bodyPr/>
        <a:lstStyle/>
        <a:p>
          <a:endParaRPr lang="en-IN">
            <a:solidFill>
              <a:schemeClr val="bg1">
                <a:lumMod val="10000"/>
              </a:schemeClr>
            </a:solidFill>
            <a:latin typeface="Calibri" panose="020F0502020204030204" pitchFamily="34" charset="0"/>
            <a:cs typeface="Calibri" panose="020F0502020204030204" pitchFamily="34" charset="0"/>
          </a:endParaRPr>
        </a:p>
      </dgm:t>
    </dgm:pt>
    <dgm:pt modelId="{575BF562-F046-4285-9B4C-F63F56C2E824}" type="sibTrans" cxnId="{78209C06-20C0-49E5-8CE6-14FF4CA44704}">
      <dgm:prSet/>
      <dgm:spPr/>
      <dgm:t>
        <a:bodyPr/>
        <a:lstStyle/>
        <a:p>
          <a:endParaRPr lang="en-IN">
            <a:solidFill>
              <a:schemeClr val="bg1">
                <a:lumMod val="10000"/>
              </a:schemeClr>
            </a:solidFill>
            <a:latin typeface="Calibri" panose="020F0502020204030204" pitchFamily="34" charset="0"/>
            <a:cs typeface="Calibri" panose="020F0502020204030204" pitchFamily="34" charset="0"/>
          </a:endParaRPr>
        </a:p>
      </dgm:t>
    </dgm:pt>
    <dgm:pt modelId="{762C633E-D679-46FE-B435-8FEE4AE84C17}">
      <dgm:prSet phldrT="[Text]" custT="1"/>
      <dgm:spPr/>
      <dgm:t>
        <a:bodyPr/>
        <a:lstStyle/>
        <a:p>
          <a:endParaRPr lang="en-IN" sz="1400" dirty="0">
            <a:solidFill>
              <a:schemeClr val="bg1">
                <a:lumMod val="10000"/>
              </a:schemeClr>
            </a:solidFill>
            <a:latin typeface="Calibri" panose="020F0502020204030204" pitchFamily="34" charset="0"/>
            <a:cs typeface="Calibri" panose="020F0502020204030204" pitchFamily="34" charset="0"/>
          </a:endParaRPr>
        </a:p>
      </dgm:t>
    </dgm:pt>
    <dgm:pt modelId="{6BDBADF6-CB79-4452-8291-E68A4DEAD174}" type="parTrans" cxnId="{C395E00A-AEA6-41E7-A787-B98E34E49809}">
      <dgm:prSet/>
      <dgm:spPr/>
      <dgm:t>
        <a:bodyPr/>
        <a:lstStyle/>
        <a:p>
          <a:endParaRPr lang="en-IN">
            <a:solidFill>
              <a:schemeClr val="bg1">
                <a:lumMod val="10000"/>
              </a:schemeClr>
            </a:solidFill>
            <a:latin typeface="Calibri" panose="020F0502020204030204" pitchFamily="34" charset="0"/>
            <a:cs typeface="Calibri" panose="020F0502020204030204" pitchFamily="34" charset="0"/>
          </a:endParaRPr>
        </a:p>
      </dgm:t>
    </dgm:pt>
    <dgm:pt modelId="{5012E50B-B805-42CF-8365-7BAE8780D8DE}" type="sibTrans" cxnId="{C395E00A-AEA6-41E7-A787-B98E34E49809}">
      <dgm:prSet/>
      <dgm:spPr/>
      <dgm:t>
        <a:bodyPr/>
        <a:lstStyle/>
        <a:p>
          <a:endParaRPr lang="en-IN">
            <a:solidFill>
              <a:schemeClr val="bg1">
                <a:lumMod val="10000"/>
              </a:schemeClr>
            </a:solidFill>
            <a:latin typeface="Calibri" panose="020F0502020204030204" pitchFamily="34" charset="0"/>
            <a:cs typeface="Calibri" panose="020F0502020204030204" pitchFamily="34" charset="0"/>
          </a:endParaRPr>
        </a:p>
      </dgm:t>
    </dgm:pt>
    <dgm:pt modelId="{43CA63A3-A180-44A4-9944-E5251797436E}">
      <dgm:prSet phldrT="[Text]" custT="1"/>
      <dgm:spPr/>
      <dgm:t>
        <a:bodyPr/>
        <a:lstStyle/>
        <a:p>
          <a:r>
            <a:rPr lang="en-IN" sz="3000" dirty="0">
              <a:solidFill>
                <a:schemeClr val="bg1">
                  <a:lumMod val="10000"/>
                </a:schemeClr>
              </a:solidFill>
              <a:latin typeface="Calibri" panose="020F0502020204030204" pitchFamily="34" charset="0"/>
              <a:cs typeface="Calibri" panose="020F0502020204030204" pitchFamily="34" charset="0"/>
            </a:rPr>
            <a:t>IBM RPT</a:t>
          </a:r>
        </a:p>
      </dgm:t>
    </dgm:pt>
    <dgm:pt modelId="{F530F0C0-16CB-4692-ACE0-CEA9BCF44FF8}" type="parTrans" cxnId="{54ABA711-4499-49A7-839F-FAC4A8A2BAF5}">
      <dgm:prSet/>
      <dgm:spPr/>
      <dgm:t>
        <a:bodyPr/>
        <a:lstStyle/>
        <a:p>
          <a:endParaRPr lang="en-IN">
            <a:solidFill>
              <a:schemeClr val="bg1">
                <a:lumMod val="10000"/>
              </a:schemeClr>
            </a:solidFill>
            <a:latin typeface="Calibri" panose="020F0502020204030204" pitchFamily="34" charset="0"/>
            <a:cs typeface="Calibri" panose="020F0502020204030204" pitchFamily="34" charset="0"/>
          </a:endParaRPr>
        </a:p>
      </dgm:t>
    </dgm:pt>
    <dgm:pt modelId="{C3AD1EC0-424D-4C1C-980D-4B580C71B0F8}" type="sibTrans" cxnId="{54ABA711-4499-49A7-839F-FAC4A8A2BAF5}">
      <dgm:prSet/>
      <dgm:spPr/>
      <dgm:t>
        <a:bodyPr/>
        <a:lstStyle/>
        <a:p>
          <a:endParaRPr lang="en-IN">
            <a:solidFill>
              <a:schemeClr val="bg1">
                <a:lumMod val="10000"/>
              </a:schemeClr>
            </a:solidFill>
            <a:latin typeface="Calibri" panose="020F0502020204030204" pitchFamily="34" charset="0"/>
            <a:cs typeface="Calibri" panose="020F0502020204030204" pitchFamily="34" charset="0"/>
          </a:endParaRPr>
        </a:p>
      </dgm:t>
    </dgm:pt>
    <dgm:pt modelId="{83F860DC-433D-4DA9-8E5B-07A17246EFB9}">
      <dgm:prSet phldrT="[Text]" custT="1"/>
      <dgm:spPr/>
      <dgm:t>
        <a:bodyPr/>
        <a:lstStyle/>
        <a:p>
          <a:endParaRPr lang="en-IN" sz="1400" dirty="0">
            <a:solidFill>
              <a:schemeClr val="bg1">
                <a:lumMod val="10000"/>
              </a:schemeClr>
            </a:solidFill>
            <a:latin typeface="Calibri" panose="020F0502020204030204" pitchFamily="34" charset="0"/>
            <a:cs typeface="Calibri" panose="020F0502020204030204" pitchFamily="34" charset="0"/>
          </a:endParaRPr>
        </a:p>
      </dgm:t>
    </dgm:pt>
    <dgm:pt modelId="{0BB2770D-CF5A-4856-B1CC-14062CC15B79}" type="parTrans" cxnId="{CA79ABA7-2199-436F-8D76-B33DA8F188D6}">
      <dgm:prSet/>
      <dgm:spPr/>
      <dgm:t>
        <a:bodyPr/>
        <a:lstStyle/>
        <a:p>
          <a:endParaRPr lang="en-IN">
            <a:solidFill>
              <a:schemeClr val="bg1">
                <a:lumMod val="10000"/>
              </a:schemeClr>
            </a:solidFill>
            <a:latin typeface="Calibri" panose="020F0502020204030204" pitchFamily="34" charset="0"/>
            <a:cs typeface="Calibri" panose="020F0502020204030204" pitchFamily="34" charset="0"/>
          </a:endParaRPr>
        </a:p>
      </dgm:t>
    </dgm:pt>
    <dgm:pt modelId="{EE253DC9-3F62-4F63-9CCB-59A605B3A595}" type="sibTrans" cxnId="{CA79ABA7-2199-436F-8D76-B33DA8F188D6}">
      <dgm:prSet/>
      <dgm:spPr/>
      <dgm:t>
        <a:bodyPr/>
        <a:lstStyle/>
        <a:p>
          <a:endParaRPr lang="en-IN">
            <a:solidFill>
              <a:schemeClr val="bg1">
                <a:lumMod val="10000"/>
              </a:schemeClr>
            </a:solidFill>
            <a:latin typeface="Calibri" panose="020F0502020204030204" pitchFamily="34" charset="0"/>
            <a:cs typeface="Calibri" panose="020F0502020204030204" pitchFamily="34" charset="0"/>
          </a:endParaRPr>
        </a:p>
      </dgm:t>
    </dgm:pt>
    <dgm:pt modelId="{3F0FBE5A-E264-444A-8D02-44450644CCAE}">
      <dgm:prSet phldrT="[Text]" custT="1"/>
      <dgm:spPr/>
      <dgm:t>
        <a:bodyPr/>
        <a:lstStyle/>
        <a:p>
          <a:r>
            <a:rPr lang="en-IN" sz="3000" dirty="0">
              <a:solidFill>
                <a:schemeClr val="bg1">
                  <a:lumMod val="10000"/>
                </a:schemeClr>
              </a:solidFill>
              <a:latin typeface="Calibri" panose="020F0502020204030204" pitchFamily="34" charset="0"/>
              <a:cs typeface="Calibri" panose="020F0502020204030204" pitchFamily="34" charset="0"/>
            </a:rPr>
            <a:t>Load Runner</a:t>
          </a:r>
        </a:p>
      </dgm:t>
    </dgm:pt>
    <dgm:pt modelId="{DC563BB6-AE07-4EB5-8EB5-86C426B92DBA}" type="parTrans" cxnId="{A17D0346-FA6D-4717-BB90-209A0E22B9BD}">
      <dgm:prSet/>
      <dgm:spPr/>
      <dgm:t>
        <a:bodyPr/>
        <a:lstStyle/>
        <a:p>
          <a:endParaRPr lang="en-IN">
            <a:solidFill>
              <a:schemeClr val="bg1">
                <a:lumMod val="10000"/>
              </a:schemeClr>
            </a:solidFill>
            <a:latin typeface="Calibri" panose="020F0502020204030204" pitchFamily="34" charset="0"/>
            <a:cs typeface="Calibri" panose="020F0502020204030204" pitchFamily="34" charset="0"/>
          </a:endParaRPr>
        </a:p>
      </dgm:t>
    </dgm:pt>
    <dgm:pt modelId="{155A1277-D602-4076-8550-845E6170925A}" type="sibTrans" cxnId="{A17D0346-FA6D-4717-BB90-209A0E22B9BD}">
      <dgm:prSet/>
      <dgm:spPr/>
      <dgm:t>
        <a:bodyPr/>
        <a:lstStyle/>
        <a:p>
          <a:endParaRPr lang="en-IN">
            <a:solidFill>
              <a:schemeClr val="bg1">
                <a:lumMod val="10000"/>
              </a:schemeClr>
            </a:solidFill>
            <a:latin typeface="Calibri" panose="020F0502020204030204" pitchFamily="34" charset="0"/>
            <a:cs typeface="Calibri" panose="020F0502020204030204" pitchFamily="34" charset="0"/>
          </a:endParaRPr>
        </a:p>
      </dgm:t>
    </dgm:pt>
    <dgm:pt modelId="{656861F5-4F2A-4FC3-8785-F3B00C1C350D}">
      <dgm:prSet phldrT="[Text]" custT="1"/>
      <dgm:spPr/>
      <dgm:t>
        <a:bodyPr/>
        <a:lstStyle/>
        <a:p>
          <a:endParaRPr lang="en-IN" sz="1400" dirty="0">
            <a:solidFill>
              <a:schemeClr val="bg1">
                <a:lumMod val="10000"/>
              </a:schemeClr>
            </a:solidFill>
            <a:latin typeface="Calibri" panose="020F0502020204030204" pitchFamily="34" charset="0"/>
            <a:cs typeface="Calibri" panose="020F0502020204030204" pitchFamily="34" charset="0"/>
          </a:endParaRPr>
        </a:p>
      </dgm:t>
    </dgm:pt>
    <dgm:pt modelId="{7F252A17-2EB9-4DFB-986D-9D44858919AE}" type="parTrans" cxnId="{6C47FA2C-5890-4BA0-9062-E51DAE5F128E}">
      <dgm:prSet/>
      <dgm:spPr/>
      <dgm:t>
        <a:bodyPr/>
        <a:lstStyle/>
        <a:p>
          <a:endParaRPr lang="en-IN">
            <a:solidFill>
              <a:schemeClr val="bg1">
                <a:lumMod val="10000"/>
              </a:schemeClr>
            </a:solidFill>
            <a:latin typeface="Calibri" panose="020F0502020204030204" pitchFamily="34" charset="0"/>
            <a:cs typeface="Calibri" panose="020F0502020204030204" pitchFamily="34" charset="0"/>
          </a:endParaRPr>
        </a:p>
      </dgm:t>
    </dgm:pt>
    <dgm:pt modelId="{707354B6-B719-4144-BF41-F5093468EF1D}" type="sibTrans" cxnId="{6C47FA2C-5890-4BA0-9062-E51DAE5F128E}">
      <dgm:prSet/>
      <dgm:spPr/>
      <dgm:t>
        <a:bodyPr/>
        <a:lstStyle/>
        <a:p>
          <a:endParaRPr lang="en-IN">
            <a:solidFill>
              <a:schemeClr val="bg1">
                <a:lumMod val="10000"/>
              </a:schemeClr>
            </a:solidFill>
            <a:latin typeface="Calibri" panose="020F0502020204030204" pitchFamily="34" charset="0"/>
            <a:cs typeface="Calibri" panose="020F0502020204030204" pitchFamily="34" charset="0"/>
          </a:endParaRPr>
        </a:p>
      </dgm:t>
    </dgm:pt>
    <dgm:pt modelId="{1D153C9E-AF7F-4689-93FC-C04BA8F1F051}">
      <dgm:prSet phldrT="[Text]" custT="1"/>
      <dgm:spPr/>
      <dgm:t>
        <a:bodyPr/>
        <a:lstStyle/>
        <a:p>
          <a:endParaRPr lang="en-IN" sz="1400" dirty="0">
            <a:solidFill>
              <a:schemeClr val="bg1">
                <a:lumMod val="10000"/>
              </a:schemeClr>
            </a:solidFill>
            <a:latin typeface="Calibri" panose="020F0502020204030204" pitchFamily="34" charset="0"/>
            <a:cs typeface="Calibri" panose="020F0502020204030204" pitchFamily="34" charset="0"/>
          </a:endParaRPr>
        </a:p>
      </dgm:t>
    </dgm:pt>
    <dgm:pt modelId="{B3E5FF64-B167-4D4D-83C8-1F05F251A6F4}" type="parTrans" cxnId="{9E0C3A93-8D44-4CCA-94B3-FC904FD89A7F}">
      <dgm:prSet/>
      <dgm:spPr/>
      <dgm:t>
        <a:bodyPr/>
        <a:lstStyle/>
        <a:p>
          <a:endParaRPr lang="en-IN"/>
        </a:p>
      </dgm:t>
    </dgm:pt>
    <dgm:pt modelId="{E11E01A4-B5FB-491A-8613-FB144F04E855}" type="sibTrans" cxnId="{9E0C3A93-8D44-4CCA-94B3-FC904FD89A7F}">
      <dgm:prSet/>
      <dgm:spPr/>
      <dgm:t>
        <a:bodyPr/>
        <a:lstStyle/>
        <a:p>
          <a:endParaRPr lang="en-IN"/>
        </a:p>
      </dgm:t>
    </dgm:pt>
    <dgm:pt modelId="{7140C25A-40C0-45ED-8A18-E13448679508}" type="pres">
      <dgm:prSet presAssocID="{79E9800B-48E0-46F9-8B5E-AE8284A9BD7E}" presName="linearFlow" presStyleCnt="0">
        <dgm:presLayoutVars>
          <dgm:dir/>
          <dgm:animLvl val="lvl"/>
          <dgm:resizeHandles/>
        </dgm:presLayoutVars>
      </dgm:prSet>
      <dgm:spPr/>
      <dgm:t>
        <a:bodyPr/>
        <a:lstStyle/>
        <a:p>
          <a:endParaRPr lang="en-IN"/>
        </a:p>
      </dgm:t>
    </dgm:pt>
    <dgm:pt modelId="{B4B0E6E1-4B80-4A22-BB45-FEC76B1E1CE3}" type="pres">
      <dgm:prSet presAssocID="{CD9D68B9-54A6-4503-A954-ACCAC0A92448}" presName="compositeNode" presStyleCnt="0">
        <dgm:presLayoutVars>
          <dgm:bulletEnabled val="1"/>
        </dgm:presLayoutVars>
      </dgm:prSet>
      <dgm:spPr/>
    </dgm:pt>
    <dgm:pt modelId="{13C7B7D6-8B4E-46B6-9A63-A884AE378115}" type="pres">
      <dgm:prSet presAssocID="{CD9D68B9-54A6-4503-A954-ACCAC0A92448}" presName="image" presStyleLbl="fgImgPlace1" presStyleIdx="0" presStyleCnt="3" custScaleX="90047" custScaleY="79944"/>
      <dgm:spPr/>
    </dgm:pt>
    <dgm:pt modelId="{18B19467-6D3E-41D1-ADA5-60198E5D927F}" type="pres">
      <dgm:prSet presAssocID="{CD9D68B9-54A6-4503-A954-ACCAC0A92448}" presName="childNode" presStyleLbl="node1" presStyleIdx="0" presStyleCnt="3" custScaleY="108699">
        <dgm:presLayoutVars>
          <dgm:bulletEnabled val="1"/>
        </dgm:presLayoutVars>
      </dgm:prSet>
      <dgm:spPr/>
      <dgm:t>
        <a:bodyPr/>
        <a:lstStyle/>
        <a:p>
          <a:endParaRPr lang="en-IN"/>
        </a:p>
      </dgm:t>
    </dgm:pt>
    <dgm:pt modelId="{D0F87849-C7F2-462F-AAEA-1E3994A5C996}" type="pres">
      <dgm:prSet presAssocID="{CD9D68B9-54A6-4503-A954-ACCAC0A92448}" presName="parentNode" presStyleLbl="revTx" presStyleIdx="0" presStyleCnt="3">
        <dgm:presLayoutVars>
          <dgm:chMax val="0"/>
          <dgm:bulletEnabled val="1"/>
        </dgm:presLayoutVars>
      </dgm:prSet>
      <dgm:spPr/>
      <dgm:t>
        <a:bodyPr/>
        <a:lstStyle/>
        <a:p>
          <a:endParaRPr lang="en-IN"/>
        </a:p>
      </dgm:t>
    </dgm:pt>
    <dgm:pt modelId="{C8C34845-3AEC-4081-9749-EF33DA857A9D}" type="pres">
      <dgm:prSet presAssocID="{575BF562-F046-4285-9B4C-F63F56C2E824}" presName="sibTrans" presStyleCnt="0"/>
      <dgm:spPr/>
    </dgm:pt>
    <dgm:pt modelId="{4259E420-70B1-4FE8-AFE3-DA4149F56B38}" type="pres">
      <dgm:prSet presAssocID="{43CA63A3-A180-44A4-9944-E5251797436E}" presName="compositeNode" presStyleCnt="0">
        <dgm:presLayoutVars>
          <dgm:bulletEnabled val="1"/>
        </dgm:presLayoutVars>
      </dgm:prSet>
      <dgm:spPr/>
    </dgm:pt>
    <dgm:pt modelId="{4241BCED-6E7F-4346-AA82-15E5DA5AA319}" type="pres">
      <dgm:prSet presAssocID="{43CA63A3-A180-44A4-9944-E5251797436E}" presName="image" presStyleLbl="fgImgPlace1" presStyleIdx="1" presStyleCnt="3" custScaleX="90047" custScaleY="79944"/>
      <dgm:spPr/>
    </dgm:pt>
    <dgm:pt modelId="{95E81728-2A5F-4DF0-BEE9-C2F59EA2CE8E}" type="pres">
      <dgm:prSet presAssocID="{43CA63A3-A180-44A4-9944-E5251797436E}" presName="childNode" presStyleLbl="node1" presStyleIdx="1" presStyleCnt="3" custScaleY="108699">
        <dgm:presLayoutVars>
          <dgm:bulletEnabled val="1"/>
        </dgm:presLayoutVars>
      </dgm:prSet>
      <dgm:spPr/>
      <dgm:t>
        <a:bodyPr/>
        <a:lstStyle/>
        <a:p>
          <a:endParaRPr lang="en-IN"/>
        </a:p>
      </dgm:t>
    </dgm:pt>
    <dgm:pt modelId="{6A6D503D-C655-4C80-8C01-67FEF98686C1}" type="pres">
      <dgm:prSet presAssocID="{43CA63A3-A180-44A4-9944-E5251797436E}" presName="parentNode" presStyleLbl="revTx" presStyleIdx="1" presStyleCnt="3">
        <dgm:presLayoutVars>
          <dgm:chMax val="0"/>
          <dgm:bulletEnabled val="1"/>
        </dgm:presLayoutVars>
      </dgm:prSet>
      <dgm:spPr/>
      <dgm:t>
        <a:bodyPr/>
        <a:lstStyle/>
        <a:p>
          <a:endParaRPr lang="en-IN"/>
        </a:p>
      </dgm:t>
    </dgm:pt>
    <dgm:pt modelId="{C746C96B-70D1-45A8-A86C-69AB5E0C9622}" type="pres">
      <dgm:prSet presAssocID="{C3AD1EC0-424D-4C1C-980D-4B580C71B0F8}" presName="sibTrans" presStyleCnt="0"/>
      <dgm:spPr/>
    </dgm:pt>
    <dgm:pt modelId="{8BC76FCB-7644-4044-9EBC-C06019D6DE51}" type="pres">
      <dgm:prSet presAssocID="{3F0FBE5A-E264-444A-8D02-44450644CCAE}" presName="compositeNode" presStyleCnt="0">
        <dgm:presLayoutVars>
          <dgm:bulletEnabled val="1"/>
        </dgm:presLayoutVars>
      </dgm:prSet>
      <dgm:spPr/>
    </dgm:pt>
    <dgm:pt modelId="{414B9AC0-7FD5-429F-9C94-BE7E0E175009}" type="pres">
      <dgm:prSet presAssocID="{3F0FBE5A-E264-444A-8D02-44450644CCAE}" presName="image" presStyleLbl="fgImgPlace1" presStyleIdx="2" presStyleCnt="3" custScaleX="90047" custScaleY="79944"/>
      <dgm:spPr/>
    </dgm:pt>
    <dgm:pt modelId="{AB7CFEFB-AA59-44D4-B6E8-81F39371B510}" type="pres">
      <dgm:prSet presAssocID="{3F0FBE5A-E264-444A-8D02-44450644CCAE}" presName="childNode" presStyleLbl="node1" presStyleIdx="2" presStyleCnt="3" custScaleY="108699">
        <dgm:presLayoutVars>
          <dgm:bulletEnabled val="1"/>
        </dgm:presLayoutVars>
      </dgm:prSet>
      <dgm:spPr/>
      <dgm:t>
        <a:bodyPr/>
        <a:lstStyle/>
        <a:p>
          <a:endParaRPr lang="en-IN"/>
        </a:p>
      </dgm:t>
    </dgm:pt>
    <dgm:pt modelId="{C865C15D-0CFD-46EE-B78A-29CC89F4ECC8}" type="pres">
      <dgm:prSet presAssocID="{3F0FBE5A-E264-444A-8D02-44450644CCAE}" presName="parentNode" presStyleLbl="revTx" presStyleIdx="2" presStyleCnt="3">
        <dgm:presLayoutVars>
          <dgm:chMax val="0"/>
          <dgm:bulletEnabled val="1"/>
        </dgm:presLayoutVars>
      </dgm:prSet>
      <dgm:spPr/>
      <dgm:t>
        <a:bodyPr/>
        <a:lstStyle/>
        <a:p>
          <a:endParaRPr lang="en-IN"/>
        </a:p>
      </dgm:t>
    </dgm:pt>
  </dgm:ptLst>
  <dgm:cxnLst>
    <dgm:cxn modelId="{9E0C3A93-8D44-4CCA-94B3-FC904FD89A7F}" srcId="{3F0FBE5A-E264-444A-8D02-44450644CCAE}" destId="{1D153C9E-AF7F-4689-93FC-C04BA8F1F051}" srcOrd="1" destOrd="0" parTransId="{B3E5FF64-B167-4D4D-83C8-1F05F251A6F4}" sibTransId="{E11E01A4-B5FB-491A-8613-FB144F04E855}"/>
    <dgm:cxn modelId="{6457188D-EED0-40DF-A603-D0F743B64990}" type="presOf" srcId="{1D153C9E-AF7F-4689-93FC-C04BA8F1F051}" destId="{AB7CFEFB-AA59-44D4-B6E8-81F39371B510}" srcOrd="0" destOrd="1" presId="urn:microsoft.com/office/officeart/2005/8/layout/hList2"/>
    <dgm:cxn modelId="{87EFFB14-EA6D-4E77-B634-6B9A62E49D0D}" type="presOf" srcId="{CD9D68B9-54A6-4503-A954-ACCAC0A92448}" destId="{D0F87849-C7F2-462F-AAEA-1E3994A5C996}" srcOrd="0" destOrd="0" presId="urn:microsoft.com/office/officeart/2005/8/layout/hList2"/>
    <dgm:cxn modelId="{A17D0346-FA6D-4717-BB90-209A0E22B9BD}" srcId="{79E9800B-48E0-46F9-8B5E-AE8284A9BD7E}" destId="{3F0FBE5A-E264-444A-8D02-44450644CCAE}" srcOrd="2" destOrd="0" parTransId="{DC563BB6-AE07-4EB5-8EB5-86C426B92DBA}" sibTransId="{155A1277-D602-4076-8550-845E6170925A}"/>
    <dgm:cxn modelId="{6C47FA2C-5890-4BA0-9062-E51DAE5F128E}" srcId="{3F0FBE5A-E264-444A-8D02-44450644CCAE}" destId="{656861F5-4F2A-4FC3-8785-F3B00C1C350D}" srcOrd="0" destOrd="0" parTransId="{7F252A17-2EB9-4DFB-986D-9D44858919AE}" sibTransId="{707354B6-B719-4144-BF41-F5093468EF1D}"/>
    <dgm:cxn modelId="{6832BD8B-EC38-4D38-A96B-15BB2BD9798E}" type="presOf" srcId="{762C633E-D679-46FE-B435-8FEE4AE84C17}" destId="{18B19467-6D3E-41D1-ADA5-60198E5D927F}" srcOrd="0" destOrd="0" presId="urn:microsoft.com/office/officeart/2005/8/layout/hList2"/>
    <dgm:cxn modelId="{E67E6523-B9E8-48B7-8BB2-367300CE064F}" type="presOf" srcId="{79E9800B-48E0-46F9-8B5E-AE8284A9BD7E}" destId="{7140C25A-40C0-45ED-8A18-E13448679508}" srcOrd="0" destOrd="0" presId="urn:microsoft.com/office/officeart/2005/8/layout/hList2"/>
    <dgm:cxn modelId="{AB04DE3F-9FF4-4592-951B-C69E80D6B26E}" type="presOf" srcId="{3F0FBE5A-E264-444A-8D02-44450644CCAE}" destId="{C865C15D-0CFD-46EE-B78A-29CC89F4ECC8}" srcOrd="0" destOrd="0" presId="urn:microsoft.com/office/officeart/2005/8/layout/hList2"/>
    <dgm:cxn modelId="{CA79ABA7-2199-436F-8D76-B33DA8F188D6}" srcId="{43CA63A3-A180-44A4-9944-E5251797436E}" destId="{83F860DC-433D-4DA9-8E5B-07A17246EFB9}" srcOrd="0" destOrd="0" parTransId="{0BB2770D-CF5A-4856-B1CC-14062CC15B79}" sibTransId="{EE253DC9-3F62-4F63-9CCB-59A605B3A595}"/>
    <dgm:cxn modelId="{4D7080E5-574D-4FD7-80A6-D04BAFDC1840}" type="presOf" srcId="{43CA63A3-A180-44A4-9944-E5251797436E}" destId="{6A6D503D-C655-4C80-8C01-67FEF98686C1}" srcOrd="0" destOrd="0" presId="urn:microsoft.com/office/officeart/2005/8/layout/hList2"/>
    <dgm:cxn modelId="{73D109BE-B1A2-4FE4-A36C-B0E2E5D4D7E0}" type="presOf" srcId="{83F860DC-433D-4DA9-8E5B-07A17246EFB9}" destId="{95E81728-2A5F-4DF0-BEE9-C2F59EA2CE8E}" srcOrd="0" destOrd="0" presId="urn:microsoft.com/office/officeart/2005/8/layout/hList2"/>
    <dgm:cxn modelId="{C395E00A-AEA6-41E7-A787-B98E34E49809}" srcId="{CD9D68B9-54A6-4503-A954-ACCAC0A92448}" destId="{762C633E-D679-46FE-B435-8FEE4AE84C17}" srcOrd="0" destOrd="0" parTransId="{6BDBADF6-CB79-4452-8291-E68A4DEAD174}" sibTransId="{5012E50B-B805-42CF-8365-7BAE8780D8DE}"/>
    <dgm:cxn modelId="{FA2BDEE8-F97F-4C7E-9BF8-20AF579C5379}" type="presOf" srcId="{656861F5-4F2A-4FC3-8785-F3B00C1C350D}" destId="{AB7CFEFB-AA59-44D4-B6E8-81F39371B510}" srcOrd="0" destOrd="0" presId="urn:microsoft.com/office/officeart/2005/8/layout/hList2"/>
    <dgm:cxn modelId="{54ABA711-4499-49A7-839F-FAC4A8A2BAF5}" srcId="{79E9800B-48E0-46F9-8B5E-AE8284A9BD7E}" destId="{43CA63A3-A180-44A4-9944-E5251797436E}" srcOrd="1" destOrd="0" parTransId="{F530F0C0-16CB-4692-ACE0-CEA9BCF44FF8}" sibTransId="{C3AD1EC0-424D-4C1C-980D-4B580C71B0F8}"/>
    <dgm:cxn modelId="{78209C06-20C0-49E5-8CE6-14FF4CA44704}" srcId="{79E9800B-48E0-46F9-8B5E-AE8284A9BD7E}" destId="{CD9D68B9-54A6-4503-A954-ACCAC0A92448}" srcOrd="0" destOrd="0" parTransId="{542B1C76-D9FC-42F7-895D-568CFF53CCD6}" sibTransId="{575BF562-F046-4285-9B4C-F63F56C2E824}"/>
    <dgm:cxn modelId="{B824A5E6-BC4C-4173-9F2E-4166E7485D5B}" type="presParOf" srcId="{7140C25A-40C0-45ED-8A18-E13448679508}" destId="{B4B0E6E1-4B80-4A22-BB45-FEC76B1E1CE3}" srcOrd="0" destOrd="0" presId="urn:microsoft.com/office/officeart/2005/8/layout/hList2"/>
    <dgm:cxn modelId="{8546BD11-130C-4CCF-915E-2E797737540E}" type="presParOf" srcId="{B4B0E6E1-4B80-4A22-BB45-FEC76B1E1CE3}" destId="{13C7B7D6-8B4E-46B6-9A63-A884AE378115}" srcOrd="0" destOrd="0" presId="urn:microsoft.com/office/officeart/2005/8/layout/hList2"/>
    <dgm:cxn modelId="{11689F94-1E03-413A-9A8E-CF1DB225E229}" type="presParOf" srcId="{B4B0E6E1-4B80-4A22-BB45-FEC76B1E1CE3}" destId="{18B19467-6D3E-41D1-ADA5-60198E5D927F}" srcOrd="1" destOrd="0" presId="urn:microsoft.com/office/officeart/2005/8/layout/hList2"/>
    <dgm:cxn modelId="{EDC7C592-8DBA-40E9-ADD6-7C27B7894F11}" type="presParOf" srcId="{B4B0E6E1-4B80-4A22-BB45-FEC76B1E1CE3}" destId="{D0F87849-C7F2-462F-AAEA-1E3994A5C996}" srcOrd="2" destOrd="0" presId="urn:microsoft.com/office/officeart/2005/8/layout/hList2"/>
    <dgm:cxn modelId="{670972F1-E04C-4FA9-8EE9-36B825CB2B6C}" type="presParOf" srcId="{7140C25A-40C0-45ED-8A18-E13448679508}" destId="{C8C34845-3AEC-4081-9749-EF33DA857A9D}" srcOrd="1" destOrd="0" presId="urn:microsoft.com/office/officeart/2005/8/layout/hList2"/>
    <dgm:cxn modelId="{DCC7E366-4C7A-40DC-8A1D-4742AB30ACE8}" type="presParOf" srcId="{7140C25A-40C0-45ED-8A18-E13448679508}" destId="{4259E420-70B1-4FE8-AFE3-DA4149F56B38}" srcOrd="2" destOrd="0" presId="urn:microsoft.com/office/officeart/2005/8/layout/hList2"/>
    <dgm:cxn modelId="{719256A9-095D-4D3D-9597-230CFB393A59}" type="presParOf" srcId="{4259E420-70B1-4FE8-AFE3-DA4149F56B38}" destId="{4241BCED-6E7F-4346-AA82-15E5DA5AA319}" srcOrd="0" destOrd="0" presId="urn:microsoft.com/office/officeart/2005/8/layout/hList2"/>
    <dgm:cxn modelId="{84E96B70-0A27-445B-A94B-2210AB638341}" type="presParOf" srcId="{4259E420-70B1-4FE8-AFE3-DA4149F56B38}" destId="{95E81728-2A5F-4DF0-BEE9-C2F59EA2CE8E}" srcOrd="1" destOrd="0" presId="urn:microsoft.com/office/officeart/2005/8/layout/hList2"/>
    <dgm:cxn modelId="{5D53F954-B37A-4839-887B-EAE8B8C8A50A}" type="presParOf" srcId="{4259E420-70B1-4FE8-AFE3-DA4149F56B38}" destId="{6A6D503D-C655-4C80-8C01-67FEF98686C1}" srcOrd="2" destOrd="0" presId="urn:microsoft.com/office/officeart/2005/8/layout/hList2"/>
    <dgm:cxn modelId="{8198B236-FE68-4692-9FBE-4ECCFCB92122}" type="presParOf" srcId="{7140C25A-40C0-45ED-8A18-E13448679508}" destId="{C746C96B-70D1-45A8-A86C-69AB5E0C9622}" srcOrd="3" destOrd="0" presId="urn:microsoft.com/office/officeart/2005/8/layout/hList2"/>
    <dgm:cxn modelId="{A13B9DF1-0935-41E2-BBBA-969FEE8A4959}" type="presParOf" srcId="{7140C25A-40C0-45ED-8A18-E13448679508}" destId="{8BC76FCB-7644-4044-9EBC-C06019D6DE51}" srcOrd="4" destOrd="0" presId="urn:microsoft.com/office/officeart/2005/8/layout/hList2"/>
    <dgm:cxn modelId="{699294C6-0706-4CD1-ACB3-CF262FD87B16}" type="presParOf" srcId="{8BC76FCB-7644-4044-9EBC-C06019D6DE51}" destId="{414B9AC0-7FD5-429F-9C94-BE7E0E175009}" srcOrd="0" destOrd="0" presId="urn:microsoft.com/office/officeart/2005/8/layout/hList2"/>
    <dgm:cxn modelId="{F0BC2800-5ADD-4663-800B-24F2B902B050}" type="presParOf" srcId="{8BC76FCB-7644-4044-9EBC-C06019D6DE51}" destId="{AB7CFEFB-AA59-44D4-B6E8-81F39371B510}" srcOrd="1" destOrd="0" presId="urn:microsoft.com/office/officeart/2005/8/layout/hList2"/>
    <dgm:cxn modelId="{AF62FB84-2EBC-434D-BE54-0417661A9E83}" type="presParOf" srcId="{8BC76FCB-7644-4044-9EBC-C06019D6DE51}" destId="{C865C15D-0CFD-46EE-B78A-29CC89F4ECC8}" srcOrd="2" destOrd="0" presId="urn:microsoft.com/office/officeart/2005/8/layout/hList2"/>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6572AF1-1EED-464D-9E4E-F306F91D56A0}" type="doc">
      <dgm:prSet loTypeId="urn:microsoft.com/office/officeart/2005/8/layout/hierarchy6" loCatId="hierarchy" qsTypeId="urn:microsoft.com/office/officeart/2005/8/quickstyle/simple1" qsCatId="simple" csTypeId="urn:microsoft.com/office/officeart/2005/8/colors/accent0_1" csCatId="mainScheme" phldr="1"/>
      <dgm:spPr/>
      <dgm:t>
        <a:bodyPr/>
        <a:lstStyle/>
        <a:p>
          <a:endParaRPr lang="en-IN"/>
        </a:p>
      </dgm:t>
    </dgm:pt>
    <dgm:pt modelId="{64599128-8393-4BE9-8CB5-1642BD62BA17}">
      <dgm:prSet phldrT="[Text]" custT="1"/>
      <dgm:spPr/>
      <dgm:t>
        <a:bodyPr/>
        <a:lstStyle/>
        <a:p>
          <a:r>
            <a:rPr lang="en-IN" sz="1100" dirty="0">
              <a:solidFill>
                <a:srgbClr val="53565A"/>
              </a:solidFill>
              <a:latin typeface="Calibri" panose="020F0502020204030204" pitchFamily="34" charset="0"/>
              <a:cs typeface="Calibri" panose="020F0502020204030204" pitchFamily="34" charset="0"/>
            </a:rPr>
            <a:t>Project Sponsor</a:t>
          </a:r>
        </a:p>
        <a:p>
          <a:r>
            <a:rPr lang="en-IN" sz="1100" b="1" dirty="0">
              <a:solidFill>
                <a:srgbClr val="53565A"/>
              </a:solidFill>
              <a:latin typeface="Calibri" panose="020F0502020204030204" pitchFamily="34" charset="0"/>
              <a:cs typeface="Calibri" panose="020F0502020204030204" pitchFamily="34" charset="0"/>
            </a:rPr>
            <a:t>IT Management</a:t>
          </a:r>
        </a:p>
      </dgm:t>
    </dgm:pt>
    <dgm:pt modelId="{65F52CF7-18DF-4203-B4CB-B39F37A053E1}" type="parTrans" cxnId="{F5B97E4B-F631-4105-8E0C-51D9FFC8A8C6}">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264F1741-1A13-47A9-A9FE-1871686A4864}" type="sibTrans" cxnId="{F5B97E4B-F631-4105-8E0C-51D9FFC8A8C6}">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E8B1704A-1249-4EE3-82F2-E0E2EAE04C21}">
      <dgm:prSet phldrT="[Text]" custT="1"/>
      <dgm:spPr/>
      <dgm:t>
        <a:bodyPr/>
        <a:lstStyle/>
        <a:p>
          <a:r>
            <a:rPr lang="en-IN" sz="1100" dirty="0">
              <a:solidFill>
                <a:srgbClr val="53565A"/>
              </a:solidFill>
              <a:latin typeface="Calibri" panose="020F0502020204030204" pitchFamily="34" charset="0"/>
              <a:cs typeface="Calibri" panose="020F0502020204030204" pitchFamily="34" charset="0"/>
            </a:rPr>
            <a:t>Project Manger</a:t>
          </a:r>
        </a:p>
        <a:p>
          <a:r>
            <a:rPr lang="en-GB" sz="1100" b="1" dirty="0">
              <a:solidFill>
                <a:srgbClr val="53565A"/>
              </a:solidFill>
              <a:latin typeface="Calibri" panose="020F0502020204030204" pitchFamily="34" charset="0"/>
              <a:cs typeface="Calibri" panose="020F0502020204030204" pitchFamily="34" charset="0"/>
            </a:rPr>
            <a:t>Wael Alghadban</a:t>
          </a:r>
          <a:endParaRPr lang="en-IN" sz="1100" b="1" dirty="0">
            <a:solidFill>
              <a:srgbClr val="53565A"/>
            </a:solidFill>
            <a:latin typeface="Calibri" panose="020F0502020204030204" pitchFamily="34" charset="0"/>
            <a:cs typeface="Calibri" panose="020F0502020204030204" pitchFamily="34" charset="0"/>
          </a:endParaRPr>
        </a:p>
      </dgm:t>
    </dgm:pt>
    <dgm:pt modelId="{987B4708-1263-4BDB-AC4C-86A64FA95E9B}" type="parTrans" cxnId="{591AE02D-3B93-46F4-B915-7CCC1DA1314B}">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9B018476-440C-4FEC-AC01-EB05EFF43695}" type="sibTrans" cxnId="{591AE02D-3B93-46F4-B915-7CCC1DA1314B}">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C6A6F49D-8679-4C1F-B999-FEF30440E86B}">
      <dgm:prSet phldrT="[Text]" custT="1"/>
      <dgm:spPr/>
      <dgm:t>
        <a:bodyPr/>
        <a:lstStyle/>
        <a:p>
          <a:r>
            <a:rPr lang="en-IN" sz="1100" dirty="0">
              <a:solidFill>
                <a:srgbClr val="53565A"/>
              </a:solidFill>
              <a:latin typeface="Calibri" panose="020F0502020204030204" pitchFamily="34" charset="0"/>
              <a:cs typeface="Calibri" panose="020F0502020204030204" pitchFamily="34" charset="0"/>
            </a:rPr>
            <a:t>Support Teams</a:t>
          </a:r>
        </a:p>
      </dgm:t>
    </dgm:pt>
    <dgm:pt modelId="{F5EA0BE1-2C0B-4D07-AA34-8767BBBC4464}" type="parTrans" cxnId="{C8087968-D454-4DFD-B397-77445A5D1267}">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816AFC57-3B07-40FF-B0AE-4CFBA48EE372}" type="sibTrans" cxnId="{C8087968-D454-4DFD-B397-77445A5D1267}">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687EF747-3758-4134-81A5-5B56548F80E4}">
      <dgm:prSet phldrT="[Text]" custT="1"/>
      <dgm:spPr/>
      <dgm:t>
        <a:bodyPr/>
        <a:lstStyle/>
        <a:p>
          <a:r>
            <a:rPr lang="en-IN" sz="1100" dirty="0">
              <a:solidFill>
                <a:srgbClr val="53565A"/>
              </a:solidFill>
              <a:latin typeface="Calibri" panose="020F0502020204030204" pitchFamily="34" charset="0"/>
              <a:cs typeface="Calibri" panose="020F0502020204030204" pitchFamily="34" charset="0"/>
            </a:rPr>
            <a:t>Testing Team</a:t>
          </a:r>
        </a:p>
      </dgm:t>
    </dgm:pt>
    <dgm:pt modelId="{022FAB26-D57D-4F4B-8F67-2450C32C2BC0}" type="parTrans" cxnId="{3F02500A-1E5F-4BBD-87CD-B083A8DD2610}">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E3DE4570-3B5E-4759-B3CF-27ADFD13895D}" type="sibTrans" cxnId="{3F02500A-1E5F-4BBD-87CD-B083A8DD2610}">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1646472B-674F-4A7B-907A-A2DE3AEF8B83}">
      <dgm:prSet phldrT="[Text]" custT="1"/>
      <dgm:spPr/>
      <dgm:t>
        <a:bodyPr/>
        <a:lstStyle/>
        <a:p>
          <a:r>
            <a:rPr lang="en-IN" sz="1100" dirty="0">
              <a:solidFill>
                <a:srgbClr val="53565A"/>
              </a:solidFill>
              <a:latin typeface="Calibri" panose="020F0502020204030204" pitchFamily="34" charset="0"/>
              <a:cs typeface="Calibri" panose="020F0502020204030204" pitchFamily="34" charset="0"/>
            </a:rPr>
            <a:t>Infrastructure</a:t>
          </a:r>
        </a:p>
        <a:p>
          <a:r>
            <a:rPr lang="en-GB" sz="1100" b="1" dirty="0">
              <a:solidFill>
                <a:srgbClr val="53565A"/>
              </a:solidFill>
              <a:latin typeface="Calibri" panose="020F0502020204030204" pitchFamily="34" charset="0"/>
              <a:cs typeface="Calibri" panose="020F0502020204030204" pitchFamily="34" charset="0"/>
            </a:rPr>
            <a:t>Abdullah AlHaddad</a:t>
          </a:r>
          <a:endParaRPr lang="en-IN" sz="1100" b="1" dirty="0">
            <a:solidFill>
              <a:srgbClr val="53565A"/>
            </a:solidFill>
            <a:latin typeface="Calibri" panose="020F0502020204030204" pitchFamily="34" charset="0"/>
            <a:cs typeface="Calibri" panose="020F0502020204030204" pitchFamily="34" charset="0"/>
          </a:endParaRPr>
        </a:p>
      </dgm:t>
    </dgm:pt>
    <dgm:pt modelId="{F014AFC6-591F-4FDE-AFBA-6DB51E7C2328}" type="parTrans" cxnId="{4EF0AF41-7783-4938-BA02-651F98DCE9FD}">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C59F38A6-7F56-4512-8EDD-BCAC924CBDFF}" type="sibTrans" cxnId="{4EF0AF41-7783-4938-BA02-651F98DCE9FD}">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2F141544-2AE3-46FC-94DC-CFB40EC4D2E2}">
      <dgm:prSet phldrT="[Text]" custT="1"/>
      <dgm:spPr/>
      <dgm:t>
        <a:bodyPr/>
        <a:lstStyle/>
        <a:p>
          <a:r>
            <a:rPr lang="en-IN" sz="1100" dirty="0">
              <a:solidFill>
                <a:srgbClr val="53565A"/>
              </a:solidFill>
              <a:latin typeface="Calibri" panose="020F0502020204030204" pitchFamily="34" charset="0"/>
              <a:cs typeface="Calibri" panose="020F0502020204030204" pitchFamily="34" charset="0"/>
            </a:rPr>
            <a:t>ITCC &amp; Staging Team</a:t>
          </a:r>
        </a:p>
        <a:p>
          <a:r>
            <a:rPr lang="en-GB" sz="1100" b="1" dirty="0">
              <a:solidFill>
                <a:srgbClr val="53565A"/>
              </a:solidFill>
              <a:latin typeface="Calibri" panose="020F0502020204030204" pitchFamily="34" charset="0"/>
              <a:cs typeface="Calibri" panose="020F0502020204030204" pitchFamily="34" charset="0"/>
            </a:rPr>
            <a:t>Fawaz Shamim &amp;</a:t>
          </a:r>
        </a:p>
        <a:p>
          <a:r>
            <a:rPr lang="en-GB" sz="1100" b="1" dirty="0">
              <a:solidFill>
                <a:srgbClr val="53565A"/>
              </a:solidFill>
              <a:latin typeface="Calibri" panose="020F0502020204030204" pitchFamily="34" charset="0"/>
              <a:cs typeface="Calibri" panose="020F0502020204030204" pitchFamily="34" charset="0"/>
            </a:rPr>
            <a:t>Hassan AlTalib</a:t>
          </a:r>
          <a:endParaRPr lang="en-IN" sz="1100" b="1" dirty="0">
            <a:solidFill>
              <a:srgbClr val="53565A"/>
            </a:solidFill>
            <a:latin typeface="Calibri" panose="020F0502020204030204" pitchFamily="34" charset="0"/>
            <a:cs typeface="Calibri" panose="020F0502020204030204" pitchFamily="34" charset="0"/>
          </a:endParaRPr>
        </a:p>
      </dgm:t>
    </dgm:pt>
    <dgm:pt modelId="{EAEDCA2F-40AB-46F0-BB4A-01F65EA906B1}" type="parTrans" cxnId="{56ECC061-59C2-48BD-8A7F-E6E6B05ACCFF}">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EEAD86FD-D42B-4FB9-B8A4-51BA762D2184}" type="sibTrans" cxnId="{56ECC061-59C2-48BD-8A7F-E6E6B05ACCFF}">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F1AB51B3-8BE8-4204-99DD-C2D3130F5C28}">
      <dgm:prSet phldrT="[Text]" custT="1"/>
      <dgm:spPr/>
      <dgm:t>
        <a:bodyPr/>
        <a:lstStyle/>
        <a:p>
          <a:r>
            <a:rPr lang="en-IN" sz="1100" dirty="0">
              <a:solidFill>
                <a:srgbClr val="53565A"/>
              </a:solidFill>
              <a:latin typeface="Calibri" panose="020F0502020204030204" pitchFamily="34" charset="0"/>
              <a:cs typeface="Calibri" panose="020F0502020204030204" pitchFamily="34" charset="0"/>
            </a:rPr>
            <a:t>App/Dev Team</a:t>
          </a:r>
        </a:p>
      </dgm:t>
    </dgm:pt>
    <dgm:pt modelId="{A72CEAD8-4713-4C5A-BCCC-7AB83735755A}" type="parTrans" cxnId="{8A8C99E0-40B5-481E-ADF5-7954ECC4B1A7}">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A7849CA4-BB01-4936-BF70-084EEF66D5D6}" type="sibTrans" cxnId="{8A8C99E0-40B5-481E-ADF5-7954ECC4B1A7}">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B1FDE70B-4F20-45B3-BF79-C50F5887A269}">
      <dgm:prSet phldrT="[Text]" custT="1"/>
      <dgm:spPr/>
      <dgm:t>
        <a:bodyPr/>
        <a:lstStyle/>
        <a:p>
          <a:r>
            <a:rPr lang="en-IN" sz="1100" dirty="0">
              <a:solidFill>
                <a:srgbClr val="53565A"/>
              </a:solidFill>
              <a:latin typeface="Calibri" panose="020F0502020204030204" pitchFamily="34" charset="0"/>
              <a:cs typeface="Calibri" panose="020F0502020204030204" pitchFamily="34" charset="0"/>
            </a:rPr>
            <a:t>Kony/VBL</a:t>
          </a:r>
        </a:p>
        <a:p>
          <a:r>
            <a:rPr lang="en-GB" sz="1100" b="1" dirty="0">
              <a:solidFill>
                <a:srgbClr val="53565A"/>
              </a:solidFill>
              <a:latin typeface="Calibri" panose="020F0502020204030204" pitchFamily="34" charset="0"/>
              <a:cs typeface="Calibri" panose="020F0502020204030204" pitchFamily="34" charset="0"/>
            </a:rPr>
            <a:t>Sulaman Riaz/Asif Ishaq</a:t>
          </a:r>
          <a:endParaRPr lang="en-IN" sz="1100" b="1" dirty="0">
            <a:solidFill>
              <a:srgbClr val="53565A"/>
            </a:solidFill>
            <a:latin typeface="Calibri" panose="020F0502020204030204" pitchFamily="34" charset="0"/>
            <a:cs typeface="Calibri" panose="020F0502020204030204" pitchFamily="34" charset="0"/>
          </a:endParaRPr>
        </a:p>
      </dgm:t>
    </dgm:pt>
    <dgm:pt modelId="{CA6851A1-9408-408B-ADB6-52AF13E430FF}" type="parTrans" cxnId="{6BB1416E-F204-4AC5-AE49-BCDBD9F62B48}">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7839083C-C629-4D08-8B09-420B3B9D815B}" type="sibTrans" cxnId="{6BB1416E-F204-4AC5-AE49-BCDBD9F62B48}">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ABB7818D-66B5-464E-A908-BD26A774498A}">
      <dgm:prSet phldrT="[Text]" custT="1"/>
      <dgm:spPr/>
      <dgm:t>
        <a:bodyPr/>
        <a:lstStyle/>
        <a:p>
          <a:r>
            <a:rPr lang="en-IN" sz="1100" dirty="0">
              <a:solidFill>
                <a:srgbClr val="53565A"/>
              </a:solidFill>
              <a:latin typeface="Calibri" panose="020F0502020204030204" pitchFamily="34" charset="0"/>
              <a:cs typeface="Calibri" panose="020F0502020204030204" pitchFamily="34" charset="0"/>
            </a:rPr>
            <a:t>CRM</a:t>
          </a:r>
        </a:p>
        <a:p>
          <a:r>
            <a:rPr lang="en-GB" sz="1100" b="1" dirty="0">
              <a:solidFill>
                <a:srgbClr val="53565A"/>
              </a:solidFill>
              <a:latin typeface="Calibri" panose="020F0502020204030204" pitchFamily="34" charset="0"/>
              <a:cs typeface="Calibri" panose="020F0502020204030204" pitchFamily="34" charset="0"/>
            </a:rPr>
            <a:t>Abdulhameed AlHassan</a:t>
          </a:r>
          <a:endParaRPr lang="en-IN" sz="1100" b="1" dirty="0">
            <a:solidFill>
              <a:srgbClr val="53565A"/>
            </a:solidFill>
            <a:latin typeface="Calibri" panose="020F0502020204030204" pitchFamily="34" charset="0"/>
            <a:cs typeface="Calibri" panose="020F0502020204030204" pitchFamily="34" charset="0"/>
          </a:endParaRPr>
        </a:p>
      </dgm:t>
    </dgm:pt>
    <dgm:pt modelId="{8E830CE8-B2EE-4EA0-A99A-EF7CF7D00603}" type="parTrans" cxnId="{670600EF-10B6-4EDE-96B1-9B39EB276E1B}">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EE17A957-AA6A-4DA9-99F7-566CF5233421}" type="sibTrans" cxnId="{670600EF-10B6-4EDE-96B1-9B39EB276E1B}">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CC592D04-558E-449E-B664-79F7120DE1EC}">
      <dgm:prSet phldrT="[Text]" custT="1"/>
      <dgm:spPr/>
      <dgm:t>
        <a:bodyPr/>
        <a:lstStyle/>
        <a:p>
          <a:r>
            <a:rPr lang="en-IN" sz="1100" dirty="0">
              <a:solidFill>
                <a:srgbClr val="53565A"/>
              </a:solidFill>
              <a:latin typeface="Calibri" panose="020F0502020204030204" pitchFamily="34" charset="0"/>
              <a:cs typeface="Calibri" panose="020F0502020204030204" pitchFamily="34" charset="0"/>
            </a:rPr>
            <a:t>UBS</a:t>
          </a:r>
        </a:p>
        <a:p>
          <a:r>
            <a:rPr lang="en-GB" sz="1100" b="1" dirty="0">
              <a:solidFill>
                <a:srgbClr val="53565A"/>
              </a:solidFill>
              <a:latin typeface="Calibri" panose="020F0502020204030204" pitchFamily="34" charset="0"/>
              <a:cs typeface="Calibri" panose="020F0502020204030204" pitchFamily="34" charset="0"/>
            </a:rPr>
            <a:t>Joseph Yaghlji</a:t>
          </a:r>
          <a:endParaRPr lang="en-IN" sz="1100" b="1" dirty="0">
            <a:solidFill>
              <a:srgbClr val="53565A"/>
            </a:solidFill>
            <a:latin typeface="Calibri" panose="020F0502020204030204" pitchFamily="34" charset="0"/>
            <a:cs typeface="Calibri" panose="020F0502020204030204" pitchFamily="34" charset="0"/>
          </a:endParaRPr>
        </a:p>
      </dgm:t>
    </dgm:pt>
    <dgm:pt modelId="{42068ED9-4741-4AB1-96B8-6E9D51D15FE1}" type="parTrans" cxnId="{04874C1D-19AA-4B1E-BAFF-446AD07D027F}">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6B3761C0-B4C8-4E59-B8FE-2E6E9D7BF26E}" type="sibTrans" cxnId="{04874C1D-19AA-4B1E-BAFF-446AD07D027F}">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31325388-E00B-4875-B633-F1B71655626F}">
      <dgm:prSet phldrT="[Text]" custT="1"/>
      <dgm:spPr/>
      <dgm:t>
        <a:bodyPr/>
        <a:lstStyle/>
        <a:p>
          <a:r>
            <a:rPr lang="en-IN" sz="1100" dirty="0" smtClean="0">
              <a:solidFill>
                <a:srgbClr val="53565A"/>
              </a:solidFill>
              <a:latin typeface="Calibri" panose="020F0502020204030204" pitchFamily="34" charset="0"/>
              <a:cs typeface="Calibri" panose="020F0502020204030204" pitchFamily="34" charset="0"/>
            </a:rPr>
            <a:t>Middleware/SI</a:t>
          </a:r>
          <a:endParaRPr lang="en-IN" sz="1100" dirty="0">
            <a:solidFill>
              <a:srgbClr val="53565A"/>
            </a:solidFill>
            <a:latin typeface="Calibri" panose="020F0502020204030204" pitchFamily="34" charset="0"/>
            <a:cs typeface="Calibri" panose="020F0502020204030204" pitchFamily="34" charset="0"/>
          </a:endParaRPr>
        </a:p>
        <a:p>
          <a:r>
            <a:rPr lang="en-GB" sz="1100" b="1" dirty="0">
              <a:solidFill>
                <a:srgbClr val="53565A"/>
              </a:solidFill>
              <a:latin typeface="Calibri" panose="020F0502020204030204" pitchFamily="34" charset="0"/>
              <a:cs typeface="Calibri" panose="020F0502020204030204" pitchFamily="34" charset="0"/>
            </a:rPr>
            <a:t>Baqer Alghatam</a:t>
          </a:r>
          <a:endParaRPr lang="en-IN" sz="1100" b="1" dirty="0">
            <a:solidFill>
              <a:srgbClr val="53565A"/>
            </a:solidFill>
            <a:latin typeface="Calibri" panose="020F0502020204030204" pitchFamily="34" charset="0"/>
            <a:cs typeface="Calibri" panose="020F0502020204030204" pitchFamily="34" charset="0"/>
          </a:endParaRPr>
        </a:p>
      </dgm:t>
    </dgm:pt>
    <dgm:pt modelId="{B9579DE8-44FA-48D5-B400-4A03C3BDD7DD}" type="parTrans" cxnId="{7C911349-3A3C-40B0-BC98-8E8FCF967B47}">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34D2462F-1F16-4F62-991E-67F7978C59A9}" type="sibTrans" cxnId="{7C911349-3A3C-40B0-BC98-8E8FCF967B47}">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EEF71C93-406A-4E53-B050-5D60A9340B66}">
      <dgm:prSet phldrT="[Text]" custT="1"/>
      <dgm:spPr/>
      <dgm:t>
        <a:bodyPr/>
        <a:lstStyle/>
        <a:p>
          <a:r>
            <a:rPr lang="en-IN" sz="1100" dirty="0">
              <a:solidFill>
                <a:srgbClr val="53565A"/>
              </a:solidFill>
              <a:latin typeface="Calibri" panose="020F0502020204030204" pitchFamily="34" charset="0"/>
              <a:cs typeface="Calibri" panose="020F0502020204030204" pitchFamily="34" charset="0"/>
            </a:rPr>
            <a:t>Test Lead</a:t>
          </a:r>
        </a:p>
        <a:p>
          <a:r>
            <a:rPr lang="en-IN" sz="1100" b="1" dirty="0">
              <a:solidFill>
                <a:srgbClr val="53565A"/>
              </a:solidFill>
              <a:latin typeface="Calibri" panose="020F0502020204030204" pitchFamily="34" charset="0"/>
              <a:cs typeface="Calibri" panose="020F0502020204030204" pitchFamily="34" charset="0"/>
            </a:rPr>
            <a:t>Guna</a:t>
          </a:r>
        </a:p>
      </dgm:t>
    </dgm:pt>
    <dgm:pt modelId="{807C1113-579C-4B11-92B5-2D5C40C5BDAF}" type="parTrans" cxnId="{D1BF2BD8-CF73-48EE-B3AC-6B61764EFEDF}">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028B32E2-3EB2-4B92-B872-844EF310F2DD}" type="sibTrans" cxnId="{D1BF2BD8-CF73-48EE-B3AC-6B61764EFEDF}">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6539C198-78FE-4DCF-A132-6909A0B1D760}">
      <dgm:prSet phldrT="[Text]" custT="1"/>
      <dgm:spPr/>
      <dgm:t>
        <a:bodyPr/>
        <a:lstStyle/>
        <a:p>
          <a:pPr>
            <a:lnSpc>
              <a:spcPct val="100000"/>
            </a:lnSpc>
          </a:pPr>
          <a:r>
            <a:rPr lang="en-IN" sz="1100" dirty="0">
              <a:solidFill>
                <a:srgbClr val="53565A"/>
              </a:solidFill>
              <a:latin typeface="Calibri" panose="020F0502020204030204" pitchFamily="34" charset="0"/>
              <a:cs typeface="Calibri" panose="020F0502020204030204" pitchFamily="34" charset="0"/>
            </a:rPr>
            <a:t>Test Engineer</a:t>
          </a:r>
        </a:p>
        <a:p>
          <a:pPr>
            <a:lnSpc>
              <a:spcPct val="100000"/>
            </a:lnSpc>
          </a:pPr>
          <a:r>
            <a:rPr lang="en-IN" sz="1100" b="1" dirty="0">
              <a:solidFill>
                <a:srgbClr val="53565A"/>
              </a:solidFill>
              <a:latin typeface="Calibri" panose="020F0502020204030204" pitchFamily="34" charset="0"/>
              <a:cs typeface="Calibri" panose="020F0502020204030204" pitchFamily="34" charset="0"/>
            </a:rPr>
            <a:t>Vimal</a:t>
          </a:r>
        </a:p>
      </dgm:t>
    </dgm:pt>
    <dgm:pt modelId="{3D40CEA2-F63B-4CA5-949E-5D0E79507707}" type="parTrans" cxnId="{7F13D0BC-4492-462A-BE52-F9D73E015956}">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AFB48B43-2191-44D8-9A86-AF995FCE0701}" type="sibTrans" cxnId="{7F13D0BC-4492-462A-BE52-F9D73E015956}">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38E2C53A-478A-43DC-A5C7-7D1E40773014}">
      <dgm:prSet phldrT="[Text]" custT="1"/>
      <dgm:spPr/>
      <dgm:t>
        <a:bodyPr/>
        <a:lstStyle/>
        <a:p>
          <a:r>
            <a:rPr lang="en-IN" sz="1100" dirty="0">
              <a:solidFill>
                <a:srgbClr val="53565A"/>
              </a:solidFill>
              <a:latin typeface="Calibri" panose="020F0502020204030204" pitchFamily="34" charset="0"/>
              <a:cs typeface="Calibri" panose="020F0502020204030204" pitchFamily="34" charset="0"/>
            </a:rPr>
            <a:t>Test Engineer 2</a:t>
          </a:r>
        </a:p>
      </dgm:t>
    </dgm:pt>
    <dgm:pt modelId="{FE3972AF-5CBD-4C16-91A6-EF2E084C9F15}" type="parTrans" cxnId="{6339FCA6-9CBD-45D2-9058-9135F9B7C8F8}">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7CD8254F-3E41-4230-B9B4-D8C032715136}" type="sibTrans" cxnId="{6339FCA6-9CBD-45D2-9058-9135F9B7C8F8}">
      <dgm:prSet/>
      <dgm:spPr/>
      <dgm:t>
        <a:bodyPr/>
        <a:lstStyle/>
        <a:p>
          <a:endParaRPr lang="en-IN" sz="1100">
            <a:solidFill>
              <a:srgbClr val="53565A"/>
            </a:solidFill>
            <a:latin typeface="Calibri" panose="020F0502020204030204" pitchFamily="34" charset="0"/>
            <a:cs typeface="Calibri" panose="020F0502020204030204" pitchFamily="34" charset="0"/>
          </a:endParaRPr>
        </a:p>
      </dgm:t>
    </dgm:pt>
    <dgm:pt modelId="{B780B423-A2CC-4EDD-B117-72F88BD2FC43}">
      <dgm:prSet phldrT="[Text]" custT="1"/>
      <dgm:spPr/>
      <dgm:t>
        <a:bodyPr/>
        <a:lstStyle/>
        <a:p>
          <a:r>
            <a:rPr lang="en-IN" sz="1100" dirty="0">
              <a:solidFill>
                <a:srgbClr val="53565A"/>
              </a:solidFill>
              <a:latin typeface="Calibri" panose="020F0502020204030204" pitchFamily="34" charset="0"/>
              <a:cs typeface="Calibri" panose="020F0502020204030204" pitchFamily="34" charset="0"/>
            </a:rPr>
            <a:t>Functional Team</a:t>
          </a:r>
        </a:p>
        <a:p>
          <a:r>
            <a:rPr lang="en-GB" sz="1100" b="1" dirty="0">
              <a:solidFill>
                <a:srgbClr val="53565A"/>
              </a:solidFill>
              <a:latin typeface="Calibri" panose="020F0502020204030204" pitchFamily="34" charset="0"/>
              <a:cs typeface="Calibri" panose="020F0502020204030204" pitchFamily="34" charset="0"/>
            </a:rPr>
            <a:t>Arunkarthick Thangaraj</a:t>
          </a:r>
          <a:endParaRPr lang="en-IN" sz="1100" b="1" dirty="0">
            <a:solidFill>
              <a:srgbClr val="53565A"/>
            </a:solidFill>
            <a:latin typeface="Calibri" panose="020F0502020204030204" pitchFamily="34" charset="0"/>
            <a:cs typeface="Calibri" panose="020F0502020204030204" pitchFamily="34" charset="0"/>
          </a:endParaRPr>
        </a:p>
      </dgm:t>
    </dgm:pt>
    <dgm:pt modelId="{F63A3B67-B6B8-4C83-984F-D69A22DE971C}" type="parTrans" cxnId="{C9765F69-078C-4661-B414-A43230DA3462}">
      <dgm:prSet/>
      <dgm:spPr/>
      <dgm:t>
        <a:bodyPr/>
        <a:lstStyle/>
        <a:p>
          <a:endParaRPr lang="en-GB" sz="1100"/>
        </a:p>
      </dgm:t>
    </dgm:pt>
    <dgm:pt modelId="{B96C8912-C8A3-4E36-BF51-F85F2544EDC1}" type="sibTrans" cxnId="{C9765F69-078C-4661-B414-A43230DA3462}">
      <dgm:prSet/>
      <dgm:spPr/>
      <dgm:t>
        <a:bodyPr/>
        <a:lstStyle/>
        <a:p>
          <a:endParaRPr lang="en-GB" sz="1100"/>
        </a:p>
      </dgm:t>
    </dgm:pt>
    <dgm:pt modelId="{041DAD1B-92D5-403C-A82F-BE1A236BEED0}">
      <dgm:prSet phldrT="[Text]" custT="1"/>
      <dgm:spPr/>
      <dgm:t>
        <a:bodyPr/>
        <a:lstStyle/>
        <a:p>
          <a:r>
            <a:rPr lang="en-IN" sz="1100" dirty="0">
              <a:solidFill>
                <a:srgbClr val="53565A"/>
              </a:solidFill>
              <a:latin typeface="Calibri" panose="020F0502020204030204" pitchFamily="34" charset="0"/>
              <a:cs typeface="Calibri" panose="020F0502020204030204" pitchFamily="34" charset="0"/>
            </a:rPr>
            <a:t>Performance Team</a:t>
          </a:r>
        </a:p>
      </dgm:t>
    </dgm:pt>
    <dgm:pt modelId="{73642359-A539-48D7-92B9-197BA227203D}" type="parTrans" cxnId="{E90B9614-5601-4AF3-A3C8-BC17A31AD357}">
      <dgm:prSet/>
      <dgm:spPr/>
      <dgm:t>
        <a:bodyPr/>
        <a:lstStyle/>
        <a:p>
          <a:endParaRPr lang="en-GB" sz="1100"/>
        </a:p>
      </dgm:t>
    </dgm:pt>
    <dgm:pt modelId="{78AC23B7-D113-447C-8D4C-25DC07DD31CD}" type="sibTrans" cxnId="{E90B9614-5601-4AF3-A3C8-BC17A31AD357}">
      <dgm:prSet/>
      <dgm:spPr/>
      <dgm:t>
        <a:bodyPr/>
        <a:lstStyle/>
        <a:p>
          <a:endParaRPr lang="en-GB" sz="1100"/>
        </a:p>
      </dgm:t>
    </dgm:pt>
    <dgm:pt modelId="{7EAA8428-851B-4083-87FE-ACFA21BEF914}">
      <dgm:prSet phldrT="[Text]" custT="1"/>
      <dgm:spPr/>
      <dgm:t>
        <a:bodyPr/>
        <a:lstStyle/>
        <a:p>
          <a:r>
            <a:rPr lang="en-IN" sz="1100" b="0" dirty="0">
              <a:solidFill>
                <a:srgbClr val="53565A"/>
              </a:solidFill>
              <a:latin typeface="Calibri" panose="020F0502020204030204" pitchFamily="34" charset="0"/>
              <a:cs typeface="Calibri" panose="020F0502020204030204" pitchFamily="34" charset="0"/>
            </a:rPr>
            <a:t>Data centre</a:t>
          </a:r>
        </a:p>
      </dgm:t>
    </dgm:pt>
    <dgm:pt modelId="{5E2F6A3E-769B-4B59-B812-D5F982AF36DA}" type="parTrans" cxnId="{96EABE26-EE8E-4090-AD9F-07ED494CCB15}">
      <dgm:prSet/>
      <dgm:spPr/>
      <dgm:t>
        <a:bodyPr/>
        <a:lstStyle/>
        <a:p>
          <a:endParaRPr lang="en-GB"/>
        </a:p>
      </dgm:t>
    </dgm:pt>
    <dgm:pt modelId="{53AAF7E4-EDBC-44DC-B707-B76E8290DC77}" type="sibTrans" cxnId="{96EABE26-EE8E-4090-AD9F-07ED494CCB15}">
      <dgm:prSet/>
      <dgm:spPr/>
      <dgm:t>
        <a:bodyPr/>
        <a:lstStyle/>
        <a:p>
          <a:endParaRPr lang="en-GB"/>
        </a:p>
      </dgm:t>
    </dgm:pt>
    <dgm:pt modelId="{A255BD11-3BAD-4979-B0F5-CB02EF042F70}" type="pres">
      <dgm:prSet presAssocID="{26572AF1-1EED-464D-9E4E-F306F91D56A0}" presName="mainComposite" presStyleCnt="0">
        <dgm:presLayoutVars>
          <dgm:chPref val="1"/>
          <dgm:dir/>
          <dgm:animOne val="branch"/>
          <dgm:animLvl val="lvl"/>
          <dgm:resizeHandles val="exact"/>
        </dgm:presLayoutVars>
      </dgm:prSet>
      <dgm:spPr/>
      <dgm:t>
        <a:bodyPr/>
        <a:lstStyle/>
        <a:p>
          <a:endParaRPr lang="en-IN"/>
        </a:p>
      </dgm:t>
    </dgm:pt>
    <dgm:pt modelId="{ED4EC14D-595B-4611-96FD-CF30FFE51551}" type="pres">
      <dgm:prSet presAssocID="{26572AF1-1EED-464D-9E4E-F306F91D56A0}" presName="hierFlow" presStyleCnt="0"/>
      <dgm:spPr/>
    </dgm:pt>
    <dgm:pt modelId="{F2AD0681-0DB7-4429-B1C8-C8DA1BF34D4E}" type="pres">
      <dgm:prSet presAssocID="{26572AF1-1EED-464D-9E4E-F306F91D56A0}" presName="hierChild1" presStyleCnt="0">
        <dgm:presLayoutVars>
          <dgm:chPref val="1"/>
          <dgm:animOne val="branch"/>
          <dgm:animLvl val="lvl"/>
        </dgm:presLayoutVars>
      </dgm:prSet>
      <dgm:spPr/>
    </dgm:pt>
    <dgm:pt modelId="{0C837B0E-0FAE-4F79-864E-0CA9A4A6ABCA}" type="pres">
      <dgm:prSet presAssocID="{64599128-8393-4BE9-8CB5-1642BD62BA17}" presName="Name14" presStyleCnt="0"/>
      <dgm:spPr/>
    </dgm:pt>
    <dgm:pt modelId="{27E4B229-1639-4BFE-84AA-67BE9AFC7C4E}" type="pres">
      <dgm:prSet presAssocID="{64599128-8393-4BE9-8CB5-1642BD62BA17}" presName="level1Shape" presStyleLbl="node0" presStyleIdx="0" presStyleCnt="1" custScaleX="134360" custLinFactNeighborX="-34263" custLinFactNeighborY="1904">
        <dgm:presLayoutVars>
          <dgm:chPref val="3"/>
        </dgm:presLayoutVars>
      </dgm:prSet>
      <dgm:spPr/>
      <dgm:t>
        <a:bodyPr/>
        <a:lstStyle/>
        <a:p>
          <a:endParaRPr lang="en-IN"/>
        </a:p>
      </dgm:t>
    </dgm:pt>
    <dgm:pt modelId="{41E37F6F-27E8-40AD-B231-3B4B43093466}" type="pres">
      <dgm:prSet presAssocID="{64599128-8393-4BE9-8CB5-1642BD62BA17}" presName="hierChild2" presStyleCnt="0"/>
      <dgm:spPr/>
    </dgm:pt>
    <dgm:pt modelId="{33E9F3E4-7366-4E1A-AD27-3876C2913D0D}" type="pres">
      <dgm:prSet presAssocID="{987B4708-1263-4BDB-AC4C-86A64FA95E9B}" presName="Name19" presStyleLbl="parChTrans1D2" presStyleIdx="0" presStyleCnt="1" custScaleX="2000000"/>
      <dgm:spPr/>
      <dgm:t>
        <a:bodyPr/>
        <a:lstStyle/>
        <a:p>
          <a:endParaRPr lang="en-IN"/>
        </a:p>
      </dgm:t>
    </dgm:pt>
    <dgm:pt modelId="{37E02824-794A-4253-92E0-C8584E891A24}" type="pres">
      <dgm:prSet presAssocID="{E8B1704A-1249-4EE3-82F2-E0E2EAE04C21}" presName="Name21" presStyleCnt="0"/>
      <dgm:spPr/>
    </dgm:pt>
    <dgm:pt modelId="{21F999DD-FEE6-4695-8381-6435B130E73A}" type="pres">
      <dgm:prSet presAssocID="{E8B1704A-1249-4EE3-82F2-E0E2EAE04C21}" presName="level2Shape" presStyleLbl="node2" presStyleIdx="0" presStyleCnt="1" custScaleX="126216" custLinFactNeighborX="-34263" custLinFactNeighborY="1904"/>
      <dgm:spPr/>
      <dgm:t>
        <a:bodyPr/>
        <a:lstStyle/>
        <a:p>
          <a:endParaRPr lang="en-IN"/>
        </a:p>
      </dgm:t>
    </dgm:pt>
    <dgm:pt modelId="{8768B1B9-005B-472B-AE47-B1C41D63C463}" type="pres">
      <dgm:prSet presAssocID="{E8B1704A-1249-4EE3-82F2-E0E2EAE04C21}" presName="hierChild3" presStyleCnt="0"/>
      <dgm:spPr/>
    </dgm:pt>
    <dgm:pt modelId="{B43E5FD5-7333-45D0-AA0D-9177C2F397AC}" type="pres">
      <dgm:prSet presAssocID="{F5EA0BE1-2C0B-4D07-AA34-8767BBBC4464}" presName="Name19" presStyleLbl="parChTrans1D3" presStyleIdx="0" presStyleCnt="2" custScaleX="2000000"/>
      <dgm:spPr/>
      <dgm:t>
        <a:bodyPr/>
        <a:lstStyle/>
        <a:p>
          <a:endParaRPr lang="en-IN"/>
        </a:p>
      </dgm:t>
    </dgm:pt>
    <dgm:pt modelId="{707D652A-3EEA-4609-98FF-708A977BB201}" type="pres">
      <dgm:prSet presAssocID="{C6A6F49D-8679-4C1F-B999-FEF30440E86B}" presName="Name21" presStyleCnt="0"/>
      <dgm:spPr/>
    </dgm:pt>
    <dgm:pt modelId="{BDD2A74F-4459-4AE6-AED1-90EA5ABFBF30}" type="pres">
      <dgm:prSet presAssocID="{C6A6F49D-8679-4C1F-B999-FEF30440E86B}" presName="level2Shape" presStyleLbl="node3" presStyleIdx="0" presStyleCnt="2" custScaleX="134360"/>
      <dgm:spPr/>
      <dgm:t>
        <a:bodyPr/>
        <a:lstStyle/>
        <a:p>
          <a:endParaRPr lang="en-IN"/>
        </a:p>
      </dgm:t>
    </dgm:pt>
    <dgm:pt modelId="{C53F8965-4844-4179-95D5-391FA70933FF}" type="pres">
      <dgm:prSet presAssocID="{C6A6F49D-8679-4C1F-B999-FEF30440E86B}" presName="hierChild3" presStyleCnt="0"/>
      <dgm:spPr/>
    </dgm:pt>
    <dgm:pt modelId="{2171EE08-51DA-4AC9-A1E2-6C2A815BAAB7}" type="pres">
      <dgm:prSet presAssocID="{F014AFC6-591F-4FDE-AFBA-6DB51E7C2328}" presName="Name19" presStyleLbl="parChTrans1D4" presStyleIdx="0" presStyleCnt="13" custScaleX="2000000"/>
      <dgm:spPr/>
      <dgm:t>
        <a:bodyPr/>
        <a:lstStyle/>
        <a:p>
          <a:endParaRPr lang="en-IN"/>
        </a:p>
      </dgm:t>
    </dgm:pt>
    <dgm:pt modelId="{72414AA7-C3CD-4C09-A83C-84825118CB5A}" type="pres">
      <dgm:prSet presAssocID="{1646472B-674F-4A7B-907A-A2DE3AEF8B83}" presName="Name21" presStyleCnt="0"/>
      <dgm:spPr/>
    </dgm:pt>
    <dgm:pt modelId="{811B0767-EA1C-42F3-9D53-F9A15782A339}" type="pres">
      <dgm:prSet presAssocID="{1646472B-674F-4A7B-907A-A2DE3AEF8B83}" presName="level2Shape" presStyleLbl="node4" presStyleIdx="0" presStyleCnt="13" custScaleX="134360"/>
      <dgm:spPr/>
      <dgm:t>
        <a:bodyPr/>
        <a:lstStyle/>
        <a:p>
          <a:endParaRPr lang="en-IN"/>
        </a:p>
      </dgm:t>
    </dgm:pt>
    <dgm:pt modelId="{27C09EF8-A04A-4BA7-B09C-6F8E3A57ADDA}" type="pres">
      <dgm:prSet presAssocID="{1646472B-674F-4A7B-907A-A2DE3AEF8B83}" presName="hierChild3" presStyleCnt="0"/>
      <dgm:spPr/>
    </dgm:pt>
    <dgm:pt modelId="{6B35C08D-4F3F-48D0-A7F3-F1688FBF4C5D}" type="pres">
      <dgm:prSet presAssocID="{EAEDCA2F-40AB-46F0-BB4A-01F65EA906B1}" presName="Name19" presStyleLbl="parChTrans1D4" presStyleIdx="1" presStyleCnt="13" custScaleX="2000000"/>
      <dgm:spPr/>
      <dgm:t>
        <a:bodyPr/>
        <a:lstStyle/>
        <a:p>
          <a:endParaRPr lang="en-IN"/>
        </a:p>
      </dgm:t>
    </dgm:pt>
    <dgm:pt modelId="{7E476CA5-4AB8-4B52-BAB0-B994F22A441F}" type="pres">
      <dgm:prSet presAssocID="{2F141544-2AE3-46FC-94DC-CFB40EC4D2E2}" presName="Name21" presStyleCnt="0"/>
      <dgm:spPr/>
    </dgm:pt>
    <dgm:pt modelId="{955C4028-FE07-40C8-9205-44161389ED16}" type="pres">
      <dgm:prSet presAssocID="{2F141544-2AE3-46FC-94DC-CFB40EC4D2E2}" presName="level2Shape" presStyleLbl="node4" presStyleIdx="1" presStyleCnt="13" custScaleX="145711"/>
      <dgm:spPr/>
      <dgm:t>
        <a:bodyPr/>
        <a:lstStyle/>
        <a:p>
          <a:endParaRPr lang="en-IN"/>
        </a:p>
      </dgm:t>
    </dgm:pt>
    <dgm:pt modelId="{73FB7F0F-FEA6-426A-8A5D-0085591EFF14}" type="pres">
      <dgm:prSet presAssocID="{2F141544-2AE3-46FC-94DC-CFB40EC4D2E2}" presName="hierChild3" presStyleCnt="0"/>
      <dgm:spPr/>
    </dgm:pt>
    <dgm:pt modelId="{618CB15D-6475-46EB-A73E-88FE4EA60CA9}" type="pres">
      <dgm:prSet presAssocID="{A72CEAD8-4713-4C5A-BCCC-7AB83735755A}" presName="Name19" presStyleLbl="parChTrans1D4" presStyleIdx="2" presStyleCnt="13" custScaleX="2000000"/>
      <dgm:spPr/>
      <dgm:t>
        <a:bodyPr/>
        <a:lstStyle/>
        <a:p>
          <a:endParaRPr lang="en-IN"/>
        </a:p>
      </dgm:t>
    </dgm:pt>
    <dgm:pt modelId="{796B5A1E-6ED2-46B7-B222-CEEECA1EBE9A}" type="pres">
      <dgm:prSet presAssocID="{F1AB51B3-8BE8-4204-99DD-C2D3130F5C28}" presName="Name21" presStyleCnt="0"/>
      <dgm:spPr/>
    </dgm:pt>
    <dgm:pt modelId="{4F196F65-DC04-4093-A116-A3A9F7ED789D}" type="pres">
      <dgm:prSet presAssocID="{F1AB51B3-8BE8-4204-99DD-C2D3130F5C28}" presName="level2Shape" presStyleLbl="node4" presStyleIdx="2" presStyleCnt="13" custScaleX="134360"/>
      <dgm:spPr/>
      <dgm:t>
        <a:bodyPr/>
        <a:lstStyle/>
        <a:p>
          <a:endParaRPr lang="en-IN"/>
        </a:p>
      </dgm:t>
    </dgm:pt>
    <dgm:pt modelId="{CB49E9AA-5047-4517-9B2D-B9BB7088F2F6}" type="pres">
      <dgm:prSet presAssocID="{F1AB51B3-8BE8-4204-99DD-C2D3130F5C28}" presName="hierChild3" presStyleCnt="0"/>
      <dgm:spPr/>
    </dgm:pt>
    <dgm:pt modelId="{47BDEF41-449D-4E6B-A727-863F7325B755}" type="pres">
      <dgm:prSet presAssocID="{CA6851A1-9408-408B-ADB6-52AF13E430FF}" presName="Name19" presStyleLbl="parChTrans1D4" presStyleIdx="3" presStyleCnt="13" custScaleX="2000000"/>
      <dgm:spPr/>
      <dgm:t>
        <a:bodyPr/>
        <a:lstStyle/>
        <a:p>
          <a:endParaRPr lang="en-IN"/>
        </a:p>
      </dgm:t>
    </dgm:pt>
    <dgm:pt modelId="{FF62B0EE-C12D-459B-9A9F-6BD84D7B59CC}" type="pres">
      <dgm:prSet presAssocID="{B1FDE70B-4F20-45B3-BF79-C50F5887A269}" presName="Name21" presStyleCnt="0"/>
      <dgm:spPr/>
    </dgm:pt>
    <dgm:pt modelId="{B11BDAC6-DCE6-4444-95F5-6B1B472F1D55}" type="pres">
      <dgm:prSet presAssocID="{B1FDE70B-4F20-45B3-BF79-C50F5887A269}" presName="level2Shape" presStyleLbl="node4" presStyleIdx="3" presStyleCnt="13" custScaleX="134360"/>
      <dgm:spPr/>
      <dgm:t>
        <a:bodyPr/>
        <a:lstStyle/>
        <a:p>
          <a:endParaRPr lang="en-IN"/>
        </a:p>
      </dgm:t>
    </dgm:pt>
    <dgm:pt modelId="{C9AA6F0C-91B6-4CC4-940A-8CB09AFE3E8D}" type="pres">
      <dgm:prSet presAssocID="{B1FDE70B-4F20-45B3-BF79-C50F5887A269}" presName="hierChild3" presStyleCnt="0"/>
      <dgm:spPr/>
    </dgm:pt>
    <dgm:pt modelId="{A0B3461A-0BC1-4D52-8469-69413E095213}" type="pres">
      <dgm:prSet presAssocID="{8E830CE8-B2EE-4EA0-A99A-EF7CF7D00603}" presName="Name19" presStyleLbl="parChTrans1D4" presStyleIdx="4" presStyleCnt="13" custScaleX="2000000"/>
      <dgm:spPr/>
      <dgm:t>
        <a:bodyPr/>
        <a:lstStyle/>
        <a:p>
          <a:endParaRPr lang="en-IN"/>
        </a:p>
      </dgm:t>
    </dgm:pt>
    <dgm:pt modelId="{56A56952-AF33-46CB-AE9D-2A856382FE33}" type="pres">
      <dgm:prSet presAssocID="{ABB7818D-66B5-464E-A908-BD26A774498A}" presName="Name21" presStyleCnt="0"/>
      <dgm:spPr/>
    </dgm:pt>
    <dgm:pt modelId="{CE174E4C-ED13-4EED-8866-3DC9D172AD35}" type="pres">
      <dgm:prSet presAssocID="{ABB7818D-66B5-464E-A908-BD26A774498A}" presName="level2Shape" presStyleLbl="node4" presStyleIdx="4" presStyleCnt="13" custScaleX="134360"/>
      <dgm:spPr/>
      <dgm:t>
        <a:bodyPr/>
        <a:lstStyle/>
        <a:p>
          <a:endParaRPr lang="en-IN"/>
        </a:p>
      </dgm:t>
    </dgm:pt>
    <dgm:pt modelId="{14ABFA38-AA1D-4E00-94C9-E327B859461B}" type="pres">
      <dgm:prSet presAssocID="{ABB7818D-66B5-464E-A908-BD26A774498A}" presName="hierChild3" presStyleCnt="0"/>
      <dgm:spPr/>
    </dgm:pt>
    <dgm:pt modelId="{FFCCF94A-CF14-4A37-BB78-132A45EC79C0}" type="pres">
      <dgm:prSet presAssocID="{42068ED9-4741-4AB1-96B8-6E9D51D15FE1}" presName="Name19" presStyleLbl="parChTrans1D4" presStyleIdx="5" presStyleCnt="13" custScaleX="2000000"/>
      <dgm:spPr/>
      <dgm:t>
        <a:bodyPr/>
        <a:lstStyle/>
        <a:p>
          <a:endParaRPr lang="en-IN"/>
        </a:p>
      </dgm:t>
    </dgm:pt>
    <dgm:pt modelId="{704444C4-77EE-45E9-B342-FF627A002ACE}" type="pres">
      <dgm:prSet presAssocID="{CC592D04-558E-449E-B664-79F7120DE1EC}" presName="Name21" presStyleCnt="0"/>
      <dgm:spPr/>
    </dgm:pt>
    <dgm:pt modelId="{E37CB9B7-7850-4F5C-A5FD-891E40C135D4}" type="pres">
      <dgm:prSet presAssocID="{CC592D04-558E-449E-B664-79F7120DE1EC}" presName="level2Shape" presStyleLbl="node4" presStyleIdx="5" presStyleCnt="13" custScaleX="134360"/>
      <dgm:spPr/>
      <dgm:t>
        <a:bodyPr/>
        <a:lstStyle/>
        <a:p>
          <a:endParaRPr lang="en-IN"/>
        </a:p>
      </dgm:t>
    </dgm:pt>
    <dgm:pt modelId="{140BA321-6AF2-4A23-836A-55D77C6BEEEA}" type="pres">
      <dgm:prSet presAssocID="{CC592D04-558E-449E-B664-79F7120DE1EC}" presName="hierChild3" presStyleCnt="0"/>
      <dgm:spPr/>
    </dgm:pt>
    <dgm:pt modelId="{84186163-D9B5-4EAF-8ADB-531B3F37C870}" type="pres">
      <dgm:prSet presAssocID="{B9579DE8-44FA-48D5-B400-4A03C3BDD7DD}" presName="Name19" presStyleLbl="parChTrans1D4" presStyleIdx="6" presStyleCnt="13" custScaleX="2000000"/>
      <dgm:spPr/>
      <dgm:t>
        <a:bodyPr/>
        <a:lstStyle/>
        <a:p>
          <a:endParaRPr lang="en-IN"/>
        </a:p>
      </dgm:t>
    </dgm:pt>
    <dgm:pt modelId="{D53A1CAB-59A0-4E8A-BECE-37E2FC2F9D33}" type="pres">
      <dgm:prSet presAssocID="{31325388-E00B-4875-B633-F1B71655626F}" presName="Name21" presStyleCnt="0"/>
      <dgm:spPr/>
    </dgm:pt>
    <dgm:pt modelId="{263E1982-2553-4819-B49A-414D74E97BEF}" type="pres">
      <dgm:prSet presAssocID="{31325388-E00B-4875-B633-F1B71655626F}" presName="level2Shape" presStyleLbl="node4" presStyleIdx="6" presStyleCnt="13" custScaleX="134360"/>
      <dgm:spPr/>
      <dgm:t>
        <a:bodyPr/>
        <a:lstStyle/>
        <a:p>
          <a:endParaRPr lang="en-IN"/>
        </a:p>
      </dgm:t>
    </dgm:pt>
    <dgm:pt modelId="{78893A7D-F77C-4832-91F6-24DCFCE5D7C4}" type="pres">
      <dgm:prSet presAssocID="{31325388-E00B-4875-B633-F1B71655626F}" presName="hierChild3" presStyleCnt="0"/>
      <dgm:spPr/>
    </dgm:pt>
    <dgm:pt modelId="{4707C6F9-F816-417A-8635-93E1ACBD548E}" type="pres">
      <dgm:prSet presAssocID="{5E2F6A3E-769B-4B59-B812-D5F982AF36DA}" presName="Name19" presStyleLbl="parChTrans1D4" presStyleIdx="7" presStyleCnt="13"/>
      <dgm:spPr/>
      <dgm:t>
        <a:bodyPr/>
        <a:lstStyle/>
        <a:p>
          <a:endParaRPr lang="en-IN"/>
        </a:p>
      </dgm:t>
    </dgm:pt>
    <dgm:pt modelId="{D499B6AD-50FF-4102-BA1A-06EBD1831080}" type="pres">
      <dgm:prSet presAssocID="{7EAA8428-851B-4083-87FE-ACFA21BEF914}" presName="Name21" presStyleCnt="0"/>
      <dgm:spPr/>
    </dgm:pt>
    <dgm:pt modelId="{1F0BBC70-21D0-4426-960E-0B61079946CA}" type="pres">
      <dgm:prSet presAssocID="{7EAA8428-851B-4083-87FE-ACFA21BEF914}" presName="level2Shape" presStyleLbl="node4" presStyleIdx="7" presStyleCnt="13" custScaleX="113170"/>
      <dgm:spPr/>
      <dgm:t>
        <a:bodyPr/>
        <a:lstStyle/>
        <a:p>
          <a:endParaRPr lang="en-IN"/>
        </a:p>
      </dgm:t>
    </dgm:pt>
    <dgm:pt modelId="{5D503349-572C-42E5-9A55-4DF41A3B0081}" type="pres">
      <dgm:prSet presAssocID="{7EAA8428-851B-4083-87FE-ACFA21BEF914}" presName="hierChild3" presStyleCnt="0"/>
      <dgm:spPr/>
    </dgm:pt>
    <dgm:pt modelId="{8DAF1B77-8F11-4098-A8D1-905CAE8B99D4}" type="pres">
      <dgm:prSet presAssocID="{022FAB26-D57D-4F4B-8F67-2450C32C2BC0}" presName="Name19" presStyleLbl="parChTrans1D3" presStyleIdx="1" presStyleCnt="2" custScaleX="2000000"/>
      <dgm:spPr/>
      <dgm:t>
        <a:bodyPr/>
        <a:lstStyle/>
        <a:p>
          <a:endParaRPr lang="en-IN"/>
        </a:p>
      </dgm:t>
    </dgm:pt>
    <dgm:pt modelId="{87E8B611-51C2-4B67-B3C8-7255637637EE}" type="pres">
      <dgm:prSet presAssocID="{687EF747-3758-4134-81A5-5B56548F80E4}" presName="Name21" presStyleCnt="0"/>
      <dgm:spPr/>
    </dgm:pt>
    <dgm:pt modelId="{B6569392-8889-4A40-A3D6-8085611015CC}" type="pres">
      <dgm:prSet presAssocID="{687EF747-3758-4134-81A5-5B56548F80E4}" presName="level2Shape" presStyleLbl="node3" presStyleIdx="1" presStyleCnt="2" custScaleX="134360"/>
      <dgm:spPr/>
      <dgm:t>
        <a:bodyPr/>
        <a:lstStyle/>
        <a:p>
          <a:endParaRPr lang="en-IN"/>
        </a:p>
      </dgm:t>
    </dgm:pt>
    <dgm:pt modelId="{B3D845E0-0DBA-43FB-B014-2070A3E9C1FA}" type="pres">
      <dgm:prSet presAssocID="{687EF747-3758-4134-81A5-5B56548F80E4}" presName="hierChild3" presStyleCnt="0"/>
      <dgm:spPr/>
    </dgm:pt>
    <dgm:pt modelId="{68D460FC-BA81-4191-8D6F-8DC8B693E9D5}" type="pres">
      <dgm:prSet presAssocID="{F63A3B67-B6B8-4C83-984F-D69A22DE971C}" presName="Name19" presStyleLbl="parChTrans1D4" presStyleIdx="8" presStyleCnt="13" custScaleX="2000000"/>
      <dgm:spPr/>
      <dgm:t>
        <a:bodyPr/>
        <a:lstStyle/>
        <a:p>
          <a:endParaRPr lang="en-IN"/>
        </a:p>
      </dgm:t>
    </dgm:pt>
    <dgm:pt modelId="{0A52779E-D6BF-4AAE-B046-141002697642}" type="pres">
      <dgm:prSet presAssocID="{B780B423-A2CC-4EDD-B117-72F88BD2FC43}" presName="Name21" presStyleCnt="0"/>
      <dgm:spPr/>
    </dgm:pt>
    <dgm:pt modelId="{65C8EB6C-604A-4EF1-824F-663829CDD101}" type="pres">
      <dgm:prSet presAssocID="{B780B423-A2CC-4EDD-B117-72F88BD2FC43}" presName="level2Shape" presStyleLbl="node4" presStyleIdx="8" presStyleCnt="13" custScaleX="134360"/>
      <dgm:spPr/>
      <dgm:t>
        <a:bodyPr/>
        <a:lstStyle/>
        <a:p>
          <a:endParaRPr lang="en-IN"/>
        </a:p>
      </dgm:t>
    </dgm:pt>
    <dgm:pt modelId="{7B468205-C63B-4B0F-B466-DB452105E0E8}" type="pres">
      <dgm:prSet presAssocID="{B780B423-A2CC-4EDD-B117-72F88BD2FC43}" presName="hierChild3" presStyleCnt="0"/>
      <dgm:spPr/>
    </dgm:pt>
    <dgm:pt modelId="{E49E042D-D644-4A9E-B439-3DF062B39E1A}" type="pres">
      <dgm:prSet presAssocID="{73642359-A539-48D7-92B9-197BA227203D}" presName="Name19" presStyleLbl="parChTrans1D4" presStyleIdx="9" presStyleCnt="13" custScaleX="2000000"/>
      <dgm:spPr/>
      <dgm:t>
        <a:bodyPr/>
        <a:lstStyle/>
        <a:p>
          <a:endParaRPr lang="en-IN"/>
        </a:p>
      </dgm:t>
    </dgm:pt>
    <dgm:pt modelId="{95BF7AE7-0D2A-4297-AD4E-A153858671CC}" type="pres">
      <dgm:prSet presAssocID="{041DAD1B-92D5-403C-A82F-BE1A236BEED0}" presName="Name21" presStyleCnt="0"/>
      <dgm:spPr/>
    </dgm:pt>
    <dgm:pt modelId="{D71AE605-BD48-4D16-8317-74EC8CCE910B}" type="pres">
      <dgm:prSet presAssocID="{041DAD1B-92D5-403C-A82F-BE1A236BEED0}" presName="level2Shape" presStyleLbl="node4" presStyleIdx="9" presStyleCnt="13" custScaleX="163244"/>
      <dgm:spPr/>
      <dgm:t>
        <a:bodyPr/>
        <a:lstStyle/>
        <a:p>
          <a:endParaRPr lang="en-IN"/>
        </a:p>
      </dgm:t>
    </dgm:pt>
    <dgm:pt modelId="{474D5FC6-BF29-4E36-8332-0CB13DC44FDD}" type="pres">
      <dgm:prSet presAssocID="{041DAD1B-92D5-403C-A82F-BE1A236BEED0}" presName="hierChild3" presStyleCnt="0"/>
      <dgm:spPr/>
    </dgm:pt>
    <dgm:pt modelId="{876E9261-5B1F-48DE-99C1-C6DC0FE450AD}" type="pres">
      <dgm:prSet presAssocID="{807C1113-579C-4B11-92B5-2D5C40C5BDAF}" presName="Name19" presStyleLbl="parChTrans1D4" presStyleIdx="10" presStyleCnt="13" custScaleX="2000000"/>
      <dgm:spPr/>
      <dgm:t>
        <a:bodyPr/>
        <a:lstStyle/>
        <a:p>
          <a:endParaRPr lang="en-IN"/>
        </a:p>
      </dgm:t>
    </dgm:pt>
    <dgm:pt modelId="{88D15BA0-5E29-4F98-94D2-55CAD561D38B}" type="pres">
      <dgm:prSet presAssocID="{EEF71C93-406A-4E53-B050-5D60A9340B66}" presName="Name21" presStyleCnt="0"/>
      <dgm:spPr/>
    </dgm:pt>
    <dgm:pt modelId="{07012CE2-71F5-47BF-AA54-8AC9875EB3E5}" type="pres">
      <dgm:prSet presAssocID="{EEF71C93-406A-4E53-B050-5D60A9340B66}" presName="level2Shape" presStyleLbl="node4" presStyleIdx="10" presStyleCnt="13" custScaleX="134360"/>
      <dgm:spPr/>
      <dgm:t>
        <a:bodyPr/>
        <a:lstStyle/>
        <a:p>
          <a:endParaRPr lang="en-IN"/>
        </a:p>
      </dgm:t>
    </dgm:pt>
    <dgm:pt modelId="{1EFEF793-01D0-4965-BB14-8CF9CF812F14}" type="pres">
      <dgm:prSet presAssocID="{EEF71C93-406A-4E53-B050-5D60A9340B66}" presName="hierChild3" presStyleCnt="0"/>
      <dgm:spPr/>
    </dgm:pt>
    <dgm:pt modelId="{235776E1-E7A4-4107-982D-8529E01518D3}" type="pres">
      <dgm:prSet presAssocID="{3D40CEA2-F63B-4CA5-949E-5D0E79507707}" presName="Name19" presStyleLbl="parChTrans1D4" presStyleIdx="11" presStyleCnt="13" custScaleX="2000000"/>
      <dgm:spPr/>
      <dgm:t>
        <a:bodyPr/>
        <a:lstStyle/>
        <a:p>
          <a:endParaRPr lang="en-IN"/>
        </a:p>
      </dgm:t>
    </dgm:pt>
    <dgm:pt modelId="{C52620E7-AD2E-4E9D-B022-1C73C92931F9}" type="pres">
      <dgm:prSet presAssocID="{6539C198-78FE-4DCF-A132-6909A0B1D760}" presName="Name21" presStyleCnt="0"/>
      <dgm:spPr/>
    </dgm:pt>
    <dgm:pt modelId="{6FA56598-C0EF-4C37-9EFB-837278D31531}" type="pres">
      <dgm:prSet presAssocID="{6539C198-78FE-4DCF-A132-6909A0B1D760}" presName="level2Shape" presStyleLbl="node4" presStyleIdx="11" presStyleCnt="13" custScaleX="134360"/>
      <dgm:spPr/>
      <dgm:t>
        <a:bodyPr/>
        <a:lstStyle/>
        <a:p>
          <a:endParaRPr lang="en-IN"/>
        </a:p>
      </dgm:t>
    </dgm:pt>
    <dgm:pt modelId="{81626EDD-EF2E-48EB-86BB-10284FA425EA}" type="pres">
      <dgm:prSet presAssocID="{6539C198-78FE-4DCF-A132-6909A0B1D760}" presName="hierChild3" presStyleCnt="0"/>
      <dgm:spPr/>
    </dgm:pt>
    <dgm:pt modelId="{20D96A82-9190-49F3-8BD0-4E56209896C0}" type="pres">
      <dgm:prSet presAssocID="{FE3972AF-5CBD-4C16-91A6-EF2E084C9F15}" presName="Name19" presStyleLbl="parChTrans1D4" presStyleIdx="12" presStyleCnt="13" custScaleX="2000000"/>
      <dgm:spPr/>
      <dgm:t>
        <a:bodyPr/>
        <a:lstStyle/>
        <a:p>
          <a:endParaRPr lang="en-IN"/>
        </a:p>
      </dgm:t>
    </dgm:pt>
    <dgm:pt modelId="{B317808C-26AA-485A-8E3B-D4BFE46110F5}" type="pres">
      <dgm:prSet presAssocID="{38E2C53A-478A-43DC-A5C7-7D1E40773014}" presName="Name21" presStyleCnt="0"/>
      <dgm:spPr/>
    </dgm:pt>
    <dgm:pt modelId="{23FEAC29-ABEA-4C3F-B983-3175A7C6A644}" type="pres">
      <dgm:prSet presAssocID="{38E2C53A-478A-43DC-A5C7-7D1E40773014}" presName="level2Shape" presStyleLbl="node4" presStyleIdx="12" presStyleCnt="13" custScaleX="134360"/>
      <dgm:spPr/>
      <dgm:t>
        <a:bodyPr/>
        <a:lstStyle/>
        <a:p>
          <a:endParaRPr lang="en-IN"/>
        </a:p>
      </dgm:t>
    </dgm:pt>
    <dgm:pt modelId="{29A6D0A1-4EA3-488F-A294-33C4301FB9B7}" type="pres">
      <dgm:prSet presAssocID="{38E2C53A-478A-43DC-A5C7-7D1E40773014}" presName="hierChild3" presStyleCnt="0"/>
      <dgm:spPr/>
    </dgm:pt>
    <dgm:pt modelId="{ECC1434A-79C5-4CA7-B7F3-2A0AEB40077D}" type="pres">
      <dgm:prSet presAssocID="{26572AF1-1EED-464D-9E4E-F306F91D56A0}" presName="bgShapesFlow" presStyleCnt="0"/>
      <dgm:spPr/>
    </dgm:pt>
  </dgm:ptLst>
  <dgm:cxnLst>
    <dgm:cxn modelId="{4EF0AF41-7783-4938-BA02-651F98DCE9FD}" srcId="{C6A6F49D-8679-4C1F-B999-FEF30440E86B}" destId="{1646472B-674F-4A7B-907A-A2DE3AEF8B83}" srcOrd="0" destOrd="0" parTransId="{F014AFC6-591F-4FDE-AFBA-6DB51E7C2328}" sibTransId="{C59F38A6-7F56-4512-8EDD-BCAC924CBDFF}"/>
    <dgm:cxn modelId="{D1BF2BD8-CF73-48EE-B3AC-6B61764EFEDF}" srcId="{041DAD1B-92D5-403C-A82F-BE1A236BEED0}" destId="{EEF71C93-406A-4E53-B050-5D60A9340B66}" srcOrd="0" destOrd="0" parTransId="{807C1113-579C-4B11-92B5-2D5C40C5BDAF}" sibTransId="{028B32E2-3EB2-4B92-B872-844EF310F2DD}"/>
    <dgm:cxn modelId="{3D23E708-0439-4C73-B958-04E1A88E12A1}" type="presOf" srcId="{38E2C53A-478A-43DC-A5C7-7D1E40773014}" destId="{23FEAC29-ABEA-4C3F-B983-3175A7C6A644}" srcOrd="0" destOrd="0" presId="urn:microsoft.com/office/officeart/2005/8/layout/hierarchy6"/>
    <dgm:cxn modelId="{6BB1416E-F204-4AC5-AE49-BCDBD9F62B48}" srcId="{F1AB51B3-8BE8-4204-99DD-C2D3130F5C28}" destId="{B1FDE70B-4F20-45B3-BF79-C50F5887A269}" srcOrd="0" destOrd="0" parTransId="{CA6851A1-9408-408B-ADB6-52AF13E430FF}" sibTransId="{7839083C-C629-4D08-8B09-420B3B9D815B}"/>
    <dgm:cxn modelId="{6339FCA6-9CBD-45D2-9058-9135F9B7C8F8}" srcId="{EEF71C93-406A-4E53-B050-5D60A9340B66}" destId="{38E2C53A-478A-43DC-A5C7-7D1E40773014}" srcOrd="1" destOrd="0" parTransId="{FE3972AF-5CBD-4C16-91A6-EF2E084C9F15}" sibTransId="{7CD8254F-3E41-4230-B9B4-D8C032715136}"/>
    <dgm:cxn modelId="{A4104DFD-92F8-40EC-958B-21C035143B11}" type="presOf" srcId="{987B4708-1263-4BDB-AC4C-86A64FA95E9B}" destId="{33E9F3E4-7366-4E1A-AD27-3876C2913D0D}" srcOrd="0" destOrd="0" presId="urn:microsoft.com/office/officeart/2005/8/layout/hierarchy6"/>
    <dgm:cxn modelId="{E400BF3D-05C9-4432-80A5-B20B1E9AB040}" type="presOf" srcId="{F5EA0BE1-2C0B-4D07-AA34-8767BBBC4464}" destId="{B43E5FD5-7333-45D0-AA0D-9177C2F397AC}" srcOrd="0" destOrd="0" presId="urn:microsoft.com/office/officeart/2005/8/layout/hierarchy6"/>
    <dgm:cxn modelId="{0472497A-8F9D-4FD3-AE09-53BAD84FAF29}" type="presOf" srcId="{6539C198-78FE-4DCF-A132-6909A0B1D760}" destId="{6FA56598-C0EF-4C37-9EFB-837278D31531}" srcOrd="0" destOrd="0" presId="urn:microsoft.com/office/officeart/2005/8/layout/hierarchy6"/>
    <dgm:cxn modelId="{07344DBE-1AC2-40C5-9728-3132D04F8FC8}" type="presOf" srcId="{73642359-A539-48D7-92B9-197BA227203D}" destId="{E49E042D-D644-4A9E-B439-3DF062B39E1A}" srcOrd="0" destOrd="0" presId="urn:microsoft.com/office/officeart/2005/8/layout/hierarchy6"/>
    <dgm:cxn modelId="{CD548F8E-4889-4B40-AD3B-FAD4CEA03D5D}" type="presOf" srcId="{687EF747-3758-4134-81A5-5B56548F80E4}" destId="{B6569392-8889-4A40-A3D6-8085611015CC}" srcOrd="0" destOrd="0" presId="urn:microsoft.com/office/officeart/2005/8/layout/hierarchy6"/>
    <dgm:cxn modelId="{3243304E-3495-40A8-93AC-78BEF37C1D36}" type="presOf" srcId="{C6A6F49D-8679-4C1F-B999-FEF30440E86B}" destId="{BDD2A74F-4459-4AE6-AED1-90EA5ABFBF30}" srcOrd="0" destOrd="0" presId="urn:microsoft.com/office/officeart/2005/8/layout/hierarchy6"/>
    <dgm:cxn modelId="{4C8EC7E3-A2D0-48A6-867E-AC87DA73C2E6}" type="presOf" srcId="{ABB7818D-66B5-464E-A908-BD26A774498A}" destId="{CE174E4C-ED13-4EED-8866-3DC9D172AD35}" srcOrd="0" destOrd="0" presId="urn:microsoft.com/office/officeart/2005/8/layout/hierarchy6"/>
    <dgm:cxn modelId="{C8087968-D454-4DFD-B397-77445A5D1267}" srcId="{E8B1704A-1249-4EE3-82F2-E0E2EAE04C21}" destId="{C6A6F49D-8679-4C1F-B999-FEF30440E86B}" srcOrd="0" destOrd="0" parTransId="{F5EA0BE1-2C0B-4D07-AA34-8767BBBC4464}" sibTransId="{816AFC57-3B07-40FF-B0AE-4CFBA48EE372}"/>
    <dgm:cxn modelId="{3F02500A-1E5F-4BBD-87CD-B083A8DD2610}" srcId="{E8B1704A-1249-4EE3-82F2-E0E2EAE04C21}" destId="{687EF747-3758-4134-81A5-5B56548F80E4}" srcOrd="1" destOrd="0" parTransId="{022FAB26-D57D-4F4B-8F67-2450C32C2BC0}" sibTransId="{E3DE4570-3B5E-4759-B3CF-27ADFD13895D}"/>
    <dgm:cxn modelId="{56ECC061-59C2-48BD-8A7F-E6E6B05ACCFF}" srcId="{C6A6F49D-8679-4C1F-B999-FEF30440E86B}" destId="{2F141544-2AE3-46FC-94DC-CFB40EC4D2E2}" srcOrd="1" destOrd="0" parTransId="{EAEDCA2F-40AB-46F0-BB4A-01F65EA906B1}" sibTransId="{EEAD86FD-D42B-4FB9-B8A4-51BA762D2184}"/>
    <dgm:cxn modelId="{AD77E7BF-0454-4A51-BFF9-B95E549B4FC0}" type="presOf" srcId="{B780B423-A2CC-4EDD-B117-72F88BD2FC43}" destId="{65C8EB6C-604A-4EF1-824F-663829CDD101}" srcOrd="0" destOrd="0" presId="urn:microsoft.com/office/officeart/2005/8/layout/hierarchy6"/>
    <dgm:cxn modelId="{B4DE8263-3926-43A9-92E5-C20B4B1E4192}" type="presOf" srcId="{8E830CE8-B2EE-4EA0-A99A-EF7CF7D00603}" destId="{A0B3461A-0BC1-4D52-8469-69413E095213}" srcOrd="0" destOrd="0" presId="urn:microsoft.com/office/officeart/2005/8/layout/hierarchy6"/>
    <dgm:cxn modelId="{579996AB-6B47-4ACA-9A50-B900A83ACA92}" type="presOf" srcId="{2F141544-2AE3-46FC-94DC-CFB40EC4D2E2}" destId="{955C4028-FE07-40C8-9205-44161389ED16}" srcOrd="0" destOrd="0" presId="urn:microsoft.com/office/officeart/2005/8/layout/hierarchy6"/>
    <dgm:cxn modelId="{5735DAE5-C010-4876-9271-F3E63F9D9427}" type="presOf" srcId="{B1FDE70B-4F20-45B3-BF79-C50F5887A269}" destId="{B11BDAC6-DCE6-4444-95F5-6B1B472F1D55}" srcOrd="0" destOrd="0" presId="urn:microsoft.com/office/officeart/2005/8/layout/hierarchy6"/>
    <dgm:cxn modelId="{4829FAF3-5FD7-4E6D-89EE-CE6FCE9E92BE}" type="presOf" srcId="{1646472B-674F-4A7B-907A-A2DE3AEF8B83}" destId="{811B0767-EA1C-42F3-9D53-F9A15782A339}" srcOrd="0" destOrd="0" presId="urn:microsoft.com/office/officeart/2005/8/layout/hierarchy6"/>
    <dgm:cxn modelId="{591AE02D-3B93-46F4-B915-7CCC1DA1314B}" srcId="{64599128-8393-4BE9-8CB5-1642BD62BA17}" destId="{E8B1704A-1249-4EE3-82F2-E0E2EAE04C21}" srcOrd="0" destOrd="0" parTransId="{987B4708-1263-4BDB-AC4C-86A64FA95E9B}" sibTransId="{9B018476-440C-4FEC-AC01-EB05EFF43695}"/>
    <dgm:cxn modelId="{CA0B3134-5FA2-4578-9E70-68E0A3B4833C}" type="presOf" srcId="{B9579DE8-44FA-48D5-B400-4A03C3BDD7DD}" destId="{84186163-D9B5-4EAF-8ADB-531B3F37C870}" srcOrd="0" destOrd="0" presId="urn:microsoft.com/office/officeart/2005/8/layout/hierarchy6"/>
    <dgm:cxn modelId="{0EF64AD1-A91B-4C40-9D17-CA8DDC235AEC}" type="presOf" srcId="{42068ED9-4741-4AB1-96B8-6E9D51D15FE1}" destId="{FFCCF94A-CF14-4A37-BB78-132A45EC79C0}" srcOrd="0" destOrd="0" presId="urn:microsoft.com/office/officeart/2005/8/layout/hierarchy6"/>
    <dgm:cxn modelId="{65526E45-44FD-48FD-B6C3-2A825E21AD63}" type="presOf" srcId="{EEF71C93-406A-4E53-B050-5D60A9340B66}" destId="{07012CE2-71F5-47BF-AA54-8AC9875EB3E5}" srcOrd="0" destOrd="0" presId="urn:microsoft.com/office/officeart/2005/8/layout/hierarchy6"/>
    <dgm:cxn modelId="{670600EF-10B6-4EDE-96B1-9B39EB276E1B}" srcId="{F1AB51B3-8BE8-4204-99DD-C2D3130F5C28}" destId="{ABB7818D-66B5-464E-A908-BD26A774498A}" srcOrd="1" destOrd="0" parTransId="{8E830CE8-B2EE-4EA0-A99A-EF7CF7D00603}" sibTransId="{EE17A957-AA6A-4DA9-99F7-566CF5233421}"/>
    <dgm:cxn modelId="{E6973C79-A947-4FEF-87F0-EA5C60C3EB2B}" type="presOf" srcId="{5E2F6A3E-769B-4B59-B812-D5F982AF36DA}" destId="{4707C6F9-F816-417A-8635-93E1ACBD548E}" srcOrd="0" destOrd="0" presId="urn:microsoft.com/office/officeart/2005/8/layout/hierarchy6"/>
    <dgm:cxn modelId="{F5B97E4B-F631-4105-8E0C-51D9FFC8A8C6}" srcId="{26572AF1-1EED-464D-9E4E-F306F91D56A0}" destId="{64599128-8393-4BE9-8CB5-1642BD62BA17}" srcOrd="0" destOrd="0" parTransId="{65F52CF7-18DF-4203-B4CB-B39F37A053E1}" sibTransId="{264F1741-1A13-47A9-A9FE-1871686A4864}"/>
    <dgm:cxn modelId="{B49F7DF7-A846-4376-B446-A2F4BB99103E}" type="presOf" srcId="{26572AF1-1EED-464D-9E4E-F306F91D56A0}" destId="{A255BD11-3BAD-4979-B0F5-CB02EF042F70}" srcOrd="0" destOrd="0" presId="urn:microsoft.com/office/officeart/2005/8/layout/hierarchy6"/>
    <dgm:cxn modelId="{C612DAE7-4D5B-40A4-AF29-83DEA3C73287}" type="presOf" srcId="{64599128-8393-4BE9-8CB5-1642BD62BA17}" destId="{27E4B229-1639-4BFE-84AA-67BE9AFC7C4E}" srcOrd="0" destOrd="0" presId="urn:microsoft.com/office/officeart/2005/8/layout/hierarchy6"/>
    <dgm:cxn modelId="{7F13D0BC-4492-462A-BE52-F9D73E015956}" srcId="{EEF71C93-406A-4E53-B050-5D60A9340B66}" destId="{6539C198-78FE-4DCF-A132-6909A0B1D760}" srcOrd="0" destOrd="0" parTransId="{3D40CEA2-F63B-4CA5-949E-5D0E79507707}" sibTransId="{AFB48B43-2191-44D8-9A86-AF995FCE0701}"/>
    <dgm:cxn modelId="{8A8C99E0-40B5-481E-ADF5-7954ECC4B1A7}" srcId="{C6A6F49D-8679-4C1F-B999-FEF30440E86B}" destId="{F1AB51B3-8BE8-4204-99DD-C2D3130F5C28}" srcOrd="2" destOrd="0" parTransId="{A72CEAD8-4713-4C5A-BCCC-7AB83735755A}" sibTransId="{A7849CA4-BB01-4936-BF70-084EEF66D5D6}"/>
    <dgm:cxn modelId="{A25CB916-10B9-45A5-B615-68C023FB423A}" type="presOf" srcId="{807C1113-579C-4B11-92B5-2D5C40C5BDAF}" destId="{876E9261-5B1F-48DE-99C1-C6DC0FE450AD}" srcOrd="0" destOrd="0" presId="urn:microsoft.com/office/officeart/2005/8/layout/hierarchy6"/>
    <dgm:cxn modelId="{DB50867C-D21A-4CAD-8B59-E159660ED8F2}" type="presOf" srcId="{CC592D04-558E-449E-B664-79F7120DE1EC}" destId="{E37CB9B7-7850-4F5C-A5FD-891E40C135D4}" srcOrd="0" destOrd="0" presId="urn:microsoft.com/office/officeart/2005/8/layout/hierarchy6"/>
    <dgm:cxn modelId="{04874C1D-19AA-4B1E-BAFF-446AD07D027F}" srcId="{F1AB51B3-8BE8-4204-99DD-C2D3130F5C28}" destId="{CC592D04-558E-449E-B664-79F7120DE1EC}" srcOrd="2" destOrd="0" parTransId="{42068ED9-4741-4AB1-96B8-6E9D51D15FE1}" sibTransId="{6B3761C0-B4C8-4E59-B8FE-2E6E9D7BF26E}"/>
    <dgm:cxn modelId="{14D6972A-34AA-40CB-8FF5-9C8D9025E338}" type="presOf" srcId="{31325388-E00B-4875-B633-F1B71655626F}" destId="{263E1982-2553-4819-B49A-414D74E97BEF}" srcOrd="0" destOrd="0" presId="urn:microsoft.com/office/officeart/2005/8/layout/hierarchy6"/>
    <dgm:cxn modelId="{7C911349-3A3C-40B0-BC98-8E8FCF967B47}" srcId="{F1AB51B3-8BE8-4204-99DD-C2D3130F5C28}" destId="{31325388-E00B-4875-B633-F1B71655626F}" srcOrd="3" destOrd="0" parTransId="{B9579DE8-44FA-48D5-B400-4A03C3BDD7DD}" sibTransId="{34D2462F-1F16-4F62-991E-67F7978C59A9}"/>
    <dgm:cxn modelId="{0D266C5C-E560-43C9-8C47-958048AB4A44}" type="presOf" srcId="{7EAA8428-851B-4083-87FE-ACFA21BEF914}" destId="{1F0BBC70-21D0-4426-960E-0B61079946CA}" srcOrd="0" destOrd="0" presId="urn:microsoft.com/office/officeart/2005/8/layout/hierarchy6"/>
    <dgm:cxn modelId="{2FCD65D8-D172-4D7C-A044-0AAC0B2C0840}" type="presOf" srcId="{022FAB26-D57D-4F4B-8F67-2450C32C2BC0}" destId="{8DAF1B77-8F11-4098-A8D1-905CAE8B99D4}" srcOrd="0" destOrd="0" presId="urn:microsoft.com/office/officeart/2005/8/layout/hierarchy6"/>
    <dgm:cxn modelId="{50DA2E71-5015-4781-AE10-BE8FA0EDD0EE}" type="presOf" srcId="{F63A3B67-B6B8-4C83-984F-D69A22DE971C}" destId="{68D460FC-BA81-4191-8D6F-8DC8B693E9D5}" srcOrd="0" destOrd="0" presId="urn:microsoft.com/office/officeart/2005/8/layout/hierarchy6"/>
    <dgm:cxn modelId="{E90B9614-5601-4AF3-A3C8-BC17A31AD357}" srcId="{687EF747-3758-4134-81A5-5B56548F80E4}" destId="{041DAD1B-92D5-403C-A82F-BE1A236BEED0}" srcOrd="1" destOrd="0" parTransId="{73642359-A539-48D7-92B9-197BA227203D}" sibTransId="{78AC23B7-D113-447C-8D4C-25DC07DD31CD}"/>
    <dgm:cxn modelId="{E20E662B-B79F-43C5-8E58-E40023C95D70}" type="presOf" srcId="{F1AB51B3-8BE8-4204-99DD-C2D3130F5C28}" destId="{4F196F65-DC04-4093-A116-A3A9F7ED789D}" srcOrd="0" destOrd="0" presId="urn:microsoft.com/office/officeart/2005/8/layout/hierarchy6"/>
    <dgm:cxn modelId="{08C1A0A3-C53A-4A70-9B5F-E8D50E3B9472}" type="presOf" srcId="{A72CEAD8-4713-4C5A-BCCC-7AB83735755A}" destId="{618CB15D-6475-46EB-A73E-88FE4EA60CA9}" srcOrd="0" destOrd="0" presId="urn:microsoft.com/office/officeart/2005/8/layout/hierarchy6"/>
    <dgm:cxn modelId="{96EABE26-EE8E-4090-AD9F-07ED494CCB15}" srcId="{C6A6F49D-8679-4C1F-B999-FEF30440E86B}" destId="{7EAA8428-851B-4083-87FE-ACFA21BEF914}" srcOrd="3" destOrd="0" parTransId="{5E2F6A3E-769B-4B59-B812-D5F982AF36DA}" sibTransId="{53AAF7E4-EDBC-44DC-B707-B76E8290DC77}"/>
    <dgm:cxn modelId="{F44A6C5B-872C-45B1-B0E8-4090FDC99431}" type="presOf" srcId="{CA6851A1-9408-408B-ADB6-52AF13E430FF}" destId="{47BDEF41-449D-4E6B-A727-863F7325B755}" srcOrd="0" destOrd="0" presId="urn:microsoft.com/office/officeart/2005/8/layout/hierarchy6"/>
    <dgm:cxn modelId="{F301E617-8FC3-40FA-8C96-DC143FA83E20}" type="presOf" srcId="{FE3972AF-5CBD-4C16-91A6-EF2E084C9F15}" destId="{20D96A82-9190-49F3-8BD0-4E56209896C0}" srcOrd="0" destOrd="0" presId="urn:microsoft.com/office/officeart/2005/8/layout/hierarchy6"/>
    <dgm:cxn modelId="{1B6F5226-52F0-48AA-A9FD-AD3BAC732008}" type="presOf" srcId="{E8B1704A-1249-4EE3-82F2-E0E2EAE04C21}" destId="{21F999DD-FEE6-4695-8381-6435B130E73A}" srcOrd="0" destOrd="0" presId="urn:microsoft.com/office/officeart/2005/8/layout/hierarchy6"/>
    <dgm:cxn modelId="{C9765F69-078C-4661-B414-A43230DA3462}" srcId="{687EF747-3758-4134-81A5-5B56548F80E4}" destId="{B780B423-A2CC-4EDD-B117-72F88BD2FC43}" srcOrd="0" destOrd="0" parTransId="{F63A3B67-B6B8-4C83-984F-D69A22DE971C}" sibTransId="{B96C8912-C8A3-4E36-BF51-F85F2544EDC1}"/>
    <dgm:cxn modelId="{F105F250-C590-4E4A-AF2D-06F4BC5E1353}" type="presOf" srcId="{041DAD1B-92D5-403C-A82F-BE1A236BEED0}" destId="{D71AE605-BD48-4D16-8317-74EC8CCE910B}" srcOrd="0" destOrd="0" presId="urn:microsoft.com/office/officeart/2005/8/layout/hierarchy6"/>
    <dgm:cxn modelId="{423E451C-7E80-411B-9488-DC9763DB4E35}" type="presOf" srcId="{EAEDCA2F-40AB-46F0-BB4A-01F65EA906B1}" destId="{6B35C08D-4F3F-48D0-A7F3-F1688FBF4C5D}" srcOrd="0" destOrd="0" presId="urn:microsoft.com/office/officeart/2005/8/layout/hierarchy6"/>
    <dgm:cxn modelId="{71641AC9-AA1F-46F4-BE4F-D6988DE64AAD}" type="presOf" srcId="{F014AFC6-591F-4FDE-AFBA-6DB51E7C2328}" destId="{2171EE08-51DA-4AC9-A1E2-6C2A815BAAB7}" srcOrd="0" destOrd="0" presId="urn:microsoft.com/office/officeart/2005/8/layout/hierarchy6"/>
    <dgm:cxn modelId="{87384D3C-4385-4FCF-A56F-10F2A085A841}" type="presOf" srcId="{3D40CEA2-F63B-4CA5-949E-5D0E79507707}" destId="{235776E1-E7A4-4107-982D-8529E01518D3}" srcOrd="0" destOrd="0" presId="urn:microsoft.com/office/officeart/2005/8/layout/hierarchy6"/>
    <dgm:cxn modelId="{3183A6F1-7004-4BCE-A3D8-CF5E29FF9AC4}" type="presParOf" srcId="{A255BD11-3BAD-4979-B0F5-CB02EF042F70}" destId="{ED4EC14D-595B-4611-96FD-CF30FFE51551}" srcOrd="0" destOrd="0" presId="urn:microsoft.com/office/officeart/2005/8/layout/hierarchy6"/>
    <dgm:cxn modelId="{D7911366-E4E6-4BD5-9CB7-5CA9DC301DBA}" type="presParOf" srcId="{ED4EC14D-595B-4611-96FD-CF30FFE51551}" destId="{F2AD0681-0DB7-4429-B1C8-C8DA1BF34D4E}" srcOrd="0" destOrd="0" presId="urn:microsoft.com/office/officeart/2005/8/layout/hierarchy6"/>
    <dgm:cxn modelId="{164E64D0-693A-4FF4-BABF-812C293BECC4}" type="presParOf" srcId="{F2AD0681-0DB7-4429-B1C8-C8DA1BF34D4E}" destId="{0C837B0E-0FAE-4F79-864E-0CA9A4A6ABCA}" srcOrd="0" destOrd="0" presId="urn:microsoft.com/office/officeart/2005/8/layout/hierarchy6"/>
    <dgm:cxn modelId="{77B02AD7-345E-44E6-88C7-FE55A73A1B95}" type="presParOf" srcId="{0C837B0E-0FAE-4F79-864E-0CA9A4A6ABCA}" destId="{27E4B229-1639-4BFE-84AA-67BE9AFC7C4E}" srcOrd="0" destOrd="0" presId="urn:microsoft.com/office/officeart/2005/8/layout/hierarchy6"/>
    <dgm:cxn modelId="{F72534B4-0291-4FDD-939B-E07BAD4E0776}" type="presParOf" srcId="{0C837B0E-0FAE-4F79-864E-0CA9A4A6ABCA}" destId="{41E37F6F-27E8-40AD-B231-3B4B43093466}" srcOrd="1" destOrd="0" presId="urn:microsoft.com/office/officeart/2005/8/layout/hierarchy6"/>
    <dgm:cxn modelId="{89DA881D-CB9E-4FE3-A8E9-534A4A6B4640}" type="presParOf" srcId="{41E37F6F-27E8-40AD-B231-3B4B43093466}" destId="{33E9F3E4-7366-4E1A-AD27-3876C2913D0D}" srcOrd="0" destOrd="0" presId="urn:microsoft.com/office/officeart/2005/8/layout/hierarchy6"/>
    <dgm:cxn modelId="{CB761FD1-AE9A-450F-A701-AA098CCF8FC7}" type="presParOf" srcId="{41E37F6F-27E8-40AD-B231-3B4B43093466}" destId="{37E02824-794A-4253-92E0-C8584E891A24}" srcOrd="1" destOrd="0" presId="urn:microsoft.com/office/officeart/2005/8/layout/hierarchy6"/>
    <dgm:cxn modelId="{4A596C2F-22F1-4ACE-84A8-3386123FAEBA}" type="presParOf" srcId="{37E02824-794A-4253-92E0-C8584E891A24}" destId="{21F999DD-FEE6-4695-8381-6435B130E73A}" srcOrd="0" destOrd="0" presId="urn:microsoft.com/office/officeart/2005/8/layout/hierarchy6"/>
    <dgm:cxn modelId="{C01637FD-11B7-44A2-AACB-7DDAB9E03DEA}" type="presParOf" srcId="{37E02824-794A-4253-92E0-C8584E891A24}" destId="{8768B1B9-005B-472B-AE47-B1C41D63C463}" srcOrd="1" destOrd="0" presId="urn:microsoft.com/office/officeart/2005/8/layout/hierarchy6"/>
    <dgm:cxn modelId="{244EBB38-AF0F-427F-924F-E9AABC37F12C}" type="presParOf" srcId="{8768B1B9-005B-472B-AE47-B1C41D63C463}" destId="{B43E5FD5-7333-45D0-AA0D-9177C2F397AC}" srcOrd="0" destOrd="0" presId="urn:microsoft.com/office/officeart/2005/8/layout/hierarchy6"/>
    <dgm:cxn modelId="{53F0393D-CE04-4BD7-BF88-12659FE6996C}" type="presParOf" srcId="{8768B1B9-005B-472B-AE47-B1C41D63C463}" destId="{707D652A-3EEA-4609-98FF-708A977BB201}" srcOrd="1" destOrd="0" presId="urn:microsoft.com/office/officeart/2005/8/layout/hierarchy6"/>
    <dgm:cxn modelId="{05B9CEAB-0765-44EF-982E-4F2043E2474A}" type="presParOf" srcId="{707D652A-3EEA-4609-98FF-708A977BB201}" destId="{BDD2A74F-4459-4AE6-AED1-90EA5ABFBF30}" srcOrd="0" destOrd="0" presId="urn:microsoft.com/office/officeart/2005/8/layout/hierarchy6"/>
    <dgm:cxn modelId="{56B04028-6D9C-4CB1-B8FE-D698761F08E7}" type="presParOf" srcId="{707D652A-3EEA-4609-98FF-708A977BB201}" destId="{C53F8965-4844-4179-95D5-391FA70933FF}" srcOrd="1" destOrd="0" presId="urn:microsoft.com/office/officeart/2005/8/layout/hierarchy6"/>
    <dgm:cxn modelId="{30F3C852-E2C4-43C2-ACA7-829C49C71DB4}" type="presParOf" srcId="{C53F8965-4844-4179-95D5-391FA70933FF}" destId="{2171EE08-51DA-4AC9-A1E2-6C2A815BAAB7}" srcOrd="0" destOrd="0" presId="urn:microsoft.com/office/officeart/2005/8/layout/hierarchy6"/>
    <dgm:cxn modelId="{A564702A-3B4E-4EBB-90C0-D4C94286FB19}" type="presParOf" srcId="{C53F8965-4844-4179-95D5-391FA70933FF}" destId="{72414AA7-C3CD-4C09-A83C-84825118CB5A}" srcOrd="1" destOrd="0" presId="urn:microsoft.com/office/officeart/2005/8/layout/hierarchy6"/>
    <dgm:cxn modelId="{993B430C-F70A-4F81-ADA1-CAB9B22B72C3}" type="presParOf" srcId="{72414AA7-C3CD-4C09-A83C-84825118CB5A}" destId="{811B0767-EA1C-42F3-9D53-F9A15782A339}" srcOrd="0" destOrd="0" presId="urn:microsoft.com/office/officeart/2005/8/layout/hierarchy6"/>
    <dgm:cxn modelId="{C5D2E131-553F-4FE7-818B-989F89F6B1A8}" type="presParOf" srcId="{72414AA7-C3CD-4C09-A83C-84825118CB5A}" destId="{27C09EF8-A04A-4BA7-B09C-6F8E3A57ADDA}" srcOrd="1" destOrd="0" presId="urn:microsoft.com/office/officeart/2005/8/layout/hierarchy6"/>
    <dgm:cxn modelId="{C3B8CB66-3017-4494-8074-75FF9F0ECBBE}" type="presParOf" srcId="{C53F8965-4844-4179-95D5-391FA70933FF}" destId="{6B35C08D-4F3F-48D0-A7F3-F1688FBF4C5D}" srcOrd="2" destOrd="0" presId="urn:microsoft.com/office/officeart/2005/8/layout/hierarchy6"/>
    <dgm:cxn modelId="{0A52B079-4A99-43DB-A60A-A58E058CFB21}" type="presParOf" srcId="{C53F8965-4844-4179-95D5-391FA70933FF}" destId="{7E476CA5-4AB8-4B52-BAB0-B994F22A441F}" srcOrd="3" destOrd="0" presId="urn:microsoft.com/office/officeart/2005/8/layout/hierarchy6"/>
    <dgm:cxn modelId="{67103F90-8CEF-42BC-856A-4D3227068775}" type="presParOf" srcId="{7E476CA5-4AB8-4B52-BAB0-B994F22A441F}" destId="{955C4028-FE07-40C8-9205-44161389ED16}" srcOrd="0" destOrd="0" presId="urn:microsoft.com/office/officeart/2005/8/layout/hierarchy6"/>
    <dgm:cxn modelId="{603F8F0A-39CD-4D74-A3D6-424FAC46C9F1}" type="presParOf" srcId="{7E476CA5-4AB8-4B52-BAB0-B994F22A441F}" destId="{73FB7F0F-FEA6-426A-8A5D-0085591EFF14}" srcOrd="1" destOrd="0" presId="urn:microsoft.com/office/officeart/2005/8/layout/hierarchy6"/>
    <dgm:cxn modelId="{B1F1B68B-1CD6-4612-A3F2-2C6762C1A4E8}" type="presParOf" srcId="{C53F8965-4844-4179-95D5-391FA70933FF}" destId="{618CB15D-6475-46EB-A73E-88FE4EA60CA9}" srcOrd="4" destOrd="0" presId="urn:microsoft.com/office/officeart/2005/8/layout/hierarchy6"/>
    <dgm:cxn modelId="{C2D7EA1A-F76B-42FC-8595-489A2ADC2751}" type="presParOf" srcId="{C53F8965-4844-4179-95D5-391FA70933FF}" destId="{796B5A1E-6ED2-46B7-B222-CEEECA1EBE9A}" srcOrd="5" destOrd="0" presId="urn:microsoft.com/office/officeart/2005/8/layout/hierarchy6"/>
    <dgm:cxn modelId="{60717176-77A9-4B27-A1BF-E6CCDA1DA857}" type="presParOf" srcId="{796B5A1E-6ED2-46B7-B222-CEEECA1EBE9A}" destId="{4F196F65-DC04-4093-A116-A3A9F7ED789D}" srcOrd="0" destOrd="0" presId="urn:microsoft.com/office/officeart/2005/8/layout/hierarchy6"/>
    <dgm:cxn modelId="{25AE9A06-970B-4B4D-A0A4-E00092BB89CC}" type="presParOf" srcId="{796B5A1E-6ED2-46B7-B222-CEEECA1EBE9A}" destId="{CB49E9AA-5047-4517-9B2D-B9BB7088F2F6}" srcOrd="1" destOrd="0" presId="urn:microsoft.com/office/officeart/2005/8/layout/hierarchy6"/>
    <dgm:cxn modelId="{503B6A7C-46EE-4E29-94F6-8B5B0B78C839}" type="presParOf" srcId="{CB49E9AA-5047-4517-9B2D-B9BB7088F2F6}" destId="{47BDEF41-449D-4E6B-A727-863F7325B755}" srcOrd="0" destOrd="0" presId="urn:microsoft.com/office/officeart/2005/8/layout/hierarchy6"/>
    <dgm:cxn modelId="{F8E3DB14-EA78-4F1C-AF2E-166FC7CE7227}" type="presParOf" srcId="{CB49E9AA-5047-4517-9B2D-B9BB7088F2F6}" destId="{FF62B0EE-C12D-459B-9A9F-6BD84D7B59CC}" srcOrd="1" destOrd="0" presId="urn:microsoft.com/office/officeart/2005/8/layout/hierarchy6"/>
    <dgm:cxn modelId="{09C98CA0-3A77-4869-B95C-A625DEF64CAE}" type="presParOf" srcId="{FF62B0EE-C12D-459B-9A9F-6BD84D7B59CC}" destId="{B11BDAC6-DCE6-4444-95F5-6B1B472F1D55}" srcOrd="0" destOrd="0" presId="urn:microsoft.com/office/officeart/2005/8/layout/hierarchy6"/>
    <dgm:cxn modelId="{262452A9-19A5-4E5C-8985-7B5B433E06AE}" type="presParOf" srcId="{FF62B0EE-C12D-459B-9A9F-6BD84D7B59CC}" destId="{C9AA6F0C-91B6-4CC4-940A-8CB09AFE3E8D}" srcOrd="1" destOrd="0" presId="urn:microsoft.com/office/officeart/2005/8/layout/hierarchy6"/>
    <dgm:cxn modelId="{59168DAB-280E-47B0-8005-FC26983B9700}" type="presParOf" srcId="{CB49E9AA-5047-4517-9B2D-B9BB7088F2F6}" destId="{A0B3461A-0BC1-4D52-8469-69413E095213}" srcOrd="2" destOrd="0" presId="urn:microsoft.com/office/officeart/2005/8/layout/hierarchy6"/>
    <dgm:cxn modelId="{108CD441-AA4C-485D-90A1-991970F736D0}" type="presParOf" srcId="{CB49E9AA-5047-4517-9B2D-B9BB7088F2F6}" destId="{56A56952-AF33-46CB-AE9D-2A856382FE33}" srcOrd="3" destOrd="0" presId="urn:microsoft.com/office/officeart/2005/8/layout/hierarchy6"/>
    <dgm:cxn modelId="{CBC6EFF2-AB85-4003-8E8D-9421594A8098}" type="presParOf" srcId="{56A56952-AF33-46CB-AE9D-2A856382FE33}" destId="{CE174E4C-ED13-4EED-8866-3DC9D172AD35}" srcOrd="0" destOrd="0" presId="urn:microsoft.com/office/officeart/2005/8/layout/hierarchy6"/>
    <dgm:cxn modelId="{10DD8EB5-E675-4BE5-84FB-60979EAB1D3E}" type="presParOf" srcId="{56A56952-AF33-46CB-AE9D-2A856382FE33}" destId="{14ABFA38-AA1D-4E00-94C9-E327B859461B}" srcOrd="1" destOrd="0" presId="urn:microsoft.com/office/officeart/2005/8/layout/hierarchy6"/>
    <dgm:cxn modelId="{3237FC91-D73A-49A0-AFC6-203646460317}" type="presParOf" srcId="{CB49E9AA-5047-4517-9B2D-B9BB7088F2F6}" destId="{FFCCF94A-CF14-4A37-BB78-132A45EC79C0}" srcOrd="4" destOrd="0" presId="urn:microsoft.com/office/officeart/2005/8/layout/hierarchy6"/>
    <dgm:cxn modelId="{A965F8DA-DD6D-431E-B834-4AFFCE7EA7AC}" type="presParOf" srcId="{CB49E9AA-5047-4517-9B2D-B9BB7088F2F6}" destId="{704444C4-77EE-45E9-B342-FF627A002ACE}" srcOrd="5" destOrd="0" presId="urn:microsoft.com/office/officeart/2005/8/layout/hierarchy6"/>
    <dgm:cxn modelId="{F92066C3-1682-4F2F-880F-CF5DEDB56FE7}" type="presParOf" srcId="{704444C4-77EE-45E9-B342-FF627A002ACE}" destId="{E37CB9B7-7850-4F5C-A5FD-891E40C135D4}" srcOrd="0" destOrd="0" presId="urn:microsoft.com/office/officeart/2005/8/layout/hierarchy6"/>
    <dgm:cxn modelId="{E923D660-31B8-4AAF-AB5C-81D1C7C7F2E2}" type="presParOf" srcId="{704444C4-77EE-45E9-B342-FF627A002ACE}" destId="{140BA321-6AF2-4A23-836A-55D77C6BEEEA}" srcOrd="1" destOrd="0" presId="urn:microsoft.com/office/officeart/2005/8/layout/hierarchy6"/>
    <dgm:cxn modelId="{D73EC1F6-68EE-405B-809C-4BF12D0F7528}" type="presParOf" srcId="{CB49E9AA-5047-4517-9B2D-B9BB7088F2F6}" destId="{84186163-D9B5-4EAF-8ADB-531B3F37C870}" srcOrd="6" destOrd="0" presId="urn:microsoft.com/office/officeart/2005/8/layout/hierarchy6"/>
    <dgm:cxn modelId="{5E238FB9-FC77-441B-8F29-ED7F4FAA8C51}" type="presParOf" srcId="{CB49E9AA-5047-4517-9B2D-B9BB7088F2F6}" destId="{D53A1CAB-59A0-4E8A-BECE-37E2FC2F9D33}" srcOrd="7" destOrd="0" presId="urn:microsoft.com/office/officeart/2005/8/layout/hierarchy6"/>
    <dgm:cxn modelId="{AD8FD174-DC8B-4D9B-801E-BEDCB764D2EB}" type="presParOf" srcId="{D53A1CAB-59A0-4E8A-BECE-37E2FC2F9D33}" destId="{263E1982-2553-4819-B49A-414D74E97BEF}" srcOrd="0" destOrd="0" presId="urn:microsoft.com/office/officeart/2005/8/layout/hierarchy6"/>
    <dgm:cxn modelId="{50D09F55-D21F-4384-8353-A0FFAA0D3D2A}" type="presParOf" srcId="{D53A1CAB-59A0-4E8A-BECE-37E2FC2F9D33}" destId="{78893A7D-F77C-4832-91F6-24DCFCE5D7C4}" srcOrd="1" destOrd="0" presId="urn:microsoft.com/office/officeart/2005/8/layout/hierarchy6"/>
    <dgm:cxn modelId="{EB901D64-7B60-4EE0-A008-60375DEE6CA3}" type="presParOf" srcId="{C53F8965-4844-4179-95D5-391FA70933FF}" destId="{4707C6F9-F816-417A-8635-93E1ACBD548E}" srcOrd="6" destOrd="0" presId="urn:microsoft.com/office/officeart/2005/8/layout/hierarchy6"/>
    <dgm:cxn modelId="{61DC742B-42DB-434E-861E-9E505FD5CBC4}" type="presParOf" srcId="{C53F8965-4844-4179-95D5-391FA70933FF}" destId="{D499B6AD-50FF-4102-BA1A-06EBD1831080}" srcOrd="7" destOrd="0" presId="urn:microsoft.com/office/officeart/2005/8/layout/hierarchy6"/>
    <dgm:cxn modelId="{2317A7F2-4167-4BA5-BC4D-9F4660164526}" type="presParOf" srcId="{D499B6AD-50FF-4102-BA1A-06EBD1831080}" destId="{1F0BBC70-21D0-4426-960E-0B61079946CA}" srcOrd="0" destOrd="0" presId="urn:microsoft.com/office/officeart/2005/8/layout/hierarchy6"/>
    <dgm:cxn modelId="{7174DD53-2866-4755-957F-D1B05CFE35F8}" type="presParOf" srcId="{D499B6AD-50FF-4102-BA1A-06EBD1831080}" destId="{5D503349-572C-42E5-9A55-4DF41A3B0081}" srcOrd="1" destOrd="0" presId="urn:microsoft.com/office/officeart/2005/8/layout/hierarchy6"/>
    <dgm:cxn modelId="{F294E255-6CD7-4F3F-AFB1-39FCFD6585EF}" type="presParOf" srcId="{8768B1B9-005B-472B-AE47-B1C41D63C463}" destId="{8DAF1B77-8F11-4098-A8D1-905CAE8B99D4}" srcOrd="2" destOrd="0" presId="urn:microsoft.com/office/officeart/2005/8/layout/hierarchy6"/>
    <dgm:cxn modelId="{837F1F8A-3574-491F-970A-3DD17812D261}" type="presParOf" srcId="{8768B1B9-005B-472B-AE47-B1C41D63C463}" destId="{87E8B611-51C2-4B67-B3C8-7255637637EE}" srcOrd="3" destOrd="0" presId="urn:microsoft.com/office/officeart/2005/8/layout/hierarchy6"/>
    <dgm:cxn modelId="{A0BEFF7F-D338-44FE-A339-9ECA90B4563D}" type="presParOf" srcId="{87E8B611-51C2-4B67-B3C8-7255637637EE}" destId="{B6569392-8889-4A40-A3D6-8085611015CC}" srcOrd="0" destOrd="0" presId="urn:microsoft.com/office/officeart/2005/8/layout/hierarchy6"/>
    <dgm:cxn modelId="{B4C135F0-1720-4CE2-AC17-C0B171DD7166}" type="presParOf" srcId="{87E8B611-51C2-4B67-B3C8-7255637637EE}" destId="{B3D845E0-0DBA-43FB-B014-2070A3E9C1FA}" srcOrd="1" destOrd="0" presId="urn:microsoft.com/office/officeart/2005/8/layout/hierarchy6"/>
    <dgm:cxn modelId="{EA8B65C8-0657-4380-8436-E85E7CA99C57}" type="presParOf" srcId="{B3D845E0-0DBA-43FB-B014-2070A3E9C1FA}" destId="{68D460FC-BA81-4191-8D6F-8DC8B693E9D5}" srcOrd="0" destOrd="0" presId="urn:microsoft.com/office/officeart/2005/8/layout/hierarchy6"/>
    <dgm:cxn modelId="{E2E383E0-328E-48EC-9568-0C1752AEDD80}" type="presParOf" srcId="{B3D845E0-0DBA-43FB-B014-2070A3E9C1FA}" destId="{0A52779E-D6BF-4AAE-B046-141002697642}" srcOrd="1" destOrd="0" presId="urn:microsoft.com/office/officeart/2005/8/layout/hierarchy6"/>
    <dgm:cxn modelId="{CB0EB7B1-9D21-43DC-B0A9-B907221D29DD}" type="presParOf" srcId="{0A52779E-D6BF-4AAE-B046-141002697642}" destId="{65C8EB6C-604A-4EF1-824F-663829CDD101}" srcOrd="0" destOrd="0" presId="urn:microsoft.com/office/officeart/2005/8/layout/hierarchy6"/>
    <dgm:cxn modelId="{1938A91C-B2C7-41A6-A025-00B7FCE70752}" type="presParOf" srcId="{0A52779E-D6BF-4AAE-B046-141002697642}" destId="{7B468205-C63B-4B0F-B466-DB452105E0E8}" srcOrd="1" destOrd="0" presId="urn:microsoft.com/office/officeart/2005/8/layout/hierarchy6"/>
    <dgm:cxn modelId="{605DC921-290C-4250-B887-C5227CA189DA}" type="presParOf" srcId="{B3D845E0-0DBA-43FB-B014-2070A3E9C1FA}" destId="{E49E042D-D644-4A9E-B439-3DF062B39E1A}" srcOrd="2" destOrd="0" presId="urn:microsoft.com/office/officeart/2005/8/layout/hierarchy6"/>
    <dgm:cxn modelId="{5061043B-C310-4788-B091-F7C42355103F}" type="presParOf" srcId="{B3D845E0-0DBA-43FB-B014-2070A3E9C1FA}" destId="{95BF7AE7-0D2A-4297-AD4E-A153858671CC}" srcOrd="3" destOrd="0" presId="urn:microsoft.com/office/officeart/2005/8/layout/hierarchy6"/>
    <dgm:cxn modelId="{D3282573-76FD-4E97-B1CE-CDA71D9D65E9}" type="presParOf" srcId="{95BF7AE7-0D2A-4297-AD4E-A153858671CC}" destId="{D71AE605-BD48-4D16-8317-74EC8CCE910B}" srcOrd="0" destOrd="0" presId="urn:microsoft.com/office/officeart/2005/8/layout/hierarchy6"/>
    <dgm:cxn modelId="{B78E2583-00C5-4A46-AF84-89C81E624179}" type="presParOf" srcId="{95BF7AE7-0D2A-4297-AD4E-A153858671CC}" destId="{474D5FC6-BF29-4E36-8332-0CB13DC44FDD}" srcOrd="1" destOrd="0" presId="urn:microsoft.com/office/officeart/2005/8/layout/hierarchy6"/>
    <dgm:cxn modelId="{BB356C07-F84C-4659-97FB-533F463AEF42}" type="presParOf" srcId="{474D5FC6-BF29-4E36-8332-0CB13DC44FDD}" destId="{876E9261-5B1F-48DE-99C1-C6DC0FE450AD}" srcOrd="0" destOrd="0" presId="urn:microsoft.com/office/officeart/2005/8/layout/hierarchy6"/>
    <dgm:cxn modelId="{7DC60B77-403F-41B9-9EEF-3B5A544221DB}" type="presParOf" srcId="{474D5FC6-BF29-4E36-8332-0CB13DC44FDD}" destId="{88D15BA0-5E29-4F98-94D2-55CAD561D38B}" srcOrd="1" destOrd="0" presId="urn:microsoft.com/office/officeart/2005/8/layout/hierarchy6"/>
    <dgm:cxn modelId="{E739EE9C-B415-4B57-85C0-ABB2B19BC3FE}" type="presParOf" srcId="{88D15BA0-5E29-4F98-94D2-55CAD561D38B}" destId="{07012CE2-71F5-47BF-AA54-8AC9875EB3E5}" srcOrd="0" destOrd="0" presId="urn:microsoft.com/office/officeart/2005/8/layout/hierarchy6"/>
    <dgm:cxn modelId="{9EB3742F-2C4A-4A6D-BC2F-31A32585175F}" type="presParOf" srcId="{88D15BA0-5E29-4F98-94D2-55CAD561D38B}" destId="{1EFEF793-01D0-4965-BB14-8CF9CF812F14}" srcOrd="1" destOrd="0" presId="urn:microsoft.com/office/officeart/2005/8/layout/hierarchy6"/>
    <dgm:cxn modelId="{1386906F-2E44-4000-9952-3084D1E68C58}" type="presParOf" srcId="{1EFEF793-01D0-4965-BB14-8CF9CF812F14}" destId="{235776E1-E7A4-4107-982D-8529E01518D3}" srcOrd="0" destOrd="0" presId="urn:microsoft.com/office/officeart/2005/8/layout/hierarchy6"/>
    <dgm:cxn modelId="{A933261B-16BF-413B-BA44-0CD9D44690AD}" type="presParOf" srcId="{1EFEF793-01D0-4965-BB14-8CF9CF812F14}" destId="{C52620E7-AD2E-4E9D-B022-1C73C92931F9}" srcOrd="1" destOrd="0" presId="urn:microsoft.com/office/officeart/2005/8/layout/hierarchy6"/>
    <dgm:cxn modelId="{7988814A-A2EB-4E6E-A062-D316C4652CD8}" type="presParOf" srcId="{C52620E7-AD2E-4E9D-B022-1C73C92931F9}" destId="{6FA56598-C0EF-4C37-9EFB-837278D31531}" srcOrd="0" destOrd="0" presId="urn:microsoft.com/office/officeart/2005/8/layout/hierarchy6"/>
    <dgm:cxn modelId="{202F2C8F-4DEB-453D-84C4-EB56F8E61EAE}" type="presParOf" srcId="{C52620E7-AD2E-4E9D-B022-1C73C92931F9}" destId="{81626EDD-EF2E-48EB-86BB-10284FA425EA}" srcOrd="1" destOrd="0" presId="urn:microsoft.com/office/officeart/2005/8/layout/hierarchy6"/>
    <dgm:cxn modelId="{9735989F-832E-416F-BBE6-663D7590BB16}" type="presParOf" srcId="{1EFEF793-01D0-4965-BB14-8CF9CF812F14}" destId="{20D96A82-9190-49F3-8BD0-4E56209896C0}" srcOrd="2" destOrd="0" presId="urn:microsoft.com/office/officeart/2005/8/layout/hierarchy6"/>
    <dgm:cxn modelId="{AD21B8BD-C553-4BFC-963B-3BBE6CB8E548}" type="presParOf" srcId="{1EFEF793-01D0-4965-BB14-8CF9CF812F14}" destId="{B317808C-26AA-485A-8E3B-D4BFE46110F5}" srcOrd="3" destOrd="0" presId="urn:microsoft.com/office/officeart/2005/8/layout/hierarchy6"/>
    <dgm:cxn modelId="{71F48EC5-BBA3-4E7A-AEC9-A2C88F2D0274}" type="presParOf" srcId="{B317808C-26AA-485A-8E3B-D4BFE46110F5}" destId="{23FEAC29-ABEA-4C3F-B983-3175A7C6A644}" srcOrd="0" destOrd="0" presId="urn:microsoft.com/office/officeart/2005/8/layout/hierarchy6"/>
    <dgm:cxn modelId="{7EA27046-FBFF-4BED-963A-1054FCD82785}" type="presParOf" srcId="{B317808C-26AA-485A-8E3B-D4BFE46110F5}" destId="{29A6D0A1-4EA3-488F-A294-33C4301FB9B7}" srcOrd="1" destOrd="0" presId="urn:microsoft.com/office/officeart/2005/8/layout/hierarchy6"/>
    <dgm:cxn modelId="{FABEC8D9-D6CD-4055-9712-6AEED6FF00B1}" type="presParOf" srcId="{A255BD11-3BAD-4979-B0F5-CB02EF042F70}" destId="{ECC1434A-79C5-4CA7-B7F3-2A0AEB40077D}" srcOrd="1" destOrd="0" presId="urn:microsoft.com/office/officeart/2005/8/layout/hierarchy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87849-C7F2-462F-AAEA-1E3994A5C996}">
      <dsp:nvSpPr>
        <dsp:cNvPr id="0" name=""/>
        <dsp:cNvSpPr/>
      </dsp:nvSpPr>
      <dsp:spPr>
        <a:xfrm rot="16200000">
          <a:off x="-1819606" y="2689905"/>
          <a:ext cx="4292908" cy="5257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63724" bIns="0" numCol="1" spcCol="1270" anchor="t" anchorCtr="0">
          <a:noAutofit/>
        </a:bodyPr>
        <a:lstStyle/>
        <a:p>
          <a:pPr lvl="0" algn="r" defTabSz="1333500">
            <a:lnSpc>
              <a:spcPct val="90000"/>
            </a:lnSpc>
            <a:spcBef>
              <a:spcPct val="0"/>
            </a:spcBef>
            <a:spcAft>
              <a:spcPct val="35000"/>
            </a:spcAft>
          </a:pPr>
          <a:r>
            <a:rPr lang="en-IN" sz="3000" kern="1200" dirty="0">
              <a:solidFill>
                <a:schemeClr val="bg1">
                  <a:lumMod val="10000"/>
                </a:schemeClr>
              </a:solidFill>
              <a:latin typeface="Calibri" panose="020F0502020204030204" pitchFamily="34" charset="0"/>
              <a:cs typeface="Calibri" panose="020F0502020204030204" pitchFamily="34" charset="0"/>
            </a:rPr>
            <a:t>JMeter</a:t>
          </a:r>
        </a:p>
      </dsp:txBody>
      <dsp:txXfrm>
        <a:off x="-1819606" y="2689905"/>
        <a:ext cx="4292908" cy="525796"/>
      </dsp:txXfrm>
    </dsp:sp>
    <dsp:sp modelId="{18B19467-6D3E-41D1-ADA5-60198E5D927F}">
      <dsp:nvSpPr>
        <dsp:cNvPr id="0" name=""/>
        <dsp:cNvSpPr/>
      </dsp:nvSpPr>
      <dsp:spPr>
        <a:xfrm>
          <a:off x="589746" y="619629"/>
          <a:ext cx="2619026" cy="4666348"/>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463724" rIns="99568" bIns="99568" numCol="1" spcCol="1270" anchor="t" anchorCtr="0">
          <a:noAutofit/>
        </a:bodyPr>
        <a:lstStyle/>
        <a:p>
          <a:pPr marL="114300" lvl="1" indent="-114300" algn="l" defTabSz="622300">
            <a:lnSpc>
              <a:spcPct val="90000"/>
            </a:lnSpc>
            <a:spcBef>
              <a:spcPct val="0"/>
            </a:spcBef>
            <a:spcAft>
              <a:spcPct val="15000"/>
            </a:spcAft>
            <a:buChar char="••"/>
          </a:pPr>
          <a:endParaRPr lang="en-IN" sz="1400" kern="1200" dirty="0">
            <a:solidFill>
              <a:schemeClr val="bg1">
                <a:lumMod val="10000"/>
              </a:schemeClr>
            </a:solidFill>
            <a:latin typeface="Calibri" panose="020F0502020204030204" pitchFamily="34" charset="0"/>
            <a:cs typeface="Calibri" panose="020F0502020204030204" pitchFamily="34" charset="0"/>
          </a:endParaRPr>
        </a:p>
      </dsp:txBody>
      <dsp:txXfrm>
        <a:off x="589746" y="619629"/>
        <a:ext cx="2619026" cy="4666348"/>
      </dsp:txXfrm>
    </dsp:sp>
    <dsp:sp modelId="{13C7B7D6-8B4E-46B6-9A63-A884AE378115}">
      <dsp:nvSpPr>
        <dsp:cNvPr id="0" name=""/>
        <dsp:cNvSpPr/>
      </dsp:nvSpPr>
      <dsp:spPr>
        <a:xfrm>
          <a:off x="116282" y="217751"/>
          <a:ext cx="946928" cy="840686"/>
        </a:xfrm>
        <a:prstGeom prst="rect">
          <a:avLst/>
        </a:prstGeom>
        <a:solidFill>
          <a:schemeClr val="accent1">
            <a:tint val="50000"/>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A6D503D-C655-4C80-8C01-67FEF98686C1}">
      <dsp:nvSpPr>
        <dsp:cNvPr id="0" name=""/>
        <dsp:cNvSpPr/>
      </dsp:nvSpPr>
      <dsp:spPr>
        <a:xfrm rot="16200000">
          <a:off x="2008243" y="2689905"/>
          <a:ext cx="4292908" cy="5257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63724" bIns="0" numCol="1" spcCol="1270" anchor="t" anchorCtr="0">
          <a:noAutofit/>
        </a:bodyPr>
        <a:lstStyle/>
        <a:p>
          <a:pPr lvl="0" algn="r" defTabSz="1333500">
            <a:lnSpc>
              <a:spcPct val="90000"/>
            </a:lnSpc>
            <a:spcBef>
              <a:spcPct val="0"/>
            </a:spcBef>
            <a:spcAft>
              <a:spcPct val="35000"/>
            </a:spcAft>
          </a:pPr>
          <a:r>
            <a:rPr lang="en-IN" sz="3000" kern="1200" dirty="0">
              <a:solidFill>
                <a:schemeClr val="bg1">
                  <a:lumMod val="10000"/>
                </a:schemeClr>
              </a:solidFill>
              <a:latin typeface="Calibri" panose="020F0502020204030204" pitchFamily="34" charset="0"/>
              <a:cs typeface="Calibri" panose="020F0502020204030204" pitchFamily="34" charset="0"/>
            </a:rPr>
            <a:t>IBM RPT</a:t>
          </a:r>
        </a:p>
      </dsp:txBody>
      <dsp:txXfrm>
        <a:off x="2008243" y="2689905"/>
        <a:ext cx="4292908" cy="525796"/>
      </dsp:txXfrm>
    </dsp:sp>
    <dsp:sp modelId="{95E81728-2A5F-4DF0-BEE9-C2F59EA2CE8E}">
      <dsp:nvSpPr>
        <dsp:cNvPr id="0" name=""/>
        <dsp:cNvSpPr/>
      </dsp:nvSpPr>
      <dsp:spPr>
        <a:xfrm>
          <a:off x="4417596" y="619629"/>
          <a:ext cx="2619026" cy="4666348"/>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463724" rIns="99568" bIns="99568" numCol="1" spcCol="1270" anchor="t" anchorCtr="0">
          <a:noAutofit/>
        </a:bodyPr>
        <a:lstStyle/>
        <a:p>
          <a:pPr marL="114300" lvl="1" indent="-114300" algn="l" defTabSz="622300">
            <a:lnSpc>
              <a:spcPct val="90000"/>
            </a:lnSpc>
            <a:spcBef>
              <a:spcPct val="0"/>
            </a:spcBef>
            <a:spcAft>
              <a:spcPct val="15000"/>
            </a:spcAft>
            <a:buChar char="••"/>
          </a:pPr>
          <a:endParaRPr lang="en-IN" sz="1400" kern="1200" dirty="0">
            <a:solidFill>
              <a:schemeClr val="bg1">
                <a:lumMod val="10000"/>
              </a:schemeClr>
            </a:solidFill>
            <a:latin typeface="Calibri" panose="020F0502020204030204" pitchFamily="34" charset="0"/>
            <a:cs typeface="Calibri" panose="020F0502020204030204" pitchFamily="34" charset="0"/>
          </a:endParaRPr>
        </a:p>
      </dsp:txBody>
      <dsp:txXfrm>
        <a:off x="4417596" y="619629"/>
        <a:ext cx="2619026" cy="4666348"/>
      </dsp:txXfrm>
    </dsp:sp>
    <dsp:sp modelId="{4241BCED-6E7F-4346-AA82-15E5DA5AA319}">
      <dsp:nvSpPr>
        <dsp:cNvPr id="0" name=""/>
        <dsp:cNvSpPr/>
      </dsp:nvSpPr>
      <dsp:spPr>
        <a:xfrm>
          <a:off x="3944132" y="217751"/>
          <a:ext cx="946928" cy="840686"/>
        </a:xfrm>
        <a:prstGeom prst="rect">
          <a:avLst/>
        </a:prstGeom>
        <a:solidFill>
          <a:schemeClr val="accent1">
            <a:tint val="50000"/>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865C15D-0CFD-46EE-B78A-29CC89F4ECC8}">
      <dsp:nvSpPr>
        <dsp:cNvPr id="0" name=""/>
        <dsp:cNvSpPr/>
      </dsp:nvSpPr>
      <dsp:spPr>
        <a:xfrm rot="16200000">
          <a:off x="5836093" y="2689905"/>
          <a:ext cx="4292908" cy="5257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63724" bIns="0" numCol="1" spcCol="1270" anchor="t" anchorCtr="0">
          <a:noAutofit/>
        </a:bodyPr>
        <a:lstStyle/>
        <a:p>
          <a:pPr lvl="0" algn="r" defTabSz="1333500">
            <a:lnSpc>
              <a:spcPct val="90000"/>
            </a:lnSpc>
            <a:spcBef>
              <a:spcPct val="0"/>
            </a:spcBef>
            <a:spcAft>
              <a:spcPct val="35000"/>
            </a:spcAft>
          </a:pPr>
          <a:r>
            <a:rPr lang="en-IN" sz="3000" kern="1200" dirty="0">
              <a:solidFill>
                <a:schemeClr val="bg1">
                  <a:lumMod val="10000"/>
                </a:schemeClr>
              </a:solidFill>
              <a:latin typeface="Calibri" panose="020F0502020204030204" pitchFamily="34" charset="0"/>
              <a:cs typeface="Calibri" panose="020F0502020204030204" pitchFamily="34" charset="0"/>
            </a:rPr>
            <a:t>Load Runner</a:t>
          </a:r>
        </a:p>
      </dsp:txBody>
      <dsp:txXfrm>
        <a:off x="5836093" y="2689905"/>
        <a:ext cx="4292908" cy="525796"/>
      </dsp:txXfrm>
    </dsp:sp>
    <dsp:sp modelId="{AB7CFEFB-AA59-44D4-B6E8-81F39371B510}">
      <dsp:nvSpPr>
        <dsp:cNvPr id="0" name=""/>
        <dsp:cNvSpPr/>
      </dsp:nvSpPr>
      <dsp:spPr>
        <a:xfrm>
          <a:off x="8245446" y="619629"/>
          <a:ext cx="2619026" cy="4666348"/>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463724" rIns="99568" bIns="99568" numCol="1" spcCol="1270" anchor="t" anchorCtr="0">
          <a:noAutofit/>
        </a:bodyPr>
        <a:lstStyle/>
        <a:p>
          <a:pPr marL="114300" lvl="1" indent="-114300" algn="l" defTabSz="622300">
            <a:lnSpc>
              <a:spcPct val="90000"/>
            </a:lnSpc>
            <a:spcBef>
              <a:spcPct val="0"/>
            </a:spcBef>
            <a:spcAft>
              <a:spcPct val="15000"/>
            </a:spcAft>
            <a:buChar char="••"/>
          </a:pPr>
          <a:endParaRPr lang="en-IN" sz="1400" kern="1200" dirty="0">
            <a:solidFill>
              <a:schemeClr val="bg1">
                <a:lumMod val="10000"/>
              </a:schemeClr>
            </a:solidFill>
            <a:latin typeface="Calibri" panose="020F0502020204030204" pitchFamily="34" charset="0"/>
            <a:cs typeface="Calibri" panose="020F0502020204030204" pitchFamily="34" charset="0"/>
          </a:endParaRPr>
        </a:p>
        <a:p>
          <a:pPr marL="114300" lvl="1" indent="-114300" algn="l" defTabSz="622300">
            <a:lnSpc>
              <a:spcPct val="90000"/>
            </a:lnSpc>
            <a:spcBef>
              <a:spcPct val="0"/>
            </a:spcBef>
            <a:spcAft>
              <a:spcPct val="15000"/>
            </a:spcAft>
            <a:buChar char="••"/>
          </a:pPr>
          <a:endParaRPr lang="en-IN" sz="1400" kern="1200" dirty="0">
            <a:solidFill>
              <a:schemeClr val="bg1">
                <a:lumMod val="10000"/>
              </a:schemeClr>
            </a:solidFill>
            <a:latin typeface="Calibri" panose="020F0502020204030204" pitchFamily="34" charset="0"/>
            <a:cs typeface="Calibri" panose="020F0502020204030204" pitchFamily="34" charset="0"/>
          </a:endParaRPr>
        </a:p>
      </dsp:txBody>
      <dsp:txXfrm>
        <a:off x="8245446" y="619629"/>
        <a:ext cx="2619026" cy="4666348"/>
      </dsp:txXfrm>
    </dsp:sp>
    <dsp:sp modelId="{414B9AC0-7FD5-429F-9C94-BE7E0E175009}">
      <dsp:nvSpPr>
        <dsp:cNvPr id="0" name=""/>
        <dsp:cNvSpPr/>
      </dsp:nvSpPr>
      <dsp:spPr>
        <a:xfrm>
          <a:off x="7771982" y="217751"/>
          <a:ext cx="946928" cy="840686"/>
        </a:xfrm>
        <a:prstGeom prst="rect">
          <a:avLst/>
        </a:prstGeom>
        <a:solidFill>
          <a:schemeClr val="accent1">
            <a:tint val="50000"/>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E4B229-1639-4BFE-84AA-67BE9AFC7C4E}">
      <dsp:nvSpPr>
        <dsp:cNvPr id="0" name=""/>
        <dsp:cNvSpPr/>
      </dsp:nvSpPr>
      <dsp:spPr>
        <a:xfrm>
          <a:off x="5093524" y="13130"/>
          <a:ext cx="1364979" cy="677274"/>
        </a:xfrm>
        <a:prstGeom prst="roundRect">
          <a:avLst>
            <a:gd name="adj" fmla="val 10000"/>
          </a:avLst>
        </a:prstGeom>
        <a:solidFill>
          <a:schemeClr val="lt1">
            <a:hueOff val="0"/>
            <a:satOff val="0"/>
            <a:lumOff val="0"/>
            <a:alphaOff val="0"/>
          </a:schemeClr>
        </a:solidFill>
        <a:ln w="55000" cap="flat" cmpd="thickThin"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IN" sz="1100" kern="1200" dirty="0">
              <a:solidFill>
                <a:srgbClr val="53565A"/>
              </a:solidFill>
              <a:latin typeface="Calibri" panose="020F0502020204030204" pitchFamily="34" charset="0"/>
              <a:cs typeface="Calibri" panose="020F0502020204030204" pitchFamily="34" charset="0"/>
            </a:rPr>
            <a:t>Project Sponsor</a:t>
          </a:r>
        </a:p>
        <a:p>
          <a:pPr lvl="0" algn="ctr" defTabSz="488950">
            <a:lnSpc>
              <a:spcPct val="90000"/>
            </a:lnSpc>
            <a:spcBef>
              <a:spcPct val="0"/>
            </a:spcBef>
            <a:spcAft>
              <a:spcPct val="35000"/>
            </a:spcAft>
          </a:pPr>
          <a:r>
            <a:rPr lang="en-IN" sz="1100" b="1" kern="1200" dirty="0">
              <a:solidFill>
                <a:srgbClr val="53565A"/>
              </a:solidFill>
              <a:latin typeface="Calibri" panose="020F0502020204030204" pitchFamily="34" charset="0"/>
              <a:cs typeface="Calibri" panose="020F0502020204030204" pitchFamily="34" charset="0"/>
            </a:rPr>
            <a:t>IT Management</a:t>
          </a:r>
        </a:p>
      </dsp:txBody>
      <dsp:txXfrm>
        <a:off x="5113361" y="32967"/>
        <a:ext cx="1325305" cy="637600"/>
      </dsp:txXfrm>
    </dsp:sp>
    <dsp:sp modelId="{33E9F3E4-7366-4E1A-AD27-3876C2913D0D}">
      <dsp:nvSpPr>
        <dsp:cNvPr id="0" name=""/>
        <dsp:cNvSpPr/>
      </dsp:nvSpPr>
      <dsp:spPr>
        <a:xfrm>
          <a:off x="5730294" y="690404"/>
          <a:ext cx="91440" cy="270909"/>
        </a:xfrm>
        <a:custGeom>
          <a:avLst/>
          <a:gdLst/>
          <a:ahLst/>
          <a:cxnLst/>
          <a:rect l="0" t="0" r="0" b="0"/>
          <a:pathLst>
            <a:path>
              <a:moveTo>
                <a:pt x="45720" y="0"/>
              </a:moveTo>
              <a:lnTo>
                <a:pt x="45720" y="270909"/>
              </a:lnTo>
            </a:path>
          </a:pathLst>
        </a:custGeom>
        <a:noFill/>
        <a:ln w="55000" cap="flat" cmpd="thickThin"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F999DD-FEE6-4695-8381-6435B130E73A}">
      <dsp:nvSpPr>
        <dsp:cNvPr id="0" name=""/>
        <dsp:cNvSpPr/>
      </dsp:nvSpPr>
      <dsp:spPr>
        <a:xfrm>
          <a:off x="5134892" y="961314"/>
          <a:ext cx="1282243" cy="677274"/>
        </a:xfrm>
        <a:prstGeom prst="roundRect">
          <a:avLst>
            <a:gd name="adj" fmla="val 10000"/>
          </a:avLst>
        </a:prstGeom>
        <a:solidFill>
          <a:schemeClr val="lt1">
            <a:hueOff val="0"/>
            <a:satOff val="0"/>
            <a:lumOff val="0"/>
            <a:alphaOff val="0"/>
          </a:schemeClr>
        </a:solidFill>
        <a:ln w="55000" cap="flat" cmpd="thickThin"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IN" sz="1100" kern="1200" dirty="0">
              <a:solidFill>
                <a:srgbClr val="53565A"/>
              </a:solidFill>
              <a:latin typeface="Calibri" panose="020F0502020204030204" pitchFamily="34" charset="0"/>
              <a:cs typeface="Calibri" panose="020F0502020204030204" pitchFamily="34" charset="0"/>
            </a:rPr>
            <a:t>Project Manger</a:t>
          </a:r>
        </a:p>
        <a:p>
          <a:pPr lvl="0" algn="ctr" defTabSz="488950">
            <a:lnSpc>
              <a:spcPct val="90000"/>
            </a:lnSpc>
            <a:spcBef>
              <a:spcPct val="0"/>
            </a:spcBef>
            <a:spcAft>
              <a:spcPct val="35000"/>
            </a:spcAft>
          </a:pPr>
          <a:r>
            <a:rPr lang="en-GB" sz="1100" b="1" kern="1200" dirty="0">
              <a:solidFill>
                <a:srgbClr val="53565A"/>
              </a:solidFill>
              <a:latin typeface="Calibri" panose="020F0502020204030204" pitchFamily="34" charset="0"/>
              <a:cs typeface="Calibri" panose="020F0502020204030204" pitchFamily="34" charset="0"/>
            </a:rPr>
            <a:t>Wael Alghadban</a:t>
          </a:r>
          <a:endParaRPr lang="en-IN" sz="1100" b="1" kern="1200" dirty="0">
            <a:solidFill>
              <a:srgbClr val="53565A"/>
            </a:solidFill>
            <a:latin typeface="Calibri" panose="020F0502020204030204" pitchFamily="34" charset="0"/>
            <a:cs typeface="Calibri" panose="020F0502020204030204" pitchFamily="34" charset="0"/>
          </a:endParaRPr>
        </a:p>
      </dsp:txBody>
      <dsp:txXfrm>
        <a:off x="5154729" y="981151"/>
        <a:ext cx="1242569" cy="637600"/>
      </dsp:txXfrm>
    </dsp:sp>
    <dsp:sp modelId="{B43E5FD5-7333-45D0-AA0D-9177C2F397AC}">
      <dsp:nvSpPr>
        <dsp:cNvPr id="0" name=""/>
        <dsp:cNvSpPr/>
      </dsp:nvSpPr>
      <dsp:spPr>
        <a:xfrm>
          <a:off x="3536819" y="1638589"/>
          <a:ext cx="2239194" cy="258014"/>
        </a:xfrm>
        <a:custGeom>
          <a:avLst/>
          <a:gdLst/>
          <a:ahLst/>
          <a:cxnLst/>
          <a:rect l="0" t="0" r="0" b="0"/>
          <a:pathLst>
            <a:path>
              <a:moveTo>
                <a:pt x="2239194" y="0"/>
              </a:moveTo>
              <a:lnTo>
                <a:pt x="2239194" y="129007"/>
              </a:lnTo>
              <a:lnTo>
                <a:pt x="0" y="129007"/>
              </a:lnTo>
              <a:lnTo>
                <a:pt x="0" y="258014"/>
              </a:lnTo>
            </a:path>
          </a:pathLst>
        </a:custGeom>
        <a:noFill/>
        <a:ln w="55000" cap="flat" cmpd="thickThin" algn="ctr">
          <a:solidFill>
            <a:schemeClr val="dk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DD2A74F-4459-4AE6-AED1-90EA5ABFBF30}">
      <dsp:nvSpPr>
        <dsp:cNvPr id="0" name=""/>
        <dsp:cNvSpPr/>
      </dsp:nvSpPr>
      <dsp:spPr>
        <a:xfrm>
          <a:off x="2854330" y="1896603"/>
          <a:ext cx="1364979" cy="677274"/>
        </a:xfrm>
        <a:prstGeom prst="roundRect">
          <a:avLst>
            <a:gd name="adj" fmla="val 10000"/>
          </a:avLst>
        </a:prstGeom>
        <a:solidFill>
          <a:schemeClr val="lt1">
            <a:hueOff val="0"/>
            <a:satOff val="0"/>
            <a:lumOff val="0"/>
            <a:alphaOff val="0"/>
          </a:schemeClr>
        </a:solidFill>
        <a:ln w="55000" cap="flat" cmpd="thickThin"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IN" sz="1100" kern="1200" dirty="0">
              <a:solidFill>
                <a:srgbClr val="53565A"/>
              </a:solidFill>
              <a:latin typeface="Calibri" panose="020F0502020204030204" pitchFamily="34" charset="0"/>
              <a:cs typeface="Calibri" panose="020F0502020204030204" pitchFamily="34" charset="0"/>
            </a:rPr>
            <a:t>Support Teams</a:t>
          </a:r>
        </a:p>
      </dsp:txBody>
      <dsp:txXfrm>
        <a:off x="2874167" y="1916440"/>
        <a:ext cx="1325305" cy="637600"/>
      </dsp:txXfrm>
    </dsp:sp>
    <dsp:sp modelId="{2171EE08-51DA-4AC9-A1E2-6C2A815BAAB7}">
      <dsp:nvSpPr>
        <dsp:cNvPr id="0" name=""/>
        <dsp:cNvSpPr/>
      </dsp:nvSpPr>
      <dsp:spPr>
        <a:xfrm>
          <a:off x="1082168" y="2573878"/>
          <a:ext cx="2454651" cy="270909"/>
        </a:xfrm>
        <a:custGeom>
          <a:avLst/>
          <a:gdLst/>
          <a:ahLst/>
          <a:cxnLst/>
          <a:rect l="0" t="0" r="0" b="0"/>
          <a:pathLst>
            <a:path>
              <a:moveTo>
                <a:pt x="2454651" y="0"/>
              </a:moveTo>
              <a:lnTo>
                <a:pt x="2454651" y="135454"/>
              </a:lnTo>
              <a:lnTo>
                <a:pt x="0" y="135454"/>
              </a:lnTo>
              <a:lnTo>
                <a:pt x="0" y="270909"/>
              </a:lnTo>
            </a:path>
          </a:pathLst>
        </a:custGeom>
        <a:noFill/>
        <a:ln w="55000" cap="flat" cmpd="thickThin" algn="ctr">
          <a:solidFill>
            <a:schemeClr val="dk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11B0767-EA1C-42F3-9D53-F9A15782A339}">
      <dsp:nvSpPr>
        <dsp:cNvPr id="0" name=""/>
        <dsp:cNvSpPr/>
      </dsp:nvSpPr>
      <dsp:spPr>
        <a:xfrm>
          <a:off x="399678" y="2844788"/>
          <a:ext cx="1364979" cy="677274"/>
        </a:xfrm>
        <a:prstGeom prst="roundRect">
          <a:avLst>
            <a:gd name="adj" fmla="val 10000"/>
          </a:avLst>
        </a:prstGeom>
        <a:solidFill>
          <a:schemeClr val="lt1">
            <a:hueOff val="0"/>
            <a:satOff val="0"/>
            <a:lumOff val="0"/>
            <a:alphaOff val="0"/>
          </a:schemeClr>
        </a:solidFill>
        <a:ln w="55000" cap="flat" cmpd="thickThin"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IN" sz="1100" kern="1200" dirty="0">
              <a:solidFill>
                <a:srgbClr val="53565A"/>
              </a:solidFill>
              <a:latin typeface="Calibri" panose="020F0502020204030204" pitchFamily="34" charset="0"/>
              <a:cs typeface="Calibri" panose="020F0502020204030204" pitchFamily="34" charset="0"/>
            </a:rPr>
            <a:t>Infrastructure</a:t>
          </a:r>
        </a:p>
        <a:p>
          <a:pPr lvl="0" algn="ctr" defTabSz="488950">
            <a:lnSpc>
              <a:spcPct val="90000"/>
            </a:lnSpc>
            <a:spcBef>
              <a:spcPct val="0"/>
            </a:spcBef>
            <a:spcAft>
              <a:spcPct val="35000"/>
            </a:spcAft>
          </a:pPr>
          <a:r>
            <a:rPr lang="en-GB" sz="1100" b="1" kern="1200" dirty="0">
              <a:solidFill>
                <a:srgbClr val="53565A"/>
              </a:solidFill>
              <a:latin typeface="Calibri" panose="020F0502020204030204" pitchFamily="34" charset="0"/>
              <a:cs typeface="Calibri" panose="020F0502020204030204" pitchFamily="34" charset="0"/>
            </a:rPr>
            <a:t>Abdullah AlHaddad</a:t>
          </a:r>
          <a:endParaRPr lang="en-IN" sz="1100" b="1" kern="1200" dirty="0">
            <a:solidFill>
              <a:srgbClr val="53565A"/>
            </a:solidFill>
            <a:latin typeface="Calibri" panose="020F0502020204030204" pitchFamily="34" charset="0"/>
            <a:cs typeface="Calibri" panose="020F0502020204030204" pitchFamily="34" charset="0"/>
          </a:endParaRPr>
        </a:p>
      </dsp:txBody>
      <dsp:txXfrm>
        <a:off x="419515" y="2864625"/>
        <a:ext cx="1325305" cy="637600"/>
      </dsp:txXfrm>
    </dsp:sp>
    <dsp:sp modelId="{6B35C08D-4F3F-48D0-A7F3-F1688FBF4C5D}">
      <dsp:nvSpPr>
        <dsp:cNvPr id="0" name=""/>
        <dsp:cNvSpPr/>
      </dsp:nvSpPr>
      <dsp:spPr>
        <a:xfrm>
          <a:off x="2809579" y="2573878"/>
          <a:ext cx="727240" cy="270909"/>
        </a:xfrm>
        <a:custGeom>
          <a:avLst/>
          <a:gdLst/>
          <a:ahLst/>
          <a:cxnLst/>
          <a:rect l="0" t="0" r="0" b="0"/>
          <a:pathLst>
            <a:path>
              <a:moveTo>
                <a:pt x="727240" y="0"/>
              </a:moveTo>
              <a:lnTo>
                <a:pt x="727240" y="135454"/>
              </a:lnTo>
              <a:lnTo>
                <a:pt x="0" y="135454"/>
              </a:lnTo>
              <a:lnTo>
                <a:pt x="0" y="270909"/>
              </a:lnTo>
            </a:path>
          </a:pathLst>
        </a:custGeom>
        <a:noFill/>
        <a:ln w="55000" cap="flat" cmpd="thickThin" algn="ctr">
          <a:solidFill>
            <a:schemeClr val="dk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55C4028-FE07-40C8-9205-44161389ED16}">
      <dsp:nvSpPr>
        <dsp:cNvPr id="0" name=""/>
        <dsp:cNvSpPr/>
      </dsp:nvSpPr>
      <dsp:spPr>
        <a:xfrm>
          <a:off x="2069431" y="2844788"/>
          <a:ext cx="1480295" cy="677274"/>
        </a:xfrm>
        <a:prstGeom prst="roundRect">
          <a:avLst>
            <a:gd name="adj" fmla="val 10000"/>
          </a:avLst>
        </a:prstGeom>
        <a:solidFill>
          <a:schemeClr val="lt1">
            <a:hueOff val="0"/>
            <a:satOff val="0"/>
            <a:lumOff val="0"/>
            <a:alphaOff val="0"/>
          </a:schemeClr>
        </a:solidFill>
        <a:ln w="55000" cap="flat" cmpd="thickThin"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IN" sz="1100" kern="1200" dirty="0">
              <a:solidFill>
                <a:srgbClr val="53565A"/>
              </a:solidFill>
              <a:latin typeface="Calibri" panose="020F0502020204030204" pitchFamily="34" charset="0"/>
              <a:cs typeface="Calibri" panose="020F0502020204030204" pitchFamily="34" charset="0"/>
            </a:rPr>
            <a:t>ITCC &amp; Staging Team</a:t>
          </a:r>
        </a:p>
        <a:p>
          <a:pPr lvl="0" algn="ctr" defTabSz="488950">
            <a:lnSpc>
              <a:spcPct val="90000"/>
            </a:lnSpc>
            <a:spcBef>
              <a:spcPct val="0"/>
            </a:spcBef>
            <a:spcAft>
              <a:spcPct val="35000"/>
            </a:spcAft>
          </a:pPr>
          <a:r>
            <a:rPr lang="en-GB" sz="1100" b="1" kern="1200" dirty="0">
              <a:solidFill>
                <a:srgbClr val="53565A"/>
              </a:solidFill>
              <a:latin typeface="Calibri" panose="020F0502020204030204" pitchFamily="34" charset="0"/>
              <a:cs typeface="Calibri" panose="020F0502020204030204" pitchFamily="34" charset="0"/>
            </a:rPr>
            <a:t>Fawaz Shamim &amp;</a:t>
          </a:r>
        </a:p>
        <a:p>
          <a:pPr lvl="0" algn="ctr" defTabSz="488950">
            <a:lnSpc>
              <a:spcPct val="90000"/>
            </a:lnSpc>
            <a:spcBef>
              <a:spcPct val="0"/>
            </a:spcBef>
            <a:spcAft>
              <a:spcPct val="35000"/>
            </a:spcAft>
          </a:pPr>
          <a:r>
            <a:rPr lang="en-GB" sz="1100" b="1" kern="1200" dirty="0">
              <a:solidFill>
                <a:srgbClr val="53565A"/>
              </a:solidFill>
              <a:latin typeface="Calibri" panose="020F0502020204030204" pitchFamily="34" charset="0"/>
              <a:cs typeface="Calibri" panose="020F0502020204030204" pitchFamily="34" charset="0"/>
            </a:rPr>
            <a:t>Hassan AlTalib</a:t>
          </a:r>
          <a:endParaRPr lang="en-IN" sz="1100" b="1" kern="1200" dirty="0">
            <a:solidFill>
              <a:srgbClr val="53565A"/>
            </a:solidFill>
            <a:latin typeface="Calibri" panose="020F0502020204030204" pitchFamily="34" charset="0"/>
            <a:cs typeface="Calibri" panose="020F0502020204030204" pitchFamily="34" charset="0"/>
          </a:endParaRPr>
        </a:p>
      </dsp:txBody>
      <dsp:txXfrm>
        <a:off x="2089268" y="2864625"/>
        <a:ext cx="1440621" cy="637600"/>
      </dsp:txXfrm>
    </dsp:sp>
    <dsp:sp modelId="{618CB15D-6475-46EB-A73E-88FE4EA60CA9}">
      <dsp:nvSpPr>
        <dsp:cNvPr id="0" name=""/>
        <dsp:cNvSpPr/>
      </dsp:nvSpPr>
      <dsp:spPr>
        <a:xfrm>
          <a:off x="3536819" y="2573878"/>
          <a:ext cx="1000170" cy="270909"/>
        </a:xfrm>
        <a:custGeom>
          <a:avLst/>
          <a:gdLst/>
          <a:ahLst/>
          <a:cxnLst/>
          <a:rect l="0" t="0" r="0" b="0"/>
          <a:pathLst>
            <a:path>
              <a:moveTo>
                <a:pt x="0" y="0"/>
              </a:moveTo>
              <a:lnTo>
                <a:pt x="0" y="135454"/>
              </a:lnTo>
              <a:lnTo>
                <a:pt x="1000170" y="135454"/>
              </a:lnTo>
              <a:lnTo>
                <a:pt x="1000170" y="270909"/>
              </a:lnTo>
            </a:path>
          </a:pathLst>
        </a:custGeom>
        <a:noFill/>
        <a:ln w="55000" cap="flat" cmpd="thickThin" algn="ctr">
          <a:solidFill>
            <a:schemeClr val="dk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F196F65-DC04-4093-A116-A3A9F7ED789D}">
      <dsp:nvSpPr>
        <dsp:cNvPr id="0" name=""/>
        <dsp:cNvSpPr/>
      </dsp:nvSpPr>
      <dsp:spPr>
        <a:xfrm>
          <a:off x="3854500" y="2844788"/>
          <a:ext cx="1364979" cy="677274"/>
        </a:xfrm>
        <a:prstGeom prst="roundRect">
          <a:avLst>
            <a:gd name="adj" fmla="val 10000"/>
          </a:avLst>
        </a:prstGeom>
        <a:solidFill>
          <a:schemeClr val="lt1">
            <a:hueOff val="0"/>
            <a:satOff val="0"/>
            <a:lumOff val="0"/>
            <a:alphaOff val="0"/>
          </a:schemeClr>
        </a:solidFill>
        <a:ln w="55000" cap="flat" cmpd="thickThin"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IN" sz="1100" kern="1200" dirty="0">
              <a:solidFill>
                <a:srgbClr val="53565A"/>
              </a:solidFill>
              <a:latin typeface="Calibri" panose="020F0502020204030204" pitchFamily="34" charset="0"/>
              <a:cs typeface="Calibri" panose="020F0502020204030204" pitchFamily="34" charset="0"/>
            </a:rPr>
            <a:t>App/Dev Team</a:t>
          </a:r>
        </a:p>
      </dsp:txBody>
      <dsp:txXfrm>
        <a:off x="3874337" y="2864625"/>
        <a:ext cx="1325305" cy="637600"/>
      </dsp:txXfrm>
    </dsp:sp>
    <dsp:sp modelId="{47BDEF41-449D-4E6B-A727-863F7325B755}">
      <dsp:nvSpPr>
        <dsp:cNvPr id="0" name=""/>
        <dsp:cNvSpPr/>
      </dsp:nvSpPr>
      <dsp:spPr>
        <a:xfrm>
          <a:off x="2032360" y="3522063"/>
          <a:ext cx="2504629" cy="270909"/>
        </a:xfrm>
        <a:custGeom>
          <a:avLst/>
          <a:gdLst/>
          <a:ahLst/>
          <a:cxnLst/>
          <a:rect l="0" t="0" r="0" b="0"/>
          <a:pathLst>
            <a:path>
              <a:moveTo>
                <a:pt x="2504629" y="0"/>
              </a:moveTo>
              <a:lnTo>
                <a:pt x="2504629" y="135454"/>
              </a:lnTo>
              <a:lnTo>
                <a:pt x="0" y="135454"/>
              </a:lnTo>
              <a:lnTo>
                <a:pt x="0" y="270909"/>
              </a:lnTo>
            </a:path>
          </a:pathLst>
        </a:custGeom>
        <a:noFill/>
        <a:ln w="55000" cap="flat" cmpd="thickThin" algn="ctr">
          <a:solidFill>
            <a:schemeClr val="dk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1BDAC6-DCE6-4444-95F5-6B1B472F1D55}">
      <dsp:nvSpPr>
        <dsp:cNvPr id="0" name=""/>
        <dsp:cNvSpPr/>
      </dsp:nvSpPr>
      <dsp:spPr>
        <a:xfrm>
          <a:off x="1349871" y="3792973"/>
          <a:ext cx="1364979" cy="677274"/>
        </a:xfrm>
        <a:prstGeom prst="roundRect">
          <a:avLst>
            <a:gd name="adj" fmla="val 10000"/>
          </a:avLst>
        </a:prstGeom>
        <a:solidFill>
          <a:schemeClr val="lt1">
            <a:hueOff val="0"/>
            <a:satOff val="0"/>
            <a:lumOff val="0"/>
            <a:alphaOff val="0"/>
          </a:schemeClr>
        </a:solidFill>
        <a:ln w="55000" cap="flat" cmpd="thickThin"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IN" sz="1100" kern="1200" dirty="0">
              <a:solidFill>
                <a:srgbClr val="53565A"/>
              </a:solidFill>
              <a:latin typeface="Calibri" panose="020F0502020204030204" pitchFamily="34" charset="0"/>
              <a:cs typeface="Calibri" panose="020F0502020204030204" pitchFamily="34" charset="0"/>
            </a:rPr>
            <a:t>Kony/VBL</a:t>
          </a:r>
        </a:p>
        <a:p>
          <a:pPr lvl="0" algn="ctr" defTabSz="488950">
            <a:lnSpc>
              <a:spcPct val="90000"/>
            </a:lnSpc>
            <a:spcBef>
              <a:spcPct val="0"/>
            </a:spcBef>
            <a:spcAft>
              <a:spcPct val="35000"/>
            </a:spcAft>
          </a:pPr>
          <a:r>
            <a:rPr lang="en-GB" sz="1100" b="1" kern="1200" dirty="0">
              <a:solidFill>
                <a:srgbClr val="53565A"/>
              </a:solidFill>
              <a:latin typeface="Calibri" panose="020F0502020204030204" pitchFamily="34" charset="0"/>
              <a:cs typeface="Calibri" panose="020F0502020204030204" pitchFamily="34" charset="0"/>
            </a:rPr>
            <a:t>Sulaman Riaz/Asif Ishaq</a:t>
          </a:r>
          <a:endParaRPr lang="en-IN" sz="1100" b="1" kern="1200" dirty="0">
            <a:solidFill>
              <a:srgbClr val="53565A"/>
            </a:solidFill>
            <a:latin typeface="Calibri" panose="020F0502020204030204" pitchFamily="34" charset="0"/>
            <a:cs typeface="Calibri" panose="020F0502020204030204" pitchFamily="34" charset="0"/>
          </a:endParaRPr>
        </a:p>
      </dsp:txBody>
      <dsp:txXfrm>
        <a:off x="1369708" y="3812810"/>
        <a:ext cx="1325305" cy="637600"/>
      </dsp:txXfrm>
    </dsp:sp>
    <dsp:sp modelId="{A0B3461A-0BC1-4D52-8469-69413E095213}">
      <dsp:nvSpPr>
        <dsp:cNvPr id="0" name=""/>
        <dsp:cNvSpPr/>
      </dsp:nvSpPr>
      <dsp:spPr>
        <a:xfrm>
          <a:off x="3702113" y="3522063"/>
          <a:ext cx="834876" cy="270909"/>
        </a:xfrm>
        <a:custGeom>
          <a:avLst/>
          <a:gdLst/>
          <a:ahLst/>
          <a:cxnLst/>
          <a:rect l="0" t="0" r="0" b="0"/>
          <a:pathLst>
            <a:path>
              <a:moveTo>
                <a:pt x="834876" y="0"/>
              </a:moveTo>
              <a:lnTo>
                <a:pt x="834876" y="135454"/>
              </a:lnTo>
              <a:lnTo>
                <a:pt x="0" y="135454"/>
              </a:lnTo>
              <a:lnTo>
                <a:pt x="0" y="270909"/>
              </a:lnTo>
            </a:path>
          </a:pathLst>
        </a:custGeom>
        <a:noFill/>
        <a:ln w="55000" cap="flat" cmpd="thickThin" algn="ctr">
          <a:solidFill>
            <a:schemeClr val="dk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E174E4C-ED13-4EED-8866-3DC9D172AD35}">
      <dsp:nvSpPr>
        <dsp:cNvPr id="0" name=""/>
        <dsp:cNvSpPr/>
      </dsp:nvSpPr>
      <dsp:spPr>
        <a:xfrm>
          <a:off x="3019624" y="3792973"/>
          <a:ext cx="1364979" cy="677274"/>
        </a:xfrm>
        <a:prstGeom prst="roundRect">
          <a:avLst>
            <a:gd name="adj" fmla="val 10000"/>
          </a:avLst>
        </a:prstGeom>
        <a:solidFill>
          <a:schemeClr val="lt1">
            <a:hueOff val="0"/>
            <a:satOff val="0"/>
            <a:lumOff val="0"/>
            <a:alphaOff val="0"/>
          </a:schemeClr>
        </a:solidFill>
        <a:ln w="55000" cap="flat" cmpd="thickThin"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IN" sz="1100" kern="1200" dirty="0">
              <a:solidFill>
                <a:srgbClr val="53565A"/>
              </a:solidFill>
              <a:latin typeface="Calibri" panose="020F0502020204030204" pitchFamily="34" charset="0"/>
              <a:cs typeface="Calibri" panose="020F0502020204030204" pitchFamily="34" charset="0"/>
            </a:rPr>
            <a:t>CRM</a:t>
          </a:r>
        </a:p>
        <a:p>
          <a:pPr lvl="0" algn="ctr" defTabSz="488950">
            <a:lnSpc>
              <a:spcPct val="90000"/>
            </a:lnSpc>
            <a:spcBef>
              <a:spcPct val="0"/>
            </a:spcBef>
            <a:spcAft>
              <a:spcPct val="35000"/>
            </a:spcAft>
          </a:pPr>
          <a:r>
            <a:rPr lang="en-GB" sz="1100" b="1" kern="1200" dirty="0">
              <a:solidFill>
                <a:srgbClr val="53565A"/>
              </a:solidFill>
              <a:latin typeface="Calibri" panose="020F0502020204030204" pitchFamily="34" charset="0"/>
              <a:cs typeface="Calibri" panose="020F0502020204030204" pitchFamily="34" charset="0"/>
            </a:rPr>
            <a:t>Abdulhameed AlHassan</a:t>
          </a:r>
          <a:endParaRPr lang="en-IN" sz="1100" b="1" kern="1200" dirty="0">
            <a:solidFill>
              <a:srgbClr val="53565A"/>
            </a:solidFill>
            <a:latin typeface="Calibri" panose="020F0502020204030204" pitchFamily="34" charset="0"/>
            <a:cs typeface="Calibri" panose="020F0502020204030204" pitchFamily="34" charset="0"/>
          </a:endParaRPr>
        </a:p>
      </dsp:txBody>
      <dsp:txXfrm>
        <a:off x="3039461" y="3812810"/>
        <a:ext cx="1325305" cy="637600"/>
      </dsp:txXfrm>
    </dsp:sp>
    <dsp:sp modelId="{FFCCF94A-CF14-4A37-BB78-132A45EC79C0}">
      <dsp:nvSpPr>
        <dsp:cNvPr id="0" name=""/>
        <dsp:cNvSpPr/>
      </dsp:nvSpPr>
      <dsp:spPr>
        <a:xfrm>
          <a:off x="4536990" y="3522063"/>
          <a:ext cx="834876" cy="270909"/>
        </a:xfrm>
        <a:custGeom>
          <a:avLst/>
          <a:gdLst/>
          <a:ahLst/>
          <a:cxnLst/>
          <a:rect l="0" t="0" r="0" b="0"/>
          <a:pathLst>
            <a:path>
              <a:moveTo>
                <a:pt x="0" y="0"/>
              </a:moveTo>
              <a:lnTo>
                <a:pt x="0" y="135454"/>
              </a:lnTo>
              <a:lnTo>
                <a:pt x="834876" y="135454"/>
              </a:lnTo>
              <a:lnTo>
                <a:pt x="834876" y="270909"/>
              </a:lnTo>
            </a:path>
          </a:pathLst>
        </a:custGeom>
        <a:noFill/>
        <a:ln w="55000" cap="flat" cmpd="thickThin" algn="ctr">
          <a:solidFill>
            <a:schemeClr val="dk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7CB9B7-7850-4F5C-A5FD-891E40C135D4}">
      <dsp:nvSpPr>
        <dsp:cNvPr id="0" name=""/>
        <dsp:cNvSpPr/>
      </dsp:nvSpPr>
      <dsp:spPr>
        <a:xfrm>
          <a:off x="4689377" y="3792973"/>
          <a:ext cx="1364979" cy="677274"/>
        </a:xfrm>
        <a:prstGeom prst="roundRect">
          <a:avLst>
            <a:gd name="adj" fmla="val 10000"/>
          </a:avLst>
        </a:prstGeom>
        <a:solidFill>
          <a:schemeClr val="lt1">
            <a:hueOff val="0"/>
            <a:satOff val="0"/>
            <a:lumOff val="0"/>
            <a:alphaOff val="0"/>
          </a:schemeClr>
        </a:solidFill>
        <a:ln w="55000" cap="flat" cmpd="thickThin"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IN" sz="1100" kern="1200" dirty="0">
              <a:solidFill>
                <a:srgbClr val="53565A"/>
              </a:solidFill>
              <a:latin typeface="Calibri" panose="020F0502020204030204" pitchFamily="34" charset="0"/>
              <a:cs typeface="Calibri" panose="020F0502020204030204" pitchFamily="34" charset="0"/>
            </a:rPr>
            <a:t>UBS</a:t>
          </a:r>
        </a:p>
        <a:p>
          <a:pPr lvl="0" algn="ctr" defTabSz="488950">
            <a:lnSpc>
              <a:spcPct val="90000"/>
            </a:lnSpc>
            <a:spcBef>
              <a:spcPct val="0"/>
            </a:spcBef>
            <a:spcAft>
              <a:spcPct val="35000"/>
            </a:spcAft>
          </a:pPr>
          <a:r>
            <a:rPr lang="en-GB" sz="1100" b="1" kern="1200" dirty="0">
              <a:solidFill>
                <a:srgbClr val="53565A"/>
              </a:solidFill>
              <a:latin typeface="Calibri" panose="020F0502020204030204" pitchFamily="34" charset="0"/>
              <a:cs typeface="Calibri" panose="020F0502020204030204" pitchFamily="34" charset="0"/>
            </a:rPr>
            <a:t>Joseph Yaghlji</a:t>
          </a:r>
          <a:endParaRPr lang="en-IN" sz="1100" b="1" kern="1200" dirty="0">
            <a:solidFill>
              <a:srgbClr val="53565A"/>
            </a:solidFill>
            <a:latin typeface="Calibri" panose="020F0502020204030204" pitchFamily="34" charset="0"/>
            <a:cs typeface="Calibri" panose="020F0502020204030204" pitchFamily="34" charset="0"/>
          </a:endParaRPr>
        </a:p>
      </dsp:txBody>
      <dsp:txXfrm>
        <a:off x="4709214" y="3812810"/>
        <a:ext cx="1325305" cy="637600"/>
      </dsp:txXfrm>
    </dsp:sp>
    <dsp:sp modelId="{84186163-D9B5-4EAF-8ADB-531B3F37C870}">
      <dsp:nvSpPr>
        <dsp:cNvPr id="0" name=""/>
        <dsp:cNvSpPr/>
      </dsp:nvSpPr>
      <dsp:spPr>
        <a:xfrm>
          <a:off x="4536990" y="3522063"/>
          <a:ext cx="2504629" cy="270909"/>
        </a:xfrm>
        <a:custGeom>
          <a:avLst/>
          <a:gdLst/>
          <a:ahLst/>
          <a:cxnLst/>
          <a:rect l="0" t="0" r="0" b="0"/>
          <a:pathLst>
            <a:path>
              <a:moveTo>
                <a:pt x="0" y="0"/>
              </a:moveTo>
              <a:lnTo>
                <a:pt x="0" y="135454"/>
              </a:lnTo>
              <a:lnTo>
                <a:pt x="2504629" y="135454"/>
              </a:lnTo>
              <a:lnTo>
                <a:pt x="2504629" y="270909"/>
              </a:lnTo>
            </a:path>
          </a:pathLst>
        </a:custGeom>
        <a:noFill/>
        <a:ln w="55000" cap="flat" cmpd="thickThin" algn="ctr">
          <a:solidFill>
            <a:schemeClr val="dk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63E1982-2553-4819-B49A-414D74E97BEF}">
      <dsp:nvSpPr>
        <dsp:cNvPr id="0" name=""/>
        <dsp:cNvSpPr/>
      </dsp:nvSpPr>
      <dsp:spPr>
        <a:xfrm>
          <a:off x="6359130" y="3792973"/>
          <a:ext cx="1364979" cy="677274"/>
        </a:xfrm>
        <a:prstGeom prst="roundRect">
          <a:avLst>
            <a:gd name="adj" fmla="val 10000"/>
          </a:avLst>
        </a:prstGeom>
        <a:solidFill>
          <a:schemeClr val="lt1">
            <a:hueOff val="0"/>
            <a:satOff val="0"/>
            <a:lumOff val="0"/>
            <a:alphaOff val="0"/>
          </a:schemeClr>
        </a:solidFill>
        <a:ln w="55000" cap="flat" cmpd="thickThin"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IN" sz="1100" kern="1200" dirty="0" smtClean="0">
              <a:solidFill>
                <a:srgbClr val="53565A"/>
              </a:solidFill>
              <a:latin typeface="Calibri" panose="020F0502020204030204" pitchFamily="34" charset="0"/>
              <a:cs typeface="Calibri" panose="020F0502020204030204" pitchFamily="34" charset="0"/>
            </a:rPr>
            <a:t>Middleware/SI</a:t>
          </a:r>
          <a:endParaRPr lang="en-IN" sz="1100" kern="1200" dirty="0">
            <a:solidFill>
              <a:srgbClr val="53565A"/>
            </a:solidFill>
            <a:latin typeface="Calibri" panose="020F0502020204030204" pitchFamily="34" charset="0"/>
            <a:cs typeface="Calibri" panose="020F0502020204030204" pitchFamily="34" charset="0"/>
          </a:endParaRPr>
        </a:p>
        <a:p>
          <a:pPr lvl="0" algn="ctr" defTabSz="488950">
            <a:lnSpc>
              <a:spcPct val="90000"/>
            </a:lnSpc>
            <a:spcBef>
              <a:spcPct val="0"/>
            </a:spcBef>
            <a:spcAft>
              <a:spcPct val="35000"/>
            </a:spcAft>
          </a:pPr>
          <a:r>
            <a:rPr lang="en-GB" sz="1100" b="1" kern="1200" dirty="0">
              <a:solidFill>
                <a:srgbClr val="53565A"/>
              </a:solidFill>
              <a:latin typeface="Calibri" panose="020F0502020204030204" pitchFamily="34" charset="0"/>
              <a:cs typeface="Calibri" panose="020F0502020204030204" pitchFamily="34" charset="0"/>
            </a:rPr>
            <a:t>Baqer Alghatam</a:t>
          </a:r>
          <a:endParaRPr lang="en-IN" sz="1100" b="1" kern="1200" dirty="0">
            <a:solidFill>
              <a:srgbClr val="53565A"/>
            </a:solidFill>
            <a:latin typeface="Calibri" panose="020F0502020204030204" pitchFamily="34" charset="0"/>
            <a:cs typeface="Calibri" panose="020F0502020204030204" pitchFamily="34" charset="0"/>
          </a:endParaRPr>
        </a:p>
      </dsp:txBody>
      <dsp:txXfrm>
        <a:off x="6378967" y="3812810"/>
        <a:ext cx="1325305" cy="637600"/>
      </dsp:txXfrm>
    </dsp:sp>
    <dsp:sp modelId="{4707C6F9-F816-417A-8635-93E1ACBD548E}">
      <dsp:nvSpPr>
        <dsp:cNvPr id="0" name=""/>
        <dsp:cNvSpPr/>
      </dsp:nvSpPr>
      <dsp:spPr>
        <a:xfrm>
          <a:off x="3536819" y="2573878"/>
          <a:ext cx="2562287" cy="270909"/>
        </a:xfrm>
        <a:custGeom>
          <a:avLst/>
          <a:gdLst/>
          <a:ahLst/>
          <a:cxnLst/>
          <a:rect l="0" t="0" r="0" b="0"/>
          <a:pathLst>
            <a:path>
              <a:moveTo>
                <a:pt x="0" y="0"/>
              </a:moveTo>
              <a:lnTo>
                <a:pt x="0" y="135454"/>
              </a:lnTo>
              <a:lnTo>
                <a:pt x="2562287" y="135454"/>
              </a:lnTo>
              <a:lnTo>
                <a:pt x="2562287" y="270909"/>
              </a:lnTo>
            </a:path>
          </a:pathLst>
        </a:custGeom>
        <a:noFill/>
        <a:ln w="55000" cap="flat" cmpd="thickThin" algn="ctr">
          <a:solidFill>
            <a:schemeClr val="dk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F0BBC70-21D0-4426-960E-0B61079946CA}">
      <dsp:nvSpPr>
        <dsp:cNvPr id="0" name=""/>
        <dsp:cNvSpPr/>
      </dsp:nvSpPr>
      <dsp:spPr>
        <a:xfrm>
          <a:off x="5524253" y="2844788"/>
          <a:ext cx="1149707" cy="677274"/>
        </a:xfrm>
        <a:prstGeom prst="roundRect">
          <a:avLst>
            <a:gd name="adj" fmla="val 10000"/>
          </a:avLst>
        </a:prstGeom>
        <a:solidFill>
          <a:schemeClr val="lt1">
            <a:hueOff val="0"/>
            <a:satOff val="0"/>
            <a:lumOff val="0"/>
            <a:alphaOff val="0"/>
          </a:schemeClr>
        </a:solidFill>
        <a:ln w="55000" cap="flat" cmpd="thickThin"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IN" sz="1100" b="0" kern="1200" dirty="0">
              <a:solidFill>
                <a:srgbClr val="53565A"/>
              </a:solidFill>
              <a:latin typeface="Calibri" panose="020F0502020204030204" pitchFamily="34" charset="0"/>
              <a:cs typeface="Calibri" panose="020F0502020204030204" pitchFamily="34" charset="0"/>
            </a:rPr>
            <a:t>Data centre</a:t>
          </a:r>
        </a:p>
      </dsp:txBody>
      <dsp:txXfrm>
        <a:off x="5544090" y="2864625"/>
        <a:ext cx="1110033" cy="637600"/>
      </dsp:txXfrm>
    </dsp:sp>
    <dsp:sp modelId="{8DAF1B77-8F11-4098-A8D1-905CAE8B99D4}">
      <dsp:nvSpPr>
        <dsp:cNvPr id="0" name=""/>
        <dsp:cNvSpPr/>
      </dsp:nvSpPr>
      <dsp:spPr>
        <a:xfrm>
          <a:off x="5776014" y="1638589"/>
          <a:ext cx="2935358" cy="258014"/>
        </a:xfrm>
        <a:custGeom>
          <a:avLst/>
          <a:gdLst/>
          <a:ahLst/>
          <a:cxnLst/>
          <a:rect l="0" t="0" r="0" b="0"/>
          <a:pathLst>
            <a:path>
              <a:moveTo>
                <a:pt x="0" y="0"/>
              </a:moveTo>
              <a:lnTo>
                <a:pt x="0" y="129007"/>
              </a:lnTo>
              <a:lnTo>
                <a:pt x="2935358" y="129007"/>
              </a:lnTo>
              <a:lnTo>
                <a:pt x="2935358" y="258014"/>
              </a:lnTo>
            </a:path>
          </a:pathLst>
        </a:custGeom>
        <a:noFill/>
        <a:ln w="55000" cap="flat" cmpd="thickThin" algn="ctr">
          <a:solidFill>
            <a:schemeClr val="dk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6569392-8889-4A40-A3D6-8085611015CC}">
      <dsp:nvSpPr>
        <dsp:cNvPr id="0" name=""/>
        <dsp:cNvSpPr/>
      </dsp:nvSpPr>
      <dsp:spPr>
        <a:xfrm>
          <a:off x="8028883" y="1896603"/>
          <a:ext cx="1364979" cy="677274"/>
        </a:xfrm>
        <a:prstGeom prst="roundRect">
          <a:avLst>
            <a:gd name="adj" fmla="val 10000"/>
          </a:avLst>
        </a:prstGeom>
        <a:solidFill>
          <a:schemeClr val="lt1">
            <a:hueOff val="0"/>
            <a:satOff val="0"/>
            <a:lumOff val="0"/>
            <a:alphaOff val="0"/>
          </a:schemeClr>
        </a:solidFill>
        <a:ln w="55000" cap="flat" cmpd="thickThin"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IN" sz="1100" kern="1200" dirty="0">
              <a:solidFill>
                <a:srgbClr val="53565A"/>
              </a:solidFill>
              <a:latin typeface="Calibri" panose="020F0502020204030204" pitchFamily="34" charset="0"/>
              <a:cs typeface="Calibri" panose="020F0502020204030204" pitchFamily="34" charset="0"/>
            </a:rPr>
            <a:t>Testing Team</a:t>
          </a:r>
        </a:p>
      </dsp:txBody>
      <dsp:txXfrm>
        <a:off x="8048720" y="1916440"/>
        <a:ext cx="1325305" cy="637600"/>
      </dsp:txXfrm>
    </dsp:sp>
    <dsp:sp modelId="{68D460FC-BA81-4191-8D6F-8DC8B693E9D5}">
      <dsp:nvSpPr>
        <dsp:cNvPr id="0" name=""/>
        <dsp:cNvSpPr/>
      </dsp:nvSpPr>
      <dsp:spPr>
        <a:xfrm>
          <a:off x="7729778" y="2573878"/>
          <a:ext cx="981594" cy="270909"/>
        </a:xfrm>
        <a:custGeom>
          <a:avLst/>
          <a:gdLst/>
          <a:ahLst/>
          <a:cxnLst/>
          <a:rect l="0" t="0" r="0" b="0"/>
          <a:pathLst>
            <a:path>
              <a:moveTo>
                <a:pt x="981594" y="0"/>
              </a:moveTo>
              <a:lnTo>
                <a:pt x="981594" y="135454"/>
              </a:lnTo>
              <a:lnTo>
                <a:pt x="0" y="135454"/>
              </a:lnTo>
              <a:lnTo>
                <a:pt x="0" y="270909"/>
              </a:lnTo>
            </a:path>
          </a:pathLst>
        </a:custGeom>
        <a:noFill/>
        <a:ln w="55000" cap="flat" cmpd="thickThin" algn="ctr">
          <a:solidFill>
            <a:schemeClr val="dk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5C8EB6C-604A-4EF1-824F-663829CDD101}">
      <dsp:nvSpPr>
        <dsp:cNvPr id="0" name=""/>
        <dsp:cNvSpPr/>
      </dsp:nvSpPr>
      <dsp:spPr>
        <a:xfrm>
          <a:off x="7047288" y="2844788"/>
          <a:ext cx="1364979" cy="677274"/>
        </a:xfrm>
        <a:prstGeom prst="roundRect">
          <a:avLst>
            <a:gd name="adj" fmla="val 10000"/>
          </a:avLst>
        </a:prstGeom>
        <a:solidFill>
          <a:schemeClr val="lt1">
            <a:hueOff val="0"/>
            <a:satOff val="0"/>
            <a:lumOff val="0"/>
            <a:alphaOff val="0"/>
          </a:schemeClr>
        </a:solidFill>
        <a:ln w="55000" cap="flat" cmpd="thickThin"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IN" sz="1100" kern="1200" dirty="0">
              <a:solidFill>
                <a:srgbClr val="53565A"/>
              </a:solidFill>
              <a:latin typeface="Calibri" panose="020F0502020204030204" pitchFamily="34" charset="0"/>
              <a:cs typeface="Calibri" panose="020F0502020204030204" pitchFamily="34" charset="0"/>
            </a:rPr>
            <a:t>Functional Team</a:t>
          </a:r>
        </a:p>
        <a:p>
          <a:pPr lvl="0" algn="ctr" defTabSz="488950">
            <a:lnSpc>
              <a:spcPct val="90000"/>
            </a:lnSpc>
            <a:spcBef>
              <a:spcPct val="0"/>
            </a:spcBef>
            <a:spcAft>
              <a:spcPct val="35000"/>
            </a:spcAft>
          </a:pPr>
          <a:r>
            <a:rPr lang="en-GB" sz="1100" b="1" kern="1200" dirty="0">
              <a:solidFill>
                <a:srgbClr val="53565A"/>
              </a:solidFill>
              <a:latin typeface="Calibri" panose="020F0502020204030204" pitchFamily="34" charset="0"/>
              <a:cs typeface="Calibri" panose="020F0502020204030204" pitchFamily="34" charset="0"/>
            </a:rPr>
            <a:t>Arunkarthick Thangaraj</a:t>
          </a:r>
          <a:endParaRPr lang="en-IN" sz="1100" b="1" kern="1200" dirty="0">
            <a:solidFill>
              <a:srgbClr val="53565A"/>
            </a:solidFill>
            <a:latin typeface="Calibri" panose="020F0502020204030204" pitchFamily="34" charset="0"/>
            <a:cs typeface="Calibri" panose="020F0502020204030204" pitchFamily="34" charset="0"/>
          </a:endParaRPr>
        </a:p>
      </dsp:txBody>
      <dsp:txXfrm>
        <a:off x="7067125" y="2864625"/>
        <a:ext cx="1325305" cy="637600"/>
      </dsp:txXfrm>
    </dsp:sp>
    <dsp:sp modelId="{E49E042D-D644-4A9E-B439-3DF062B39E1A}">
      <dsp:nvSpPr>
        <dsp:cNvPr id="0" name=""/>
        <dsp:cNvSpPr/>
      </dsp:nvSpPr>
      <dsp:spPr>
        <a:xfrm>
          <a:off x="8711372" y="2573878"/>
          <a:ext cx="834876" cy="270909"/>
        </a:xfrm>
        <a:custGeom>
          <a:avLst/>
          <a:gdLst/>
          <a:ahLst/>
          <a:cxnLst/>
          <a:rect l="0" t="0" r="0" b="0"/>
          <a:pathLst>
            <a:path>
              <a:moveTo>
                <a:pt x="0" y="0"/>
              </a:moveTo>
              <a:lnTo>
                <a:pt x="0" y="135454"/>
              </a:lnTo>
              <a:lnTo>
                <a:pt x="834876" y="135454"/>
              </a:lnTo>
              <a:lnTo>
                <a:pt x="834876" y="270909"/>
              </a:lnTo>
            </a:path>
          </a:pathLst>
        </a:custGeom>
        <a:noFill/>
        <a:ln w="55000" cap="flat" cmpd="thickThin" algn="ctr">
          <a:solidFill>
            <a:schemeClr val="dk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71AE605-BD48-4D16-8317-74EC8CCE910B}">
      <dsp:nvSpPr>
        <dsp:cNvPr id="0" name=""/>
        <dsp:cNvSpPr/>
      </dsp:nvSpPr>
      <dsp:spPr>
        <a:xfrm>
          <a:off x="8717041" y="2844788"/>
          <a:ext cx="1658415" cy="677274"/>
        </a:xfrm>
        <a:prstGeom prst="roundRect">
          <a:avLst>
            <a:gd name="adj" fmla="val 10000"/>
          </a:avLst>
        </a:prstGeom>
        <a:solidFill>
          <a:schemeClr val="lt1">
            <a:hueOff val="0"/>
            <a:satOff val="0"/>
            <a:lumOff val="0"/>
            <a:alphaOff val="0"/>
          </a:schemeClr>
        </a:solidFill>
        <a:ln w="55000" cap="flat" cmpd="thickThin"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IN" sz="1100" kern="1200" dirty="0">
              <a:solidFill>
                <a:srgbClr val="53565A"/>
              </a:solidFill>
              <a:latin typeface="Calibri" panose="020F0502020204030204" pitchFamily="34" charset="0"/>
              <a:cs typeface="Calibri" panose="020F0502020204030204" pitchFamily="34" charset="0"/>
            </a:rPr>
            <a:t>Performance Team</a:t>
          </a:r>
        </a:p>
      </dsp:txBody>
      <dsp:txXfrm>
        <a:off x="8736878" y="2864625"/>
        <a:ext cx="1618741" cy="637600"/>
      </dsp:txXfrm>
    </dsp:sp>
    <dsp:sp modelId="{876E9261-5B1F-48DE-99C1-C6DC0FE450AD}">
      <dsp:nvSpPr>
        <dsp:cNvPr id="0" name=""/>
        <dsp:cNvSpPr/>
      </dsp:nvSpPr>
      <dsp:spPr>
        <a:xfrm>
          <a:off x="9500529" y="3522063"/>
          <a:ext cx="91440" cy="270909"/>
        </a:xfrm>
        <a:custGeom>
          <a:avLst/>
          <a:gdLst/>
          <a:ahLst/>
          <a:cxnLst/>
          <a:rect l="0" t="0" r="0" b="0"/>
          <a:pathLst>
            <a:path>
              <a:moveTo>
                <a:pt x="45720" y="0"/>
              </a:moveTo>
              <a:lnTo>
                <a:pt x="45720" y="270909"/>
              </a:lnTo>
            </a:path>
          </a:pathLst>
        </a:custGeom>
        <a:noFill/>
        <a:ln w="55000" cap="flat" cmpd="thickThin" algn="ctr">
          <a:solidFill>
            <a:schemeClr val="dk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7012CE2-71F5-47BF-AA54-8AC9875EB3E5}">
      <dsp:nvSpPr>
        <dsp:cNvPr id="0" name=""/>
        <dsp:cNvSpPr/>
      </dsp:nvSpPr>
      <dsp:spPr>
        <a:xfrm>
          <a:off x="8863759" y="3792973"/>
          <a:ext cx="1364979" cy="677274"/>
        </a:xfrm>
        <a:prstGeom prst="roundRect">
          <a:avLst>
            <a:gd name="adj" fmla="val 10000"/>
          </a:avLst>
        </a:prstGeom>
        <a:solidFill>
          <a:schemeClr val="lt1">
            <a:hueOff val="0"/>
            <a:satOff val="0"/>
            <a:lumOff val="0"/>
            <a:alphaOff val="0"/>
          </a:schemeClr>
        </a:solidFill>
        <a:ln w="55000" cap="flat" cmpd="thickThin"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IN" sz="1100" kern="1200" dirty="0">
              <a:solidFill>
                <a:srgbClr val="53565A"/>
              </a:solidFill>
              <a:latin typeface="Calibri" panose="020F0502020204030204" pitchFamily="34" charset="0"/>
              <a:cs typeface="Calibri" panose="020F0502020204030204" pitchFamily="34" charset="0"/>
            </a:rPr>
            <a:t>Test Lead</a:t>
          </a:r>
        </a:p>
        <a:p>
          <a:pPr lvl="0" algn="ctr" defTabSz="488950">
            <a:lnSpc>
              <a:spcPct val="90000"/>
            </a:lnSpc>
            <a:spcBef>
              <a:spcPct val="0"/>
            </a:spcBef>
            <a:spcAft>
              <a:spcPct val="35000"/>
            </a:spcAft>
          </a:pPr>
          <a:r>
            <a:rPr lang="en-IN" sz="1100" b="1" kern="1200" dirty="0">
              <a:solidFill>
                <a:srgbClr val="53565A"/>
              </a:solidFill>
              <a:latin typeface="Calibri" panose="020F0502020204030204" pitchFamily="34" charset="0"/>
              <a:cs typeface="Calibri" panose="020F0502020204030204" pitchFamily="34" charset="0"/>
            </a:rPr>
            <a:t>Guna</a:t>
          </a:r>
        </a:p>
      </dsp:txBody>
      <dsp:txXfrm>
        <a:off x="8883596" y="3812810"/>
        <a:ext cx="1325305" cy="637600"/>
      </dsp:txXfrm>
    </dsp:sp>
    <dsp:sp modelId="{235776E1-E7A4-4107-982D-8529E01518D3}">
      <dsp:nvSpPr>
        <dsp:cNvPr id="0" name=""/>
        <dsp:cNvSpPr/>
      </dsp:nvSpPr>
      <dsp:spPr>
        <a:xfrm>
          <a:off x="8711372" y="4470247"/>
          <a:ext cx="834876" cy="270909"/>
        </a:xfrm>
        <a:custGeom>
          <a:avLst/>
          <a:gdLst/>
          <a:ahLst/>
          <a:cxnLst/>
          <a:rect l="0" t="0" r="0" b="0"/>
          <a:pathLst>
            <a:path>
              <a:moveTo>
                <a:pt x="834876" y="0"/>
              </a:moveTo>
              <a:lnTo>
                <a:pt x="834876" y="135454"/>
              </a:lnTo>
              <a:lnTo>
                <a:pt x="0" y="135454"/>
              </a:lnTo>
              <a:lnTo>
                <a:pt x="0" y="270909"/>
              </a:lnTo>
            </a:path>
          </a:pathLst>
        </a:custGeom>
        <a:noFill/>
        <a:ln w="55000" cap="flat" cmpd="thickThin" algn="ctr">
          <a:solidFill>
            <a:schemeClr val="dk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FA56598-C0EF-4C37-9EFB-837278D31531}">
      <dsp:nvSpPr>
        <dsp:cNvPr id="0" name=""/>
        <dsp:cNvSpPr/>
      </dsp:nvSpPr>
      <dsp:spPr>
        <a:xfrm>
          <a:off x="8028883" y="4741157"/>
          <a:ext cx="1364979" cy="677274"/>
        </a:xfrm>
        <a:prstGeom prst="roundRect">
          <a:avLst>
            <a:gd name="adj" fmla="val 10000"/>
          </a:avLst>
        </a:prstGeom>
        <a:solidFill>
          <a:schemeClr val="lt1">
            <a:hueOff val="0"/>
            <a:satOff val="0"/>
            <a:lumOff val="0"/>
            <a:alphaOff val="0"/>
          </a:schemeClr>
        </a:solidFill>
        <a:ln w="55000" cap="flat" cmpd="thickThin"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100000"/>
            </a:lnSpc>
            <a:spcBef>
              <a:spcPct val="0"/>
            </a:spcBef>
            <a:spcAft>
              <a:spcPct val="35000"/>
            </a:spcAft>
          </a:pPr>
          <a:r>
            <a:rPr lang="en-IN" sz="1100" kern="1200" dirty="0">
              <a:solidFill>
                <a:srgbClr val="53565A"/>
              </a:solidFill>
              <a:latin typeface="Calibri" panose="020F0502020204030204" pitchFamily="34" charset="0"/>
              <a:cs typeface="Calibri" panose="020F0502020204030204" pitchFamily="34" charset="0"/>
            </a:rPr>
            <a:t>Test Engineer</a:t>
          </a:r>
        </a:p>
        <a:p>
          <a:pPr lvl="0" algn="ctr" defTabSz="488950">
            <a:lnSpc>
              <a:spcPct val="100000"/>
            </a:lnSpc>
            <a:spcBef>
              <a:spcPct val="0"/>
            </a:spcBef>
            <a:spcAft>
              <a:spcPct val="35000"/>
            </a:spcAft>
          </a:pPr>
          <a:r>
            <a:rPr lang="en-IN" sz="1100" b="1" kern="1200" dirty="0">
              <a:solidFill>
                <a:srgbClr val="53565A"/>
              </a:solidFill>
              <a:latin typeface="Calibri" panose="020F0502020204030204" pitchFamily="34" charset="0"/>
              <a:cs typeface="Calibri" panose="020F0502020204030204" pitchFamily="34" charset="0"/>
            </a:rPr>
            <a:t>Vimal</a:t>
          </a:r>
        </a:p>
      </dsp:txBody>
      <dsp:txXfrm>
        <a:off x="8048720" y="4760994"/>
        <a:ext cx="1325305" cy="637600"/>
      </dsp:txXfrm>
    </dsp:sp>
    <dsp:sp modelId="{20D96A82-9190-49F3-8BD0-4E56209896C0}">
      <dsp:nvSpPr>
        <dsp:cNvPr id="0" name=""/>
        <dsp:cNvSpPr/>
      </dsp:nvSpPr>
      <dsp:spPr>
        <a:xfrm>
          <a:off x="9546249" y="4470247"/>
          <a:ext cx="834876" cy="270909"/>
        </a:xfrm>
        <a:custGeom>
          <a:avLst/>
          <a:gdLst/>
          <a:ahLst/>
          <a:cxnLst/>
          <a:rect l="0" t="0" r="0" b="0"/>
          <a:pathLst>
            <a:path>
              <a:moveTo>
                <a:pt x="0" y="0"/>
              </a:moveTo>
              <a:lnTo>
                <a:pt x="0" y="135454"/>
              </a:lnTo>
              <a:lnTo>
                <a:pt x="834876" y="135454"/>
              </a:lnTo>
              <a:lnTo>
                <a:pt x="834876" y="270909"/>
              </a:lnTo>
            </a:path>
          </a:pathLst>
        </a:custGeom>
        <a:noFill/>
        <a:ln w="55000" cap="flat" cmpd="thickThin" algn="ctr">
          <a:solidFill>
            <a:schemeClr val="dk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3FEAC29-ABEA-4C3F-B983-3175A7C6A644}">
      <dsp:nvSpPr>
        <dsp:cNvPr id="0" name=""/>
        <dsp:cNvSpPr/>
      </dsp:nvSpPr>
      <dsp:spPr>
        <a:xfrm>
          <a:off x="9698636" y="4741157"/>
          <a:ext cx="1364979" cy="677274"/>
        </a:xfrm>
        <a:prstGeom prst="roundRect">
          <a:avLst>
            <a:gd name="adj" fmla="val 10000"/>
          </a:avLst>
        </a:prstGeom>
        <a:solidFill>
          <a:schemeClr val="lt1">
            <a:hueOff val="0"/>
            <a:satOff val="0"/>
            <a:lumOff val="0"/>
            <a:alphaOff val="0"/>
          </a:schemeClr>
        </a:solidFill>
        <a:ln w="55000" cap="flat" cmpd="thickThin"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IN" sz="1100" kern="1200" dirty="0">
              <a:solidFill>
                <a:srgbClr val="53565A"/>
              </a:solidFill>
              <a:latin typeface="Calibri" panose="020F0502020204030204" pitchFamily="34" charset="0"/>
              <a:cs typeface="Calibri" panose="020F0502020204030204" pitchFamily="34" charset="0"/>
            </a:rPr>
            <a:t>Test Engineer 2</a:t>
          </a:r>
        </a:p>
      </dsp:txBody>
      <dsp:txXfrm>
        <a:off x="9718473" y="4760994"/>
        <a:ext cx="1325305" cy="637600"/>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4.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7ADBB38-FC21-4DDB-B374-4F3A6B740FA3}" type="datetimeFigureOut">
              <a:rPr lang="en-GB" smtClean="0"/>
              <a:t>03/03/2020</a:t>
            </a:fld>
            <a:endParaRPr lang="en-GB"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7F5B782-057D-4D67-8FD1-B3FD75868550}" type="slidenum">
              <a:rPr lang="en-GB" smtClean="0"/>
              <a:t>‹#›</a:t>
            </a:fld>
            <a:endParaRPr lang="en-GB" dirty="0"/>
          </a:p>
        </p:txBody>
      </p:sp>
    </p:spTree>
    <p:extLst>
      <p:ext uri="{BB962C8B-B14F-4D97-AF65-F5344CB8AC3E}">
        <p14:creationId xmlns:p14="http://schemas.microsoft.com/office/powerpoint/2010/main" val="37473188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noProof="0"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4C0EE9-1F1E-4D3C-8485-4BF87F2A9177}" type="datetimeFigureOut">
              <a:rPr lang="en-GB" noProof="0" smtClean="0"/>
              <a:t>03/03/2020</a:t>
            </a:fld>
            <a:endParaRPr lang="en-GB" noProof="0"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noProof="0"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noProof="0"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5A2E64-6D0A-44A4-8880-B3B6274C19DA}" type="slidenum">
              <a:rPr lang="en-GB" noProof="0" smtClean="0"/>
              <a:t>‹#›</a:t>
            </a:fld>
            <a:endParaRPr lang="en-GB" noProof="0" dirty="0"/>
          </a:p>
        </p:txBody>
      </p:sp>
    </p:spTree>
    <p:extLst>
      <p:ext uri="{BB962C8B-B14F-4D97-AF65-F5344CB8AC3E}">
        <p14:creationId xmlns:p14="http://schemas.microsoft.com/office/powerpoint/2010/main" val="25298361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Title 14"/>
          <p:cNvSpPr>
            <a:spLocks noGrp="1"/>
          </p:cNvSpPr>
          <p:nvPr>
            <p:ph type="title" hasCustomPrompt="1"/>
          </p:nvPr>
        </p:nvSpPr>
        <p:spPr>
          <a:xfrm>
            <a:off x="603056" y="303480"/>
            <a:ext cx="6312613" cy="1325563"/>
          </a:xfrm>
          <a:prstGeom prst="rect">
            <a:avLst/>
          </a:prstGeom>
        </p:spPr>
        <p:txBody>
          <a:bodyPr lIns="91440" tIns="45720" rIns="91440" bIns="45720"/>
          <a:lstStyle>
            <a:lvl1pPr marL="0" indent="0">
              <a:defRPr sz="3200" b="0">
                <a:solidFill>
                  <a:srgbClr val="55565A"/>
                </a:solidFill>
                <a:latin typeface="Arial" panose="020B0604020202020204" pitchFamily="34" charset="0"/>
                <a:cs typeface="Arial" panose="020B0604020202020204" pitchFamily="34" charset="0"/>
              </a:defRPr>
            </a:lvl1pPr>
          </a:lstStyle>
          <a:p>
            <a:r>
              <a:rPr lang="en-GB" noProof="0" dirty="0"/>
              <a:t>Title</a:t>
            </a:r>
          </a:p>
        </p:txBody>
      </p:sp>
      <p:sp>
        <p:nvSpPr>
          <p:cNvPr id="19" name="Text Placeholder 9"/>
          <p:cNvSpPr>
            <a:spLocks noGrp="1"/>
          </p:cNvSpPr>
          <p:nvPr>
            <p:ph type="body" sz="quarter" idx="11" hasCustomPrompt="1"/>
          </p:nvPr>
        </p:nvSpPr>
        <p:spPr>
          <a:xfrm>
            <a:off x="603739" y="1648871"/>
            <a:ext cx="6312876" cy="903288"/>
          </a:xfrm>
          <a:prstGeom prst="rect">
            <a:avLst/>
          </a:prstGeom>
        </p:spPr>
        <p:txBody>
          <a:bodyPr/>
          <a:lstStyle>
            <a:lvl1pPr marL="0" indent="0">
              <a:buNone/>
              <a:defRPr sz="2000">
                <a:solidFill>
                  <a:srgbClr val="55565A"/>
                </a:solidFill>
                <a:latin typeface="Arial" panose="020B0604020202020204" pitchFamily="34" charset="0"/>
                <a:cs typeface="Arial" panose="020B0604020202020204" pitchFamily="34" charset="0"/>
              </a:defRPr>
            </a:lvl1pPr>
            <a:lvl2pPr>
              <a:defRPr>
                <a:solidFill>
                  <a:srgbClr val="D9D9D6"/>
                </a:solidFill>
              </a:defRPr>
            </a:lvl2pPr>
            <a:lvl3pPr>
              <a:defRPr>
                <a:solidFill>
                  <a:srgbClr val="D9D9D6"/>
                </a:solidFill>
              </a:defRPr>
            </a:lvl3pPr>
            <a:lvl4pPr>
              <a:defRPr>
                <a:solidFill>
                  <a:srgbClr val="D9D9D6"/>
                </a:solidFill>
              </a:defRPr>
            </a:lvl4pPr>
            <a:lvl5pPr>
              <a:defRPr>
                <a:solidFill>
                  <a:srgbClr val="D9D9D6"/>
                </a:solidFill>
              </a:defRPr>
            </a:lvl5pPr>
          </a:lstStyle>
          <a:p>
            <a:pPr lvl="0"/>
            <a:r>
              <a:rPr lang="en-GB" noProof="0" dirty="0"/>
              <a:t>Sub-title</a:t>
            </a:r>
          </a:p>
        </p:txBody>
      </p:sp>
      <p:sp>
        <p:nvSpPr>
          <p:cNvPr id="7" name="Text Placeholder 9"/>
          <p:cNvSpPr>
            <a:spLocks noGrp="1"/>
          </p:cNvSpPr>
          <p:nvPr>
            <p:ph type="body" sz="quarter" idx="12" hasCustomPrompt="1"/>
          </p:nvPr>
        </p:nvSpPr>
        <p:spPr>
          <a:xfrm>
            <a:off x="603739" y="3301744"/>
            <a:ext cx="4164037" cy="457200"/>
          </a:xfrm>
          <a:prstGeom prst="rect">
            <a:avLst/>
          </a:prstGeom>
        </p:spPr>
        <p:txBody>
          <a:bodyPr/>
          <a:lstStyle>
            <a:lvl1pPr marL="0" indent="0">
              <a:buNone/>
              <a:defRPr sz="2000">
                <a:solidFill>
                  <a:srgbClr val="FFCB05"/>
                </a:solidFill>
                <a:latin typeface="Arial" panose="020B0604020202020204" pitchFamily="34" charset="0"/>
                <a:cs typeface="Arial" panose="020B0604020202020204" pitchFamily="34" charset="0"/>
              </a:defRPr>
            </a:lvl1pPr>
            <a:lvl2pPr>
              <a:defRPr>
                <a:solidFill>
                  <a:srgbClr val="D9D9D6"/>
                </a:solidFill>
              </a:defRPr>
            </a:lvl2pPr>
            <a:lvl3pPr>
              <a:defRPr>
                <a:solidFill>
                  <a:srgbClr val="D9D9D6"/>
                </a:solidFill>
              </a:defRPr>
            </a:lvl3pPr>
            <a:lvl4pPr>
              <a:defRPr>
                <a:solidFill>
                  <a:srgbClr val="D9D9D6"/>
                </a:solidFill>
              </a:defRPr>
            </a:lvl4pPr>
            <a:lvl5pPr>
              <a:defRPr>
                <a:solidFill>
                  <a:srgbClr val="D9D9D6"/>
                </a:solidFill>
              </a:defRPr>
            </a:lvl5pPr>
          </a:lstStyle>
          <a:p>
            <a:pPr lvl="0"/>
            <a:r>
              <a:rPr lang="en-GB" noProof="0" dirty="0"/>
              <a:t>Date</a:t>
            </a:r>
          </a:p>
        </p:txBody>
      </p:sp>
    </p:spTree>
    <p:extLst>
      <p:ext uri="{BB962C8B-B14F-4D97-AF65-F5344CB8AC3E}">
        <p14:creationId xmlns:p14="http://schemas.microsoft.com/office/powerpoint/2010/main" val="9890564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ll-out Quote">
    <p:spTree>
      <p:nvGrpSpPr>
        <p:cNvPr id="1" name=""/>
        <p:cNvGrpSpPr/>
        <p:nvPr/>
      </p:nvGrpSpPr>
      <p:grpSpPr>
        <a:xfrm>
          <a:off x="0" y="0"/>
          <a:ext cx="0" cy="0"/>
          <a:chOff x="0" y="0"/>
          <a:chExt cx="0" cy="0"/>
        </a:xfrm>
      </p:grpSpPr>
      <p:sp>
        <p:nvSpPr>
          <p:cNvPr id="3" name="object 2"/>
          <p:cNvSpPr txBox="1"/>
          <p:nvPr userDrawn="1"/>
        </p:nvSpPr>
        <p:spPr>
          <a:xfrm>
            <a:off x="2388383" y="1425339"/>
            <a:ext cx="5215738" cy="284245"/>
          </a:xfrm>
          <a:prstGeom prst="rect">
            <a:avLst/>
          </a:prstGeom>
        </p:spPr>
        <p:txBody>
          <a:bodyPr vert="horz" wrap="square" lIns="0" tIns="0" rIns="0" bIns="0" rtlCol="0">
            <a:spAutoFit/>
          </a:bodyPr>
          <a:lstStyle/>
          <a:p>
            <a:pPr marL="5331"/>
            <a:r>
              <a:rPr lang="en-GB" sz="1847" noProof="0" dirty="0">
                <a:solidFill>
                  <a:srgbClr val="53565A"/>
                </a:solidFill>
                <a:latin typeface="Arial" panose="020B0604020202020204" pitchFamily="34" charset="0"/>
                <a:cs typeface="Arial" panose="020B0604020202020204" pitchFamily="34" charset="0"/>
              </a:rPr>
              <a:t>Pull-out Quote</a:t>
            </a:r>
          </a:p>
        </p:txBody>
      </p:sp>
      <p:sp>
        <p:nvSpPr>
          <p:cNvPr id="5" name="object 4"/>
          <p:cNvSpPr/>
          <p:nvPr userDrawn="1"/>
        </p:nvSpPr>
        <p:spPr>
          <a:xfrm>
            <a:off x="603844" y="457204"/>
            <a:ext cx="666159" cy="2214611"/>
          </a:xfrm>
          <a:custGeom>
            <a:avLst/>
            <a:gdLst>
              <a:gd name="connsiteX0" fmla="*/ 1075849 w 1075848"/>
              <a:gd name="connsiteY0" fmla="*/ 0 h 5574646"/>
              <a:gd name="connsiteX1" fmla="*/ 22851 w 1075848"/>
              <a:gd name="connsiteY1" fmla="*/ 607916 h 5574646"/>
              <a:gd name="connsiteX2" fmla="*/ 0 w 1075848"/>
              <a:gd name="connsiteY2" fmla="*/ 5574646 h 5574646"/>
              <a:gd name="connsiteX3" fmla="*/ 1075849 w 1075848"/>
              <a:gd name="connsiteY3" fmla="*/ 4020820 h 5574646"/>
              <a:gd name="connsiteX4" fmla="*/ 1075849 w 1075848"/>
              <a:gd name="connsiteY4" fmla="*/ 0 h 5574646"/>
              <a:gd name="connsiteX0" fmla="*/ 1075849 w 1121549"/>
              <a:gd name="connsiteY0" fmla="*/ 0 h 5574646"/>
              <a:gd name="connsiteX1" fmla="*/ 22851 w 1121549"/>
              <a:gd name="connsiteY1" fmla="*/ 607916 h 5574646"/>
              <a:gd name="connsiteX2" fmla="*/ 0 w 1121549"/>
              <a:gd name="connsiteY2" fmla="*/ 5574646 h 5574646"/>
              <a:gd name="connsiteX3" fmla="*/ 1121549 w 1121549"/>
              <a:gd name="connsiteY3" fmla="*/ 4820584 h 5574646"/>
              <a:gd name="connsiteX4" fmla="*/ 1075849 w 1121549"/>
              <a:gd name="connsiteY4" fmla="*/ 0 h 5574646"/>
              <a:gd name="connsiteX0" fmla="*/ 1075849 w 1121549"/>
              <a:gd name="connsiteY0" fmla="*/ 0 h 4866282"/>
              <a:gd name="connsiteX1" fmla="*/ 22851 w 1121549"/>
              <a:gd name="connsiteY1" fmla="*/ 607916 h 4866282"/>
              <a:gd name="connsiteX2" fmla="*/ 0 w 1121549"/>
              <a:gd name="connsiteY2" fmla="*/ 4866282 h 4866282"/>
              <a:gd name="connsiteX3" fmla="*/ 1121549 w 1121549"/>
              <a:gd name="connsiteY3" fmla="*/ 4820584 h 4866282"/>
              <a:gd name="connsiteX4" fmla="*/ 1075849 w 1121549"/>
              <a:gd name="connsiteY4" fmla="*/ 0 h 4866282"/>
              <a:gd name="connsiteX0" fmla="*/ 1075849 w 1098698"/>
              <a:gd name="connsiteY0" fmla="*/ 0 h 4911985"/>
              <a:gd name="connsiteX1" fmla="*/ 22851 w 1098698"/>
              <a:gd name="connsiteY1" fmla="*/ 607916 h 4911985"/>
              <a:gd name="connsiteX2" fmla="*/ 0 w 1098698"/>
              <a:gd name="connsiteY2" fmla="*/ 4866282 h 4911985"/>
              <a:gd name="connsiteX3" fmla="*/ 1098698 w 1098698"/>
              <a:gd name="connsiteY3" fmla="*/ 4911985 h 4911985"/>
              <a:gd name="connsiteX4" fmla="*/ 1075849 w 1098698"/>
              <a:gd name="connsiteY4" fmla="*/ 0 h 4911985"/>
              <a:gd name="connsiteX0" fmla="*/ 1075849 w 1098698"/>
              <a:gd name="connsiteY0" fmla="*/ 0 h 4880565"/>
              <a:gd name="connsiteX1" fmla="*/ 22851 w 1098698"/>
              <a:gd name="connsiteY1" fmla="*/ 607916 h 4880565"/>
              <a:gd name="connsiteX2" fmla="*/ 0 w 1098698"/>
              <a:gd name="connsiteY2" fmla="*/ 4866282 h 4880565"/>
              <a:gd name="connsiteX3" fmla="*/ 1098698 w 1098698"/>
              <a:gd name="connsiteY3" fmla="*/ 4880565 h 4880565"/>
              <a:gd name="connsiteX4" fmla="*/ 1075849 w 1098698"/>
              <a:gd name="connsiteY4" fmla="*/ 0 h 4880565"/>
              <a:gd name="connsiteX0" fmla="*/ 1075849 w 1098698"/>
              <a:gd name="connsiteY0" fmla="*/ 0 h 4866282"/>
              <a:gd name="connsiteX1" fmla="*/ 22851 w 1098698"/>
              <a:gd name="connsiteY1" fmla="*/ 607916 h 4866282"/>
              <a:gd name="connsiteX2" fmla="*/ 0 w 1098698"/>
              <a:gd name="connsiteY2" fmla="*/ 4866282 h 4866282"/>
              <a:gd name="connsiteX3" fmla="*/ 1098698 w 1098698"/>
              <a:gd name="connsiteY3" fmla="*/ 4849147 h 4866282"/>
              <a:gd name="connsiteX4" fmla="*/ 1075849 w 1098698"/>
              <a:gd name="connsiteY4" fmla="*/ 0 h 4866282"/>
              <a:gd name="connsiteX0" fmla="*/ 1075849 w 1098698"/>
              <a:gd name="connsiteY0" fmla="*/ 0 h 4870093"/>
              <a:gd name="connsiteX1" fmla="*/ 22851 w 1098698"/>
              <a:gd name="connsiteY1" fmla="*/ 607916 h 4870093"/>
              <a:gd name="connsiteX2" fmla="*/ 0 w 1098698"/>
              <a:gd name="connsiteY2" fmla="*/ 4866282 h 4870093"/>
              <a:gd name="connsiteX3" fmla="*/ 1098698 w 1098698"/>
              <a:gd name="connsiteY3" fmla="*/ 4870093 h 4870093"/>
              <a:gd name="connsiteX4" fmla="*/ 1075849 w 1098698"/>
              <a:gd name="connsiteY4" fmla="*/ 0 h 487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8698" h="4870093">
                <a:moveTo>
                  <a:pt x="1075849" y="0"/>
                </a:moveTo>
                <a:lnTo>
                  <a:pt x="22851" y="607916"/>
                </a:lnTo>
                <a:lnTo>
                  <a:pt x="0" y="4866282"/>
                </a:lnTo>
                <a:lnTo>
                  <a:pt x="1098698" y="4870093"/>
                </a:lnTo>
                <a:lnTo>
                  <a:pt x="1075849" y="0"/>
                </a:lnTo>
                <a:close/>
              </a:path>
            </a:pathLst>
          </a:custGeom>
          <a:solidFill>
            <a:srgbClr val="FFCB05"/>
          </a:solidFill>
        </p:spPr>
        <p:txBody>
          <a:bodyPr wrap="square" lIns="0" tIns="0" rIns="0" bIns="0" rtlCol="0"/>
          <a:lstStyle/>
          <a:p>
            <a:endParaRPr lang="en-GB" sz="343" noProof="0" dirty="0"/>
          </a:p>
        </p:txBody>
      </p:sp>
      <p:sp>
        <p:nvSpPr>
          <p:cNvPr id="6" name="object 4"/>
          <p:cNvSpPr/>
          <p:nvPr userDrawn="1"/>
        </p:nvSpPr>
        <p:spPr>
          <a:xfrm>
            <a:off x="1408157" y="457203"/>
            <a:ext cx="666159" cy="2214611"/>
          </a:xfrm>
          <a:custGeom>
            <a:avLst/>
            <a:gdLst>
              <a:gd name="connsiteX0" fmla="*/ 1075849 w 1075848"/>
              <a:gd name="connsiteY0" fmla="*/ 0 h 5574646"/>
              <a:gd name="connsiteX1" fmla="*/ 22851 w 1075848"/>
              <a:gd name="connsiteY1" fmla="*/ 607916 h 5574646"/>
              <a:gd name="connsiteX2" fmla="*/ 0 w 1075848"/>
              <a:gd name="connsiteY2" fmla="*/ 5574646 h 5574646"/>
              <a:gd name="connsiteX3" fmla="*/ 1075849 w 1075848"/>
              <a:gd name="connsiteY3" fmla="*/ 4020820 h 5574646"/>
              <a:gd name="connsiteX4" fmla="*/ 1075849 w 1075848"/>
              <a:gd name="connsiteY4" fmla="*/ 0 h 5574646"/>
              <a:gd name="connsiteX0" fmla="*/ 1075849 w 1121549"/>
              <a:gd name="connsiteY0" fmla="*/ 0 h 5574646"/>
              <a:gd name="connsiteX1" fmla="*/ 22851 w 1121549"/>
              <a:gd name="connsiteY1" fmla="*/ 607916 h 5574646"/>
              <a:gd name="connsiteX2" fmla="*/ 0 w 1121549"/>
              <a:gd name="connsiteY2" fmla="*/ 5574646 h 5574646"/>
              <a:gd name="connsiteX3" fmla="*/ 1121549 w 1121549"/>
              <a:gd name="connsiteY3" fmla="*/ 4820584 h 5574646"/>
              <a:gd name="connsiteX4" fmla="*/ 1075849 w 1121549"/>
              <a:gd name="connsiteY4" fmla="*/ 0 h 5574646"/>
              <a:gd name="connsiteX0" fmla="*/ 1075849 w 1121549"/>
              <a:gd name="connsiteY0" fmla="*/ 0 h 4866282"/>
              <a:gd name="connsiteX1" fmla="*/ 22851 w 1121549"/>
              <a:gd name="connsiteY1" fmla="*/ 607916 h 4866282"/>
              <a:gd name="connsiteX2" fmla="*/ 0 w 1121549"/>
              <a:gd name="connsiteY2" fmla="*/ 4866282 h 4866282"/>
              <a:gd name="connsiteX3" fmla="*/ 1121549 w 1121549"/>
              <a:gd name="connsiteY3" fmla="*/ 4820584 h 4866282"/>
              <a:gd name="connsiteX4" fmla="*/ 1075849 w 1121549"/>
              <a:gd name="connsiteY4" fmla="*/ 0 h 4866282"/>
              <a:gd name="connsiteX0" fmla="*/ 1075849 w 1098698"/>
              <a:gd name="connsiteY0" fmla="*/ 0 h 4911985"/>
              <a:gd name="connsiteX1" fmla="*/ 22851 w 1098698"/>
              <a:gd name="connsiteY1" fmla="*/ 607916 h 4911985"/>
              <a:gd name="connsiteX2" fmla="*/ 0 w 1098698"/>
              <a:gd name="connsiteY2" fmla="*/ 4866282 h 4911985"/>
              <a:gd name="connsiteX3" fmla="*/ 1098698 w 1098698"/>
              <a:gd name="connsiteY3" fmla="*/ 4911985 h 4911985"/>
              <a:gd name="connsiteX4" fmla="*/ 1075849 w 1098698"/>
              <a:gd name="connsiteY4" fmla="*/ 0 h 4911985"/>
              <a:gd name="connsiteX0" fmla="*/ 1075849 w 1098698"/>
              <a:gd name="connsiteY0" fmla="*/ 0 h 4880565"/>
              <a:gd name="connsiteX1" fmla="*/ 22851 w 1098698"/>
              <a:gd name="connsiteY1" fmla="*/ 607916 h 4880565"/>
              <a:gd name="connsiteX2" fmla="*/ 0 w 1098698"/>
              <a:gd name="connsiteY2" fmla="*/ 4866282 h 4880565"/>
              <a:gd name="connsiteX3" fmla="*/ 1098698 w 1098698"/>
              <a:gd name="connsiteY3" fmla="*/ 4880565 h 4880565"/>
              <a:gd name="connsiteX4" fmla="*/ 1075849 w 1098698"/>
              <a:gd name="connsiteY4" fmla="*/ 0 h 4880565"/>
              <a:gd name="connsiteX0" fmla="*/ 1075849 w 1098698"/>
              <a:gd name="connsiteY0" fmla="*/ 0 h 4866282"/>
              <a:gd name="connsiteX1" fmla="*/ 22851 w 1098698"/>
              <a:gd name="connsiteY1" fmla="*/ 607916 h 4866282"/>
              <a:gd name="connsiteX2" fmla="*/ 0 w 1098698"/>
              <a:gd name="connsiteY2" fmla="*/ 4866282 h 4866282"/>
              <a:gd name="connsiteX3" fmla="*/ 1098698 w 1098698"/>
              <a:gd name="connsiteY3" fmla="*/ 4849147 h 4866282"/>
              <a:gd name="connsiteX4" fmla="*/ 1075849 w 1098698"/>
              <a:gd name="connsiteY4" fmla="*/ 0 h 4866282"/>
              <a:gd name="connsiteX0" fmla="*/ 1075849 w 1098698"/>
              <a:gd name="connsiteY0" fmla="*/ 0 h 4870093"/>
              <a:gd name="connsiteX1" fmla="*/ 22851 w 1098698"/>
              <a:gd name="connsiteY1" fmla="*/ 607916 h 4870093"/>
              <a:gd name="connsiteX2" fmla="*/ 0 w 1098698"/>
              <a:gd name="connsiteY2" fmla="*/ 4866282 h 4870093"/>
              <a:gd name="connsiteX3" fmla="*/ 1098698 w 1098698"/>
              <a:gd name="connsiteY3" fmla="*/ 4870093 h 4870093"/>
              <a:gd name="connsiteX4" fmla="*/ 1075849 w 1098698"/>
              <a:gd name="connsiteY4" fmla="*/ 0 h 487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8698" h="4870093">
                <a:moveTo>
                  <a:pt x="1075849" y="0"/>
                </a:moveTo>
                <a:lnTo>
                  <a:pt x="22851" y="607916"/>
                </a:lnTo>
                <a:lnTo>
                  <a:pt x="0" y="4866282"/>
                </a:lnTo>
                <a:lnTo>
                  <a:pt x="1098698" y="4870093"/>
                </a:lnTo>
                <a:lnTo>
                  <a:pt x="1075849" y="0"/>
                </a:lnTo>
                <a:close/>
              </a:path>
            </a:pathLst>
          </a:custGeom>
          <a:solidFill>
            <a:srgbClr val="FFCB05"/>
          </a:solidFill>
        </p:spPr>
        <p:txBody>
          <a:bodyPr wrap="square" lIns="0" tIns="0" rIns="0" bIns="0" rtlCol="0"/>
          <a:lstStyle/>
          <a:p>
            <a:endParaRPr lang="en-GB" sz="343" noProof="0" dirty="0"/>
          </a:p>
        </p:txBody>
      </p:sp>
      <p:sp>
        <p:nvSpPr>
          <p:cNvPr id="9" name="Text Placeholder 2"/>
          <p:cNvSpPr>
            <a:spLocks noGrp="1"/>
          </p:cNvSpPr>
          <p:nvPr>
            <p:ph type="body" sz="quarter" idx="13"/>
          </p:nvPr>
        </p:nvSpPr>
        <p:spPr>
          <a:xfrm>
            <a:off x="2387601" y="1863728"/>
            <a:ext cx="8960338" cy="3355972"/>
          </a:xfrm>
          <a:prstGeom prst="rect">
            <a:avLst/>
          </a:prstGeom>
        </p:spPr>
        <p:txBody>
          <a:bodyPr/>
          <a:lstStyle>
            <a:lvl1pPr marL="0" indent="0">
              <a:buFont typeface="Arial" panose="020B0604020202020204" pitchFamily="34" charset="0"/>
              <a:buNone/>
              <a:defRPr spc="0" baseline="0">
                <a:latin typeface="+mj-lt"/>
              </a:defRPr>
            </a:lvl1pPr>
            <a:lvl2pPr marL="514350" indent="-228600">
              <a:defRPr>
                <a:latin typeface="+mj-lt"/>
              </a:defRPr>
            </a:lvl2pPr>
            <a:lvl3pPr marL="742950" indent="-228600">
              <a:buClr>
                <a:schemeClr val="accent1"/>
              </a:buClr>
              <a:defRPr>
                <a:latin typeface="+mj-lt"/>
              </a:defRPr>
            </a:lvl3pPr>
          </a:lstStyle>
          <a:p>
            <a:pPr lvl="0"/>
            <a:r>
              <a:rPr lang="en-US" noProof="0"/>
              <a:t>Click to edit Master text styles</a:t>
            </a:r>
          </a:p>
        </p:txBody>
      </p:sp>
    </p:spTree>
    <p:extLst>
      <p:ext uri="{BB962C8B-B14F-4D97-AF65-F5344CB8AC3E}">
        <p14:creationId xmlns:p14="http://schemas.microsoft.com/office/powerpoint/2010/main" val="2702150237"/>
      </p:ext>
    </p:extLst>
  </p:cSld>
  <p:clrMapOvr>
    <a:masterClrMapping/>
  </p:clrMapOvr>
  <p:extLst>
    <p:ext uri="{DCECCB84-F9BA-43D5-87BE-67443E8EF086}">
      <p15:sldGuideLst xmlns:p15="http://schemas.microsoft.com/office/powerpoint/2012/main">
        <p15:guide id="1" pos="7296">
          <p15:clr>
            <a:srgbClr val="FBAE40"/>
          </p15:clr>
        </p15:guide>
        <p15:guide id="2" orient="horz" pos="328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st Slide">
    <p:bg>
      <p:bgPr>
        <a:solidFill>
          <a:schemeClr val="bg2"/>
        </a:solidFill>
        <a:effectLst/>
      </p:bgPr>
    </p:bg>
    <p:spTree>
      <p:nvGrpSpPr>
        <p:cNvPr id="1" name=""/>
        <p:cNvGrpSpPr/>
        <p:nvPr/>
      </p:nvGrpSpPr>
      <p:grpSpPr>
        <a:xfrm>
          <a:off x="0" y="0"/>
          <a:ext cx="0" cy="0"/>
          <a:chOff x="0" y="0"/>
          <a:chExt cx="0" cy="0"/>
        </a:xfrm>
      </p:grpSpPr>
      <p:sp>
        <p:nvSpPr>
          <p:cNvPr id="23" name="object 4"/>
          <p:cNvSpPr/>
          <p:nvPr userDrawn="1"/>
        </p:nvSpPr>
        <p:spPr>
          <a:xfrm>
            <a:off x="603844" y="457204"/>
            <a:ext cx="666159" cy="2214611"/>
          </a:xfrm>
          <a:custGeom>
            <a:avLst/>
            <a:gdLst>
              <a:gd name="connsiteX0" fmla="*/ 1075849 w 1075848"/>
              <a:gd name="connsiteY0" fmla="*/ 0 h 5574646"/>
              <a:gd name="connsiteX1" fmla="*/ 22851 w 1075848"/>
              <a:gd name="connsiteY1" fmla="*/ 607916 h 5574646"/>
              <a:gd name="connsiteX2" fmla="*/ 0 w 1075848"/>
              <a:gd name="connsiteY2" fmla="*/ 5574646 h 5574646"/>
              <a:gd name="connsiteX3" fmla="*/ 1075849 w 1075848"/>
              <a:gd name="connsiteY3" fmla="*/ 4020820 h 5574646"/>
              <a:gd name="connsiteX4" fmla="*/ 1075849 w 1075848"/>
              <a:gd name="connsiteY4" fmla="*/ 0 h 5574646"/>
              <a:gd name="connsiteX0" fmla="*/ 1075849 w 1121549"/>
              <a:gd name="connsiteY0" fmla="*/ 0 h 5574646"/>
              <a:gd name="connsiteX1" fmla="*/ 22851 w 1121549"/>
              <a:gd name="connsiteY1" fmla="*/ 607916 h 5574646"/>
              <a:gd name="connsiteX2" fmla="*/ 0 w 1121549"/>
              <a:gd name="connsiteY2" fmla="*/ 5574646 h 5574646"/>
              <a:gd name="connsiteX3" fmla="*/ 1121549 w 1121549"/>
              <a:gd name="connsiteY3" fmla="*/ 4820584 h 5574646"/>
              <a:gd name="connsiteX4" fmla="*/ 1075849 w 1121549"/>
              <a:gd name="connsiteY4" fmla="*/ 0 h 5574646"/>
              <a:gd name="connsiteX0" fmla="*/ 1075849 w 1121549"/>
              <a:gd name="connsiteY0" fmla="*/ 0 h 4866282"/>
              <a:gd name="connsiteX1" fmla="*/ 22851 w 1121549"/>
              <a:gd name="connsiteY1" fmla="*/ 607916 h 4866282"/>
              <a:gd name="connsiteX2" fmla="*/ 0 w 1121549"/>
              <a:gd name="connsiteY2" fmla="*/ 4866282 h 4866282"/>
              <a:gd name="connsiteX3" fmla="*/ 1121549 w 1121549"/>
              <a:gd name="connsiteY3" fmla="*/ 4820584 h 4866282"/>
              <a:gd name="connsiteX4" fmla="*/ 1075849 w 1121549"/>
              <a:gd name="connsiteY4" fmla="*/ 0 h 4866282"/>
              <a:gd name="connsiteX0" fmla="*/ 1075849 w 1098698"/>
              <a:gd name="connsiteY0" fmla="*/ 0 h 4911985"/>
              <a:gd name="connsiteX1" fmla="*/ 22851 w 1098698"/>
              <a:gd name="connsiteY1" fmla="*/ 607916 h 4911985"/>
              <a:gd name="connsiteX2" fmla="*/ 0 w 1098698"/>
              <a:gd name="connsiteY2" fmla="*/ 4866282 h 4911985"/>
              <a:gd name="connsiteX3" fmla="*/ 1098698 w 1098698"/>
              <a:gd name="connsiteY3" fmla="*/ 4911985 h 4911985"/>
              <a:gd name="connsiteX4" fmla="*/ 1075849 w 1098698"/>
              <a:gd name="connsiteY4" fmla="*/ 0 h 4911985"/>
              <a:gd name="connsiteX0" fmla="*/ 1075849 w 1098698"/>
              <a:gd name="connsiteY0" fmla="*/ 0 h 4880565"/>
              <a:gd name="connsiteX1" fmla="*/ 22851 w 1098698"/>
              <a:gd name="connsiteY1" fmla="*/ 607916 h 4880565"/>
              <a:gd name="connsiteX2" fmla="*/ 0 w 1098698"/>
              <a:gd name="connsiteY2" fmla="*/ 4866282 h 4880565"/>
              <a:gd name="connsiteX3" fmla="*/ 1098698 w 1098698"/>
              <a:gd name="connsiteY3" fmla="*/ 4880565 h 4880565"/>
              <a:gd name="connsiteX4" fmla="*/ 1075849 w 1098698"/>
              <a:gd name="connsiteY4" fmla="*/ 0 h 4880565"/>
              <a:gd name="connsiteX0" fmla="*/ 1075849 w 1098698"/>
              <a:gd name="connsiteY0" fmla="*/ 0 h 4866282"/>
              <a:gd name="connsiteX1" fmla="*/ 22851 w 1098698"/>
              <a:gd name="connsiteY1" fmla="*/ 607916 h 4866282"/>
              <a:gd name="connsiteX2" fmla="*/ 0 w 1098698"/>
              <a:gd name="connsiteY2" fmla="*/ 4866282 h 4866282"/>
              <a:gd name="connsiteX3" fmla="*/ 1098698 w 1098698"/>
              <a:gd name="connsiteY3" fmla="*/ 4849147 h 4866282"/>
              <a:gd name="connsiteX4" fmla="*/ 1075849 w 1098698"/>
              <a:gd name="connsiteY4" fmla="*/ 0 h 4866282"/>
              <a:gd name="connsiteX0" fmla="*/ 1075849 w 1098698"/>
              <a:gd name="connsiteY0" fmla="*/ 0 h 4870093"/>
              <a:gd name="connsiteX1" fmla="*/ 22851 w 1098698"/>
              <a:gd name="connsiteY1" fmla="*/ 607916 h 4870093"/>
              <a:gd name="connsiteX2" fmla="*/ 0 w 1098698"/>
              <a:gd name="connsiteY2" fmla="*/ 4866282 h 4870093"/>
              <a:gd name="connsiteX3" fmla="*/ 1098698 w 1098698"/>
              <a:gd name="connsiteY3" fmla="*/ 4870093 h 4870093"/>
              <a:gd name="connsiteX4" fmla="*/ 1075849 w 1098698"/>
              <a:gd name="connsiteY4" fmla="*/ 0 h 487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8698" h="4870093">
                <a:moveTo>
                  <a:pt x="1075849" y="0"/>
                </a:moveTo>
                <a:lnTo>
                  <a:pt x="22851" y="607916"/>
                </a:lnTo>
                <a:lnTo>
                  <a:pt x="0" y="4866282"/>
                </a:lnTo>
                <a:lnTo>
                  <a:pt x="1098698" y="4870093"/>
                </a:lnTo>
                <a:lnTo>
                  <a:pt x="1075849" y="0"/>
                </a:lnTo>
                <a:close/>
              </a:path>
            </a:pathLst>
          </a:custGeom>
          <a:solidFill>
            <a:srgbClr val="FFCB05"/>
          </a:solidFill>
        </p:spPr>
        <p:txBody>
          <a:bodyPr wrap="square" lIns="0" tIns="0" rIns="0" bIns="0" rtlCol="0"/>
          <a:lstStyle/>
          <a:p>
            <a:endParaRPr lang="en-GB" sz="343" noProof="0" dirty="0"/>
          </a:p>
        </p:txBody>
      </p:sp>
      <p:pic>
        <p:nvPicPr>
          <p:cNvPr id="5" name="Picture 4">
            <a:extLst>
              <a:ext uri="{FF2B5EF4-FFF2-40B4-BE49-F238E27FC236}">
                <a16:creationId xmlns:a16="http://schemas.microsoft.com/office/drawing/2014/main" xmlns="" id="{4DFF2D95-C5F2-4174-9649-33F8678E4D9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0726" y="4763912"/>
            <a:ext cx="1754451" cy="1377244"/>
          </a:xfrm>
          <a:prstGeom prst="rect">
            <a:avLst/>
          </a:prstGeom>
        </p:spPr>
      </p:pic>
    </p:spTree>
    <p:extLst>
      <p:ext uri="{BB962C8B-B14F-4D97-AF65-F5344CB8AC3E}">
        <p14:creationId xmlns:p14="http://schemas.microsoft.com/office/powerpoint/2010/main" val="5303470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p:cNvSpPr/>
          <p:nvPr userDrawn="1"/>
        </p:nvSpPr>
        <p:spPr>
          <a:xfrm>
            <a:off x="247426" y="4508529"/>
            <a:ext cx="3173506" cy="21289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3" name="Title 14"/>
          <p:cNvSpPr>
            <a:spLocks noGrp="1"/>
          </p:cNvSpPr>
          <p:nvPr>
            <p:ph type="title" hasCustomPrompt="1"/>
          </p:nvPr>
        </p:nvSpPr>
        <p:spPr>
          <a:xfrm>
            <a:off x="603056" y="303480"/>
            <a:ext cx="6312613" cy="1325563"/>
          </a:xfrm>
          <a:prstGeom prst="rect">
            <a:avLst/>
          </a:prstGeom>
        </p:spPr>
        <p:txBody>
          <a:bodyPr lIns="91440" tIns="45720" rIns="91440" bIns="45720"/>
          <a:lstStyle>
            <a:lvl1pPr marL="0" indent="0">
              <a:defRPr sz="3200" b="0">
                <a:solidFill>
                  <a:srgbClr val="D9D9D6"/>
                </a:solidFill>
                <a:latin typeface="Arial" panose="020B0604020202020204" pitchFamily="34" charset="0"/>
                <a:cs typeface="Arial" panose="020B0604020202020204" pitchFamily="34" charset="0"/>
              </a:defRPr>
            </a:lvl1pPr>
          </a:lstStyle>
          <a:p>
            <a:r>
              <a:rPr lang="en-GB" noProof="0" dirty="0"/>
              <a:t>Title</a:t>
            </a:r>
          </a:p>
        </p:txBody>
      </p:sp>
      <p:sp>
        <p:nvSpPr>
          <p:cNvPr id="10" name="Text Placeholder 9"/>
          <p:cNvSpPr>
            <a:spLocks noGrp="1"/>
          </p:cNvSpPr>
          <p:nvPr>
            <p:ph type="body" sz="quarter" idx="11" hasCustomPrompt="1"/>
          </p:nvPr>
        </p:nvSpPr>
        <p:spPr>
          <a:xfrm>
            <a:off x="603739" y="1648871"/>
            <a:ext cx="6312876" cy="903288"/>
          </a:xfrm>
          <a:prstGeom prst="rect">
            <a:avLst/>
          </a:prstGeom>
        </p:spPr>
        <p:txBody>
          <a:bodyPr/>
          <a:lstStyle>
            <a:lvl1pPr marL="0" indent="0">
              <a:buNone/>
              <a:defRPr sz="2000">
                <a:solidFill>
                  <a:srgbClr val="D9D9D6"/>
                </a:solidFill>
                <a:latin typeface="Arial" panose="020B0604020202020204" pitchFamily="34" charset="0"/>
                <a:cs typeface="Arial" panose="020B0604020202020204" pitchFamily="34" charset="0"/>
              </a:defRPr>
            </a:lvl1pPr>
            <a:lvl2pPr>
              <a:defRPr>
                <a:solidFill>
                  <a:srgbClr val="D9D9D6"/>
                </a:solidFill>
              </a:defRPr>
            </a:lvl2pPr>
            <a:lvl3pPr>
              <a:defRPr>
                <a:solidFill>
                  <a:srgbClr val="D9D9D6"/>
                </a:solidFill>
              </a:defRPr>
            </a:lvl3pPr>
            <a:lvl4pPr>
              <a:defRPr>
                <a:solidFill>
                  <a:srgbClr val="D9D9D6"/>
                </a:solidFill>
              </a:defRPr>
            </a:lvl4pPr>
            <a:lvl5pPr>
              <a:defRPr>
                <a:solidFill>
                  <a:srgbClr val="D9D9D6"/>
                </a:solidFill>
              </a:defRPr>
            </a:lvl5pPr>
          </a:lstStyle>
          <a:p>
            <a:pPr lvl="0"/>
            <a:r>
              <a:rPr lang="en-GB" noProof="0" dirty="0"/>
              <a:t>Sub-title</a:t>
            </a:r>
          </a:p>
        </p:txBody>
      </p:sp>
      <p:sp>
        <p:nvSpPr>
          <p:cNvPr id="5" name="Text Placeholder 9"/>
          <p:cNvSpPr>
            <a:spLocks noGrp="1"/>
          </p:cNvSpPr>
          <p:nvPr>
            <p:ph type="body" sz="quarter" idx="12" hasCustomPrompt="1"/>
          </p:nvPr>
        </p:nvSpPr>
        <p:spPr>
          <a:xfrm>
            <a:off x="603739" y="3301744"/>
            <a:ext cx="4164037" cy="457200"/>
          </a:xfrm>
          <a:prstGeom prst="rect">
            <a:avLst/>
          </a:prstGeom>
        </p:spPr>
        <p:txBody>
          <a:bodyPr/>
          <a:lstStyle>
            <a:lvl1pPr marL="0" indent="0">
              <a:buNone/>
              <a:defRPr sz="2000">
                <a:solidFill>
                  <a:srgbClr val="FFCB05"/>
                </a:solidFill>
                <a:latin typeface="Arial" panose="020B0604020202020204" pitchFamily="34" charset="0"/>
                <a:cs typeface="Arial" panose="020B0604020202020204" pitchFamily="34" charset="0"/>
              </a:defRPr>
            </a:lvl1pPr>
            <a:lvl2pPr>
              <a:defRPr>
                <a:solidFill>
                  <a:srgbClr val="D9D9D6"/>
                </a:solidFill>
              </a:defRPr>
            </a:lvl2pPr>
            <a:lvl3pPr>
              <a:defRPr>
                <a:solidFill>
                  <a:srgbClr val="D9D9D6"/>
                </a:solidFill>
              </a:defRPr>
            </a:lvl3pPr>
            <a:lvl4pPr>
              <a:defRPr>
                <a:solidFill>
                  <a:srgbClr val="D9D9D6"/>
                </a:solidFill>
              </a:defRPr>
            </a:lvl4pPr>
            <a:lvl5pPr>
              <a:defRPr>
                <a:solidFill>
                  <a:srgbClr val="D9D9D6"/>
                </a:solidFill>
              </a:defRPr>
            </a:lvl5pPr>
          </a:lstStyle>
          <a:p>
            <a:pPr lvl="0"/>
            <a:r>
              <a:rPr lang="en-GB" noProof="0" dirty="0"/>
              <a:t>Date</a:t>
            </a:r>
          </a:p>
        </p:txBody>
      </p:sp>
      <p:grpSp>
        <p:nvGrpSpPr>
          <p:cNvPr id="122" name="Canvas 102">
            <a:extLst>
              <a:ext uri="{FF2B5EF4-FFF2-40B4-BE49-F238E27FC236}">
                <a16:creationId xmlns:a16="http://schemas.microsoft.com/office/drawing/2014/main" xmlns="" id="{58CF9A1E-C5C8-4A95-8F30-F132D55CE1CD}"/>
              </a:ext>
            </a:extLst>
          </p:cNvPr>
          <p:cNvGrpSpPr/>
          <p:nvPr userDrawn="1"/>
        </p:nvGrpSpPr>
        <p:grpSpPr>
          <a:xfrm>
            <a:off x="592423" y="4930553"/>
            <a:ext cx="2683966" cy="1510278"/>
            <a:chOff x="685800" y="207921"/>
            <a:chExt cx="5441950" cy="3097889"/>
          </a:xfrm>
        </p:grpSpPr>
        <p:sp>
          <p:nvSpPr>
            <p:cNvPr id="123" name="Rectangle 122">
              <a:extLst>
                <a:ext uri="{FF2B5EF4-FFF2-40B4-BE49-F238E27FC236}">
                  <a16:creationId xmlns:a16="http://schemas.microsoft.com/office/drawing/2014/main" xmlns="" id="{73E1AAD7-C1BE-4B2B-A591-E1AF2F22223A}"/>
                </a:ext>
              </a:extLst>
            </p:cNvPr>
            <p:cNvSpPr/>
            <p:nvPr userDrawn="1"/>
          </p:nvSpPr>
          <p:spPr>
            <a:xfrm>
              <a:off x="1263650" y="347980"/>
              <a:ext cx="4864100" cy="2957830"/>
            </a:xfrm>
            <a:prstGeom prst="rect">
              <a:avLst/>
            </a:prstGeom>
            <a:noFill/>
            <a:ln>
              <a:noFill/>
            </a:ln>
          </p:spPr>
        </p:sp>
        <p:sp>
          <p:nvSpPr>
            <p:cNvPr id="124" name="Freeform 6">
              <a:extLst>
                <a:ext uri="{FF2B5EF4-FFF2-40B4-BE49-F238E27FC236}">
                  <a16:creationId xmlns:a16="http://schemas.microsoft.com/office/drawing/2014/main" xmlns="" id="{B89C9F5F-3D8B-4CBF-8253-5CC250585827}"/>
                </a:ext>
              </a:extLst>
            </p:cNvPr>
            <p:cNvSpPr>
              <a:spLocks/>
            </p:cNvSpPr>
            <p:nvPr userDrawn="1"/>
          </p:nvSpPr>
          <p:spPr bwMode="auto">
            <a:xfrm>
              <a:off x="2439670" y="266976"/>
              <a:ext cx="319405" cy="327660"/>
            </a:xfrm>
            <a:custGeom>
              <a:avLst/>
              <a:gdLst>
                <a:gd name="T0" fmla="*/ 0 w 503"/>
                <a:gd name="T1" fmla="*/ 0 h 516"/>
                <a:gd name="T2" fmla="*/ 503 w 503"/>
                <a:gd name="T3" fmla="*/ 0 h 516"/>
                <a:gd name="T4" fmla="*/ 503 w 503"/>
                <a:gd name="T5" fmla="*/ 227 h 516"/>
                <a:gd name="T6" fmla="*/ 0 w 503"/>
                <a:gd name="T7" fmla="*/ 516 h 516"/>
                <a:gd name="T8" fmla="*/ 0 w 503"/>
                <a:gd name="T9" fmla="*/ 0 h 516"/>
              </a:gdLst>
              <a:ahLst/>
              <a:cxnLst>
                <a:cxn ang="0">
                  <a:pos x="T0" y="T1"/>
                </a:cxn>
                <a:cxn ang="0">
                  <a:pos x="T2" y="T3"/>
                </a:cxn>
                <a:cxn ang="0">
                  <a:pos x="T4" y="T5"/>
                </a:cxn>
                <a:cxn ang="0">
                  <a:pos x="T6" y="T7"/>
                </a:cxn>
                <a:cxn ang="0">
                  <a:pos x="T8" y="T9"/>
                </a:cxn>
              </a:cxnLst>
              <a:rect l="0" t="0" r="r" b="b"/>
              <a:pathLst>
                <a:path w="503" h="516">
                  <a:moveTo>
                    <a:pt x="0" y="0"/>
                  </a:moveTo>
                  <a:lnTo>
                    <a:pt x="503" y="0"/>
                  </a:lnTo>
                  <a:lnTo>
                    <a:pt x="503" y="227"/>
                  </a:lnTo>
                  <a:lnTo>
                    <a:pt x="0" y="516"/>
                  </a:lnTo>
                  <a:lnTo>
                    <a:pt x="0" y="0"/>
                  </a:lnTo>
                  <a:close/>
                </a:path>
              </a:pathLst>
            </a:custGeom>
            <a:solidFill>
              <a:srgbClr val="FFCC00"/>
            </a:solidFill>
            <a:ln w="0">
              <a:solidFill>
                <a:srgbClr val="FFCC00"/>
              </a:solidFill>
              <a:prstDash val="solid"/>
              <a:round/>
              <a:headEnd/>
              <a:tailEnd/>
            </a:ln>
          </p:spPr>
          <p:txBody>
            <a:bodyPr rot="0" vert="horz" wrap="square" lIns="91440" tIns="45720" rIns="91440" bIns="45720" anchor="t" anchorCtr="0" upright="1">
              <a:noAutofit/>
            </a:bodyPr>
            <a:lstStyle/>
            <a:p>
              <a:endParaRPr lang="en-IN" dirty="0"/>
            </a:p>
          </p:txBody>
        </p:sp>
        <p:sp>
          <p:nvSpPr>
            <p:cNvPr id="125" name="Freeform 7">
              <a:extLst>
                <a:ext uri="{FF2B5EF4-FFF2-40B4-BE49-F238E27FC236}">
                  <a16:creationId xmlns:a16="http://schemas.microsoft.com/office/drawing/2014/main" xmlns="" id="{B90410F4-9B93-4741-8D77-93BDF09223C1}"/>
                </a:ext>
              </a:extLst>
            </p:cNvPr>
            <p:cNvSpPr>
              <a:spLocks noEditPoints="1"/>
            </p:cNvSpPr>
            <p:nvPr userDrawn="1"/>
          </p:nvSpPr>
          <p:spPr bwMode="auto">
            <a:xfrm>
              <a:off x="685800" y="207921"/>
              <a:ext cx="3603625" cy="1649095"/>
            </a:xfrm>
            <a:custGeom>
              <a:avLst/>
              <a:gdLst>
                <a:gd name="T0" fmla="*/ 4631 w 5675"/>
                <a:gd name="T1" fmla="*/ 2503 h 2597"/>
                <a:gd name="T2" fmla="*/ 4899 w 5675"/>
                <a:gd name="T3" fmla="*/ 2436 h 2597"/>
                <a:gd name="T4" fmla="*/ 4996 w 5675"/>
                <a:gd name="T5" fmla="*/ 2353 h 2597"/>
                <a:gd name="T6" fmla="*/ 5101 w 5675"/>
                <a:gd name="T7" fmla="*/ 2024 h 2597"/>
                <a:gd name="T8" fmla="*/ 5091 w 5675"/>
                <a:gd name="T9" fmla="*/ 1718 h 2597"/>
                <a:gd name="T10" fmla="*/ 5041 w 5675"/>
                <a:gd name="T11" fmla="*/ 1527 h 2597"/>
                <a:gd name="T12" fmla="*/ 4894 w 5675"/>
                <a:gd name="T13" fmla="*/ 1344 h 2597"/>
                <a:gd name="T14" fmla="*/ 4744 w 5675"/>
                <a:gd name="T15" fmla="*/ 1281 h 2597"/>
                <a:gd name="T16" fmla="*/ 4550 w 5675"/>
                <a:gd name="T17" fmla="*/ 1260 h 2597"/>
                <a:gd name="T18" fmla="*/ 4203 w 5675"/>
                <a:gd name="T19" fmla="*/ 136 h 2597"/>
                <a:gd name="T20" fmla="*/ 4784 w 5675"/>
                <a:gd name="T21" fmla="*/ 1172 h 2597"/>
                <a:gd name="T22" fmla="*/ 4930 w 5675"/>
                <a:gd name="T23" fmla="*/ 1054 h 2597"/>
                <a:gd name="T24" fmla="*/ 5001 w 5675"/>
                <a:gd name="T25" fmla="*/ 892 h 2597"/>
                <a:gd name="T26" fmla="*/ 5030 w 5675"/>
                <a:gd name="T27" fmla="*/ 603 h 2597"/>
                <a:gd name="T28" fmla="*/ 5015 w 5675"/>
                <a:gd name="T29" fmla="*/ 434 h 2597"/>
                <a:gd name="T30" fmla="*/ 4858 w 5675"/>
                <a:gd name="T31" fmla="*/ 215 h 2597"/>
                <a:gd name="T32" fmla="*/ 4658 w 5675"/>
                <a:gd name="T33" fmla="*/ 143 h 2597"/>
                <a:gd name="T34" fmla="*/ 4203 w 5675"/>
                <a:gd name="T35" fmla="*/ 136 h 2597"/>
                <a:gd name="T36" fmla="*/ 4794 w 5675"/>
                <a:gd name="T37" fmla="*/ 100 h 2597"/>
                <a:gd name="T38" fmla="*/ 5110 w 5675"/>
                <a:gd name="T39" fmla="*/ 159 h 2597"/>
                <a:gd name="T40" fmla="*/ 5408 w 5675"/>
                <a:gd name="T41" fmla="*/ 315 h 2597"/>
                <a:gd name="T42" fmla="*/ 5527 w 5675"/>
                <a:gd name="T43" fmla="*/ 513 h 2597"/>
                <a:gd name="T44" fmla="*/ 5540 w 5675"/>
                <a:gd name="T45" fmla="*/ 692 h 2597"/>
                <a:gd name="T46" fmla="*/ 5442 w 5675"/>
                <a:gd name="T47" fmla="*/ 955 h 2597"/>
                <a:gd name="T48" fmla="*/ 5092 w 5675"/>
                <a:gd name="T49" fmla="*/ 1174 h 2597"/>
                <a:gd name="T50" fmla="*/ 4860 w 5675"/>
                <a:gd name="T51" fmla="*/ 1229 h 2597"/>
                <a:gd name="T52" fmla="*/ 5237 w 5675"/>
                <a:gd name="T53" fmla="*/ 1310 h 2597"/>
                <a:gd name="T54" fmla="*/ 5435 w 5675"/>
                <a:gd name="T55" fmla="*/ 1410 h 2597"/>
                <a:gd name="T56" fmla="*/ 5616 w 5675"/>
                <a:gd name="T57" fmla="*/ 1620 h 2597"/>
                <a:gd name="T58" fmla="*/ 5673 w 5675"/>
                <a:gd name="T59" fmla="*/ 1911 h 2597"/>
                <a:gd name="T60" fmla="*/ 5645 w 5675"/>
                <a:gd name="T61" fmla="*/ 2069 h 2597"/>
                <a:gd name="T62" fmla="*/ 5458 w 5675"/>
                <a:gd name="T63" fmla="*/ 2332 h 2597"/>
                <a:gd name="T64" fmla="*/ 5125 w 5675"/>
                <a:gd name="T65" fmla="*/ 2494 h 2597"/>
                <a:gd name="T66" fmla="*/ 4813 w 5675"/>
                <a:gd name="T67" fmla="*/ 2548 h 2597"/>
                <a:gd name="T68" fmla="*/ 4675 w 5675"/>
                <a:gd name="T69" fmla="*/ 2553 h 2597"/>
                <a:gd name="T70" fmla="*/ 4634 w 5675"/>
                <a:gd name="T71" fmla="*/ 93 h 2597"/>
                <a:gd name="T72" fmla="*/ 1778 w 5675"/>
                <a:gd name="T73" fmla="*/ 50 h 2597"/>
                <a:gd name="T74" fmla="*/ 2097 w 5675"/>
                <a:gd name="T75" fmla="*/ 169 h 2597"/>
                <a:gd name="T76" fmla="*/ 2086 w 5675"/>
                <a:gd name="T77" fmla="*/ 369 h 2597"/>
                <a:gd name="T78" fmla="*/ 1718 w 5675"/>
                <a:gd name="T79" fmla="*/ 117 h 2597"/>
                <a:gd name="T80" fmla="*/ 1216 w 5675"/>
                <a:gd name="T81" fmla="*/ 78 h 2597"/>
                <a:gd name="T82" fmla="*/ 896 w 5675"/>
                <a:gd name="T83" fmla="*/ 229 h 2597"/>
                <a:gd name="T84" fmla="*/ 744 w 5675"/>
                <a:gd name="T85" fmla="*/ 381 h 2597"/>
                <a:gd name="T86" fmla="*/ 591 w 5675"/>
                <a:gd name="T87" fmla="*/ 682 h 2597"/>
                <a:gd name="T88" fmla="*/ 508 w 5675"/>
                <a:gd name="T89" fmla="*/ 1207 h 2597"/>
                <a:gd name="T90" fmla="*/ 579 w 5675"/>
                <a:gd name="T91" fmla="*/ 1868 h 2597"/>
                <a:gd name="T92" fmla="*/ 829 w 5675"/>
                <a:gd name="T93" fmla="*/ 2313 h 2597"/>
                <a:gd name="T94" fmla="*/ 1201 w 5675"/>
                <a:gd name="T95" fmla="*/ 2520 h 2597"/>
                <a:gd name="T96" fmla="*/ 1563 w 5675"/>
                <a:gd name="T97" fmla="*/ 2508 h 2597"/>
                <a:gd name="T98" fmla="*/ 1824 w 5675"/>
                <a:gd name="T99" fmla="*/ 2358 h 2597"/>
                <a:gd name="T100" fmla="*/ 2271 w 5675"/>
                <a:gd name="T101" fmla="*/ 2386 h 2597"/>
                <a:gd name="T102" fmla="*/ 1824 w 5675"/>
                <a:gd name="T103" fmla="*/ 2548 h 2597"/>
                <a:gd name="T104" fmla="*/ 1266 w 5675"/>
                <a:gd name="T105" fmla="*/ 2597 h 2597"/>
                <a:gd name="T106" fmla="*/ 870 w 5675"/>
                <a:gd name="T107" fmla="*/ 2522 h 2597"/>
                <a:gd name="T108" fmla="*/ 472 w 5675"/>
                <a:gd name="T109" fmla="*/ 2319 h 2597"/>
                <a:gd name="T110" fmla="*/ 155 w 5675"/>
                <a:gd name="T111" fmla="*/ 1964 h 2597"/>
                <a:gd name="T112" fmla="*/ 3 w 5675"/>
                <a:gd name="T113" fmla="*/ 1437 h 2597"/>
                <a:gd name="T114" fmla="*/ 84 w 5675"/>
                <a:gd name="T115" fmla="*/ 809 h 2597"/>
                <a:gd name="T116" fmla="*/ 367 w 5675"/>
                <a:gd name="T117" fmla="*/ 372 h 2597"/>
                <a:gd name="T118" fmla="*/ 777 w 5675"/>
                <a:gd name="T119" fmla="*/ 114 h 2597"/>
                <a:gd name="T120" fmla="*/ 1237 w 5675"/>
                <a:gd name="T121" fmla="*/ 7 h 2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75" h="2597">
                  <a:moveTo>
                    <a:pt x="4550" y="1260"/>
                  </a:moveTo>
                  <a:lnTo>
                    <a:pt x="4545" y="1260"/>
                  </a:lnTo>
                  <a:lnTo>
                    <a:pt x="4203" y="1260"/>
                  </a:lnTo>
                  <a:lnTo>
                    <a:pt x="4203" y="2505"/>
                  </a:lnTo>
                  <a:lnTo>
                    <a:pt x="4562" y="2505"/>
                  </a:lnTo>
                  <a:lnTo>
                    <a:pt x="4631" y="2503"/>
                  </a:lnTo>
                  <a:lnTo>
                    <a:pt x="4693" y="2496"/>
                  </a:lnTo>
                  <a:lnTo>
                    <a:pt x="4746" y="2487"/>
                  </a:lnTo>
                  <a:lnTo>
                    <a:pt x="4794" y="2477"/>
                  </a:lnTo>
                  <a:lnTo>
                    <a:pt x="4836" y="2463"/>
                  </a:lnTo>
                  <a:lnTo>
                    <a:pt x="4870" y="2449"/>
                  </a:lnTo>
                  <a:lnTo>
                    <a:pt x="4899" y="2436"/>
                  </a:lnTo>
                  <a:lnTo>
                    <a:pt x="4922" y="2424"/>
                  </a:lnTo>
                  <a:lnTo>
                    <a:pt x="4939" y="2412"/>
                  </a:lnTo>
                  <a:lnTo>
                    <a:pt x="4951" y="2403"/>
                  </a:lnTo>
                  <a:lnTo>
                    <a:pt x="4958" y="2396"/>
                  </a:lnTo>
                  <a:lnTo>
                    <a:pt x="4960" y="2394"/>
                  </a:lnTo>
                  <a:lnTo>
                    <a:pt x="4996" y="2353"/>
                  </a:lnTo>
                  <a:lnTo>
                    <a:pt x="5027" y="2307"/>
                  </a:lnTo>
                  <a:lnTo>
                    <a:pt x="5051" y="2255"/>
                  </a:lnTo>
                  <a:lnTo>
                    <a:pt x="5070" y="2200"/>
                  </a:lnTo>
                  <a:lnTo>
                    <a:pt x="5084" y="2143"/>
                  </a:lnTo>
                  <a:lnTo>
                    <a:pt x="5094" y="2083"/>
                  </a:lnTo>
                  <a:lnTo>
                    <a:pt x="5101" y="2024"/>
                  </a:lnTo>
                  <a:lnTo>
                    <a:pt x="5103" y="1966"/>
                  </a:lnTo>
                  <a:lnTo>
                    <a:pt x="5104" y="1907"/>
                  </a:lnTo>
                  <a:lnTo>
                    <a:pt x="5103" y="1854"/>
                  </a:lnTo>
                  <a:lnTo>
                    <a:pt x="5099" y="1802"/>
                  </a:lnTo>
                  <a:lnTo>
                    <a:pt x="5096" y="1758"/>
                  </a:lnTo>
                  <a:lnTo>
                    <a:pt x="5091" y="1718"/>
                  </a:lnTo>
                  <a:lnTo>
                    <a:pt x="5087" y="1685"/>
                  </a:lnTo>
                  <a:lnTo>
                    <a:pt x="5084" y="1659"/>
                  </a:lnTo>
                  <a:lnTo>
                    <a:pt x="5080" y="1644"/>
                  </a:lnTo>
                  <a:lnTo>
                    <a:pt x="5080" y="1639"/>
                  </a:lnTo>
                  <a:lnTo>
                    <a:pt x="5063" y="1580"/>
                  </a:lnTo>
                  <a:lnTo>
                    <a:pt x="5041" y="1527"/>
                  </a:lnTo>
                  <a:lnTo>
                    <a:pt x="5017" y="1482"/>
                  </a:lnTo>
                  <a:lnTo>
                    <a:pt x="4991" y="1443"/>
                  </a:lnTo>
                  <a:lnTo>
                    <a:pt x="4965" y="1410"/>
                  </a:lnTo>
                  <a:lnTo>
                    <a:pt x="4939" y="1382"/>
                  </a:lnTo>
                  <a:lnTo>
                    <a:pt x="4915" y="1360"/>
                  </a:lnTo>
                  <a:lnTo>
                    <a:pt x="4894" y="1344"/>
                  </a:lnTo>
                  <a:lnTo>
                    <a:pt x="4877" y="1332"/>
                  </a:lnTo>
                  <a:lnTo>
                    <a:pt x="4867" y="1325"/>
                  </a:lnTo>
                  <a:lnTo>
                    <a:pt x="4863" y="1324"/>
                  </a:lnTo>
                  <a:lnTo>
                    <a:pt x="4827" y="1307"/>
                  </a:lnTo>
                  <a:lnTo>
                    <a:pt x="4786" y="1291"/>
                  </a:lnTo>
                  <a:lnTo>
                    <a:pt x="4744" y="1281"/>
                  </a:lnTo>
                  <a:lnTo>
                    <a:pt x="4703" y="1272"/>
                  </a:lnTo>
                  <a:lnTo>
                    <a:pt x="4662" y="1267"/>
                  </a:lnTo>
                  <a:lnTo>
                    <a:pt x="4624" y="1264"/>
                  </a:lnTo>
                  <a:lnTo>
                    <a:pt x="4593" y="1262"/>
                  </a:lnTo>
                  <a:lnTo>
                    <a:pt x="4567" y="1260"/>
                  </a:lnTo>
                  <a:lnTo>
                    <a:pt x="4550" y="1260"/>
                  </a:lnTo>
                  <a:close/>
                  <a:moveTo>
                    <a:pt x="3265" y="634"/>
                  </a:moveTo>
                  <a:lnTo>
                    <a:pt x="3265" y="2553"/>
                  </a:lnTo>
                  <a:lnTo>
                    <a:pt x="2762" y="2553"/>
                  </a:lnTo>
                  <a:lnTo>
                    <a:pt x="2762" y="924"/>
                  </a:lnTo>
                  <a:lnTo>
                    <a:pt x="3265" y="634"/>
                  </a:lnTo>
                  <a:close/>
                  <a:moveTo>
                    <a:pt x="4203" y="136"/>
                  </a:moveTo>
                  <a:lnTo>
                    <a:pt x="4203" y="1214"/>
                  </a:lnTo>
                  <a:lnTo>
                    <a:pt x="4581" y="1214"/>
                  </a:lnTo>
                  <a:lnTo>
                    <a:pt x="4641" y="1210"/>
                  </a:lnTo>
                  <a:lnTo>
                    <a:pt x="4694" y="1202"/>
                  </a:lnTo>
                  <a:lnTo>
                    <a:pt x="4741" y="1190"/>
                  </a:lnTo>
                  <a:lnTo>
                    <a:pt x="4784" y="1172"/>
                  </a:lnTo>
                  <a:lnTo>
                    <a:pt x="4820" y="1153"/>
                  </a:lnTo>
                  <a:lnTo>
                    <a:pt x="4851" y="1133"/>
                  </a:lnTo>
                  <a:lnTo>
                    <a:pt x="4879" y="1110"/>
                  </a:lnTo>
                  <a:lnTo>
                    <a:pt x="4901" y="1090"/>
                  </a:lnTo>
                  <a:lnTo>
                    <a:pt x="4918" y="1071"/>
                  </a:lnTo>
                  <a:lnTo>
                    <a:pt x="4930" y="1054"/>
                  </a:lnTo>
                  <a:lnTo>
                    <a:pt x="4941" y="1041"/>
                  </a:lnTo>
                  <a:lnTo>
                    <a:pt x="4946" y="1033"/>
                  </a:lnTo>
                  <a:lnTo>
                    <a:pt x="4948" y="1029"/>
                  </a:lnTo>
                  <a:lnTo>
                    <a:pt x="4970" y="986"/>
                  </a:lnTo>
                  <a:lnTo>
                    <a:pt x="4987" y="940"/>
                  </a:lnTo>
                  <a:lnTo>
                    <a:pt x="5001" y="892"/>
                  </a:lnTo>
                  <a:lnTo>
                    <a:pt x="5011" y="842"/>
                  </a:lnTo>
                  <a:lnTo>
                    <a:pt x="5020" y="790"/>
                  </a:lnTo>
                  <a:lnTo>
                    <a:pt x="5025" y="739"/>
                  </a:lnTo>
                  <a:lnTo>
                    <a:pt x="5029" y="690"/>
                  </a:lnTo>
                  <a:lnTo>
                    <a:pt x="5030" y="644"/>
                  </a:lnTo>
                  <a:lnTo>
                    <a:pt x="5030" y="603"/>
                  </a:lnTo>
                  <a:lnTo>
                    <a:pt x="5029" y="565"/>
                  </a:lnTo>
                  <a:lnTo>
                    <a:pt x="5027" y="534"/>
                  </a:lnTo>
                  <a:lnTo>
                    <a:pt x="5027" y="511"/>
                  </a:lnTo>
                  <a:lnTo>
                    <a:pt x="5025" y="496"/>
                  </a:lnTo>
                  <a:lnTo>
                    <a:pt x="5025" y="491"/>
                  </a:lnTo>
                  <a:lnTo>
                    <a:pt x="5015" y="434"/>
                  </a:lnTo>
                  <a:lnTo>
                    <a:pt x="4999" y="384"/>
                  </a:lnTo>
                  <a:lnTo>
                    <a:pt x="4979" y="339"/>
                  </a:lnTo>
                  <a:lnTo>
                    <a:pt x="4953" y="301"/>
                  </a:lnTo>
                  <a:lnTo>
                    <a:pt x="4924" y="267"/>
                  </a:lnTo>
                  <a:lnTo>
                    <a:pt x="4893" y="239"/>
                  </a:lnTo>
                  <a:lnTo>
                    <a:pt x="4858" y="215"/>
                  </a:lnTo>
                  <a:lnTo>
                    <a:pt x="4824" y="195"/>
                  </a:lnTo>
                  <a:lnTo>
                    <a:pt x="4787" y="179"/>
                  </a:lnTo>
                  <a:lnTo>
                    <a:pt x="4753" y="165"/>
                  </a:lnTo>
                  <a:lnTo>
                    <a:pt x="4719" y="155"/>
                  </a:lnTo>
                  <a:lnTo>
                    <a:pt x="4688" y="148"/>
                  </a:lnTo>
                  <a:lnTo>
                    <a:pt x="4658" y="143"/>
                  </a:lnTo>
                  <a:lnTo>
                    <a:pt x="4632" y="140"/>
                  </a:lnTo>
                  <a:lnTo>
                    <a:pt x="4610" y="138"/>
                  </a:lnTo>
                  <a:lnTo>
                    <a:pt x="4595" y="138"/>
                  </a:lnTo>
                  <a:lnTo>
                    <a:pt x="4584" y="136"/>
                  </a:lnTo>
                  <a:lnTo>
                    <a:pt x="4581" y="136"/>
                  </a:lnTo>
                  <a:lnTo>
                    <a:pt x="4203" y="136"/>
                  </a:lnTo>
                  <a:close/>
                  <a:moveTo>
                    <a:pt x="4634" y="93"/>
                  </a:moveTo>
                  <a:lnTo>
                    <a:pt x="4655" y="93"/>
                  </a:lnTo>
                  <a:lnTo>
                    <a:pt x="4681" y="93"/>
                  </a:lnTo>
                  <a:lnTo>
                    <a:pt x="4713" y="95"/>
                  </a:lnTo>
                  <a:lnTo>
                    <a:pt x="4751" y="97"/>
                  </a:lnTo>
                  <a:lnTo>
                    <a:pt x="4794" y="100"/>
                  </a:lnTo>
                  <a:lnTo>
                    <a:pt x="4843" y="105"/>
                  </a:lnTo>
                  <a:lnTo>
                    <a:pt x="4893" y="112"/>
                  </a:lnTo>
                  <a:lnTo>
                    <a:pt x="4944" y="121"/>
                  </a:lnTo>
                  <a:lnTo>
                    <a:pt x="4998" y="131"/>
                  </a:lnTo>
                  <a:lnTo>
                    <a:pt x="5053" y="143"/>
                  </a:lnTo>
                  <a:lnTo>
                    <a:pt x="5110" y="159"/>
                  </a:lnTo>
                  <a:lnTo>
                    <a:pt x="5165" y="177"/>
                  </a:lnTo>
                  <a:lnTo>
                    <a:pt x="5218" y="198"/>
                  </a:lnTo>
                  <a:lnTo>
                    <a:pt x="5270" y="222"/>
                  </a:lnTo>
                  <a:lnTo>
                    <a:pt x="5320" y="250"/>
                  </a:lnTo>
                  <a:lnTo>
                    <a:pt x="5366" y="281"/>
                  </a:lnTo>
                  <a:lnTo>
                    <a:pt x="5408" y="315"/>
                  </a:lnTo>
                  <a:lnTo>
                    <a:pt x="5446" y="355"/>
                  </a:lnTo>
                  <a:lnTo>
                    <a:pt x="5477" y="398"/>
                  </a:lnTo>
                  <a:lnTo>
                    <a:pt x="5502" y="446"/>
                  </a:lnTo>
                  <a:lnTo>
                    <a:pt x="5521" y="499"/>
                  </a:lnTo>
                  <a:lnTo>
                    <a:pt x="5523" y="503"/>
                  </a:lnTo>
                  <a:lnTo>
                    <a:pt x="5527" y="513"/>
                  </a:lnTo>
                  <a:lnTo>
                    <a:pt x="5530" y="530"/>
                  </a:lnTo>
                  <a:lnTo>
                    <a:pt x="5533" y="554"/>
                  </a:lnTo>
                  <a:lnTo>
                    <a:pt x="5539" y="582"/>
                  </a:lnTo>
                  <a:lnTo>
                    <a:pt x="5540" y="615"/>
                  </a:lnTo>
                  <a:lnTo>
                    <a:pt x="5542" y="652"/>
                  </a:lnTo>
                  <a:lnTo>
                    <a:pt x="5540" y="692"/>
                  </a:lnTo>
                  <a:lnTo>
                    <a:pt x="5537" y="733"/>
                  </a:lnTo>
                  <a:lnTo>
                    <a:pt x="5528" y="776"/>
                  </a:lnTo>
                  <a:lnTo>
                    <a:pt x="5516" y="821"/>
                  </a:lnTo>
                  <a:lnTo>
                    <a:pt x="5497" y="868"/>
                  </a:lnTo>
                  <a:lnTo>
                    <a:pt x="5473" y="912"/>
                  </a:lnTo>
                  <a:lnTo>
                    <a:pt x="5442" y="955"/>
                  </a:lnTo>
                  <a:lnTo>
                    <a:pt x="5404" y="998"/>
                  </a:lnTo>
                  <a:lnTo>
                    <a:pt x="5359" y="1038"/>
                  </a:lnTo>
                  <a:lnTo>
                    <a:pt x="5304" y="1074"/>
                  </a:lnTo>
                  <a:lnTo>
                    <a:pt x="5228" y="1116"/>
                  </a:lnTo>
                  <a:lnTo>
                    <a:pt x="5158" y="1148"/>
                  </a:lnTo>
                  <a:lnTo>
                    <a:pt x="5092" y="1174"/>
                  </a:lnTo>
                  <a:lnTo>
                    <a:pt x="5034" y="1195"/>
                  </a:lnTo>
                  <a:lnTo>
                    <a:pt x="4982" y="1208"/>
                  </a:lnTo>
                  <a:lnTo>
                    <a:pt x="4937" y="1219"/>
                  </a:lnTo>
                  <a:lnTo>
                    <a:pt x="4903" y="1224"/>
                  </a:lnTo>
                  <a:lnTo>
                    <a:pt x="4875" y="1227"/>
                  </a:lnTo>
                  <a:lnTo>
                    <a:pt x="4860" y="1229"/>
                  </a:lnTo>
                  <a:lnTo>
                    <a:pt x="4853" y="1229"/>
                  </a:lnTo>
                  <a:lnTo>
                    <a:pt x="4948" y="1241"/>
                  </a:lnTo>
                  <a:lnTo>
                    <a:pt x="5034" y="1255"/>
                  </a:lnTo>
                  <a:lnTo>
                    <a:pt x="5110" y="1272"/>
                  </a:lnTo>
                  <a:lnTo>
                    <a:pt x="5179" y="1291"/>
                  </a:lnTo>
                  <a:lnTo>
                    <a:pt x="5237" y="1310"/>
                  </a:lnTo>
                  <a:lnTo>
                    <a:pt x="5289" y="1331"/>
                  </a:lnTo>
                  <a:lnTo>
                    <a:pt x="5334" y="1350"/>
                  </a:lnTo>
                  <a:lnTo>
                    <a:pt x="5370" y="1369"/>
                  </a:lnTo>
                  <a:lnTo>
                    <a:pt x="5397" y="1386"/>
                  </a:lnTo>
                  <a:lnTo>
                    <a:pt x="5420" y="1399"/>
                  </a:lnTo>
                  <a:lnTo>
                    <a:pt x="5435" y="1410"/>
                  </a:lnTo>
                  <a:lnTo>
                    <a:pt x="5444" y="1418"/>
                  </a:lnTo>
                  <a:lnTo>
                    <a:pt x="5447" y="1420"/>
                  </a:lnTo>
                  <a:lnTo>
                    <a:pt x="5502" y="1468"/>
                  </a:lnTo>
                  <a:lnTo>
                    <a:pt x="5549" y="1518"/>
                  </a:lnTo>
                  <a:lnTo>
                    <a:pt x="5587" y="1568"/>
                  </a:lnTo>
                  <a:lnTo>
                    <a:pt x="5616" y="1620"/>
                  </a:lnTo>
                  <a:lnTo>
                    <a:pt x="5638" y="1673"/>
                  </a:lnTo>
                  <a:lnTo>
                    <a:pt x="5654" y="1723"/>
                  </a:lnTo>
                  <a:lnTo>
                    <a:pt x="5666" y="1775"/>
                  </a:lnTo>
                  <a:lnTo>
                    <a:pt x="5671" y="1823"/>
                  </a:lnTo>
                  <a:lnTo>
                    <a:pt x="5675" y="1869"/>
                  </a:lnTo>
                  <a:lnTo>
                    <a:pt x="5673" y="1911"/>
                  </a:lnTo>
                  <a:lnTo>
                    <a:pt x="5669" y="1950"/>
                  </a:lnTo>
                  <a:lnTo>
                    <a:pt x="5666" y="1986"/>
                  </a:lnTo>
                  <a:lnTo>
                    <a:pt x="5659" y="2016"/>
                  </a:lnTo>
                  <a:lnTo>
                    <a:pt x="5654" y="2040"/>
                  </a:lnTo>
                  <a:lnTo>
                    <a:pt x="5649" y="2059"/>
                  </a:lnTo>
                  <a:lnTo>
                    <a:pt x="5645" y="2069"/>
                  </a:lnTo>
                  <a:lnTo>
                    <a:pt x="5644" y="2074"/>
                  </a:lnTo>
                  <a:lnTo>
                    <a:pt x="5618" y="2136"/>
                  </a:lnTo>
                  <a:lnTo>
                    <a:pt x="5585" y="2193"/>
                  </a:lnTo>
                  <a:lnTo>
                    <a:pt x="5547" y="2245"/>
                  </a:lnTo>
                  <a:lnTo>
                    <a:pt x="5504" y="2291"/>
                  </a:lnTo>
                  <a:lnTo>
                    <a:pt x="5458" y="2332"/>
                  </a:lnTo>
                  <a:lnTo>
                    <a:pt x="5408" y="2370"/>
                  </a:lnTo>
                  <a:lnTo>
                    <a:pt x="5354" y="2401"/>
                  </a:lnTo>
                  <a:lnTo>
                    <a:pt x="5297" y="2430"/>
                  </a:lnTo>
                  <a:lnTo>
                    <a:pt x="5241" y="2455"/>
                  </a:lnTo>
                  <a:lnTo>
                    <a:pt x="5182" y="2475"/>
                  </a:lnTo>
                  <a:lnTo>
                    <a:pt x="5125" y="2494"/>
                  </a:lnTo>
                  <a:lnTo>
                    <a:pt x="5067" y="2508"/>
                  </a:lnTo>
                  <a:lnTo>
                    <a:pt x="5011" y="2520"/>
                  </a:lnTo>
                  <a:lnTo>
                    <a:pt x="4956" y="2530"/>
                  </a:lnTo>
                  <a:lnTo>
                    <a:pt x="4905" y="2537"/>
                  </a:lnTo>
                  <a:lnTo>
                    <a:pt x="4856" y="2544"/>
                  </a:lnTo>
                  <a:lnTo>
                    <a:pt x="4813" y="2548"/>
                  </a:lnTo>
                  <a:lnTo>
                    <a:pt x="4774" y="2551"/>
                  </a:lnTo>
                  <a:lnTo>
                    <a:pt x="4741" y="2551"/>
                  </a:lnTo>
                  <a:lnTo>
                    <a:pt x="4713" y="2553"/>
                  </a:lnTo>
                  <a:lnTo>
                    <a:pt x="4693" y="2553"/>
                  </a:lnTo>
                  <a:lnTo>
                    <a:pt x="4681" y="2553"/>
                  </a:lnTo>
                  <a:lnTo>
                    <a:pt x="4675" y="2553"/>
                  </a:lnTo>
                  <a:lnTo>
                    <a:pt x="3700" y="2553"/>
                  </a:lnTo>
                  <a:lnTo>
                    <a:pt x="3700" y="382"/>
                  </a:lnTo>
                  <a:lnTo>
                    <a:pt x="4203" y="93"/>
                  </a:lnTo>
                  <a:lnTo>
                    <a:pt x="4617" y="93"/>
                  </a:lnTo>
                  <a:lnTo>
                    <a:pt x="4622" y="93"/>
                  </a:lnTo>
                  <a:lnTo>
                    <a:pt x="4634" y="93"/>
                  </a:lnTo>
                  <a:close/>
                  <a:moveTo>
                    <a:pt x="1390" y="0"/>
                  </a:moveTo>
                  <a:lnTo>
                    <a:pt x="1475" y="2"/>
                  </a:lnTo>
                  <a:lnTo>
                    <a:pt x="1556" y="9"/>
                  </a:lnTo>
                  <a:lnTo>
                    <a:pt x="1633" y="21"/>
                  </a:lnTo>
                  <a:lnTo>
                    <a:pt x="1709" y="35"/>
                  </a:lnTo>
                  <a:lnTo>
                    <a:pt x="1778" y="50"/>
                  </a:lnTo>
                  <a:lnTo>
                    <a:pt x="1845" y="69"/>
                  </a:lnTo>
                  <a:lnTo>
                    <a:pt x="1905" y="90"/>
                  </a:lnTo>
                  <a:lnTo>
                    <a:pt x="1962" y="110"/>
                  </a:lnTo>
                  <a:lnTo>
                    <a:pt x="2012" y="131"/>
                  </a:lnTo>
                  <a:lnTo>
                    <a:pt x="2057" y="150"/>
                  </a:lnTo>
                  <a:lnTo>
                    <a:pt x="2097" y="169"/>
                  </a:lnTo>
                  <a:lnTo>
                    <a:pt x="2129" y="186"/>
                  </a:lnTo>
                  <a:lnTo>
                    <a:pt x="2155" y="200"/>
                  </a:lnTo>
                  <a:lnTo>
                    <a:pt x="2172" y="210"/>
                  </a:lnTo>
                  <a:lnTo>
                    <a:pt x="2184" y="217"/>
                  </a:lnTo>
                  <a:lnTo>
                    <a:pt x="2134" y="425"/>
                  </a:lnTo>
                  <a:lnTo>
                    <a:pt x="2086" y="369"/>
                  </a:lnTo>
                  <a:lnTo>
                    <a:pt x="2036" y="315"/>
                  </a:lnTo>
                  <a:lnTo>
                    <a:pt x="1981" y="265"/>
                  </a:lnTo>
                  <a:lnTo>
                    <a:pt x="1923" y="220"/>
                  </a:lnTo>
                  <a:lnTo>
                    <a:pt x="1859" y="181"/>
                  </a:lnTo>
                  <a:lnTo>
                    <a:pt x="1790" y="146"/>
                  </a:lnTo>
                  <a:lnTo>
                    <a:pt x="1718" y="117"/>
                  </a:lnTo>
                  <a:lnTo>
                    <a:pt x="1638" y="93"/>
                  </a:lnTo>
                  <a:lnTo>
                    <a:pt x="1556" y="76"/>
                  </a:lnTo>
                  <a:lnTo>
                    <a:pt x="1468" y="66"/>
                  </a:lnTo>
                  <a:lnTo>
                    <a:pt x="1373" y="62"/>
                  </a:lnTo>
                  <a:lnTo>
                    <a:pt x="1292" y="66"/>
                  </a:lnTo>
                  <a:lnTo>
                    <a:pt x="1216" y="78"/>
                  </a:lnTo>
                  <a:lnTo>
                    <a:pt x="1146" y="95"/>
                  </a:lnTo>
                  <a:lnTo>
                    <a:pt x="1080" y="119"/>
                  </a:lnTo>
                  <a:lnTo>
                    <a:pt x="1020" y="146"/>
                  </a:lnTo>
                  <a:lnTo>
                    <a:pt x="965" y="177"/>
                  </a:lnTo>
                  <a:lnTo>
                    <a:pt x="916" y="212"/>
                  </a:lnTo>
                  <a:lnTo>
                    <a:pt x="896" y="229"/>
                  </a:lnTo>
                  <a:lnTo>
                    <a:pt x="873" y="246"/>
                  </a:lnTo>
                  <a:lnTo>
                    <a:pt x="851" y="267"/>
                  </a:lnTo>
                  <a:lnTo>
                    <a:pt x="825" y="289"/>
                  </a:lnTo>
                  <a:lnTo>
                    <a:pt x="799" y="317"/>
                  </a:lnTo>
                  <a:lnTo>
                    <a:pt x="772" y="346"/>
                  </a:lnTo>
                  <a:lnTo>
                    <a:pt x="744" y="381"/>
                  </a:lnTo>
                  <a:lnTo>
                    <a:pt x="717" y="418"/>
                  </a:lnTo>
                  <a:lnTo>
                    <a:pt x="691" y="460"/>
                  </a:lnTo>
                  <a:lnTo>
                    <a:pt x="663" y="508"/>
                  </a:lnTo>
                  <a:lnTo>
                    <a:pt x="637" y="560"/>
                  </a:lnTo>
                  <a:lnTo>
                    <a:pt x="613" y="618"/>
                  </a:lnTo>
                  <a:lnTo>
                    <a:pt x="591" y="682"/>
                  </a:lnTo>
                  <a:lnTo>
                    <a:pt x="570" y="752"/>
                  </a:lnTo>
                  <a:lnTo>
                    <a:pt x="551" y="828"/>
                  </a:lnTo>
                  <a:lnTo>
                    <a:pt x="536" y="912"/>
                  </a:lnTo>
                  <a:lnTo>
                    <a:pt x="524" y="1002"/>
                  </a:lnTo>
                  <a:lnTo>
                    <a:pt x="513" y="1100"/>
                  </a:lnTo>
                  <a:lnTo>
                    <a:pt x="508" y="1207"/>
                  </a:lnTo>
                  <a:lnTo>
                    <a:pt x="506" y="1322"/>
                  </a:lnTo>
                  <a:lnTo>
                    <a:pt x="508" y="1443"/>
                  </a:lnTo>
                  <a:lnTo>
                    <a:pt x="519" y="1560"/>
                  </a:lnTo>
                  <a:lnTo>
                    <a:pt x="532" y="1668"/>
                  </a:lnTo>
                  <a:lnTo>
                    <a:pt x="553" y="1771"/>
                  </a:lnTo>
                  <a:lnTo>
                    <a:pt x="579" y="1868"/>
                  </a:lnTo>
                  <a:lnTo>
                    <a:pt x="610" y="1959"/>
                  </a:lnTo>
                  <a:lnTo>
                    <a:pt x="644" y="2043"/>
                  </a:lnTo>
                  <a:lnTo>
                    <a:pt x="684" y="2121"/>
                  </a:lnTo>
                  <a:lnTo>
                    <a:pt x="729" y="2191"/>
                  </a:lnTo>
                  <a:lnTo>
                    <a:pt x="777" y="2255"/>
                  </a:lnTo>
                  <a:lnTo>
                    <a:pt x="829" y="2313"/>
                  </a:lnTo>
                  <a:lnTo>
                    <a:pt x="884" y="2365"/>
                  </a:lnTo>
                  <a:lnTo>
                    <a:pt x="941" y="2410"/>
                  </a:lnTo>
                  <a:lnTo>
                    <a:pt x="1003" y="2448"/>
                  </a:lnTo>
                  <a:lnTo>
                    <a:pt x="1066" y="2479"/>
                  </a:lnTo>
                  <a:lnTo>
                    <a:pt x="1132" y="2503"/>
                  </a:lnTo>
                  <a:lnTo>
                    <a:pt x="1201" y="2520"/>
                  </a:lnTo>
                  <a:lnTo>
                    <a:pt x="1271" y="2530"/>
                  </a:lnTo>
                  <a:lnTo>
                    <a:pt x="1342" y="2534"/>
                  </a:lnTo>
                  <a:lnTo>
                    <a:pt x="1397" y="2532"/>
                  </a:lnTo>
                  <a:lnTo>
                    <a:pt x="1454" y="2527"/>
                  </a:lnTo>
                  <a:lnTo>
                    <a:pt x="1509" y="2520"/>
                  </a:lnTo>
                  <a:lnTo>
                    <a:pt x="1563" y="2508"/>
                  </a:lnTo>
                  <a:lnTo>
                    <a:pt x="1616" y="2494"/>
                  </a:lnTo>
                  <a:lnTo>
                    <a:pt x="1666" y="2475"/>
                  </a:lnTo>
                  <a:lnTo>
                    <a:pt x="1712" y="2453"/>
                  </a:lnTo>
                  <a:lnTo>
                    <a:pt x="1755" y="2425"/>
                  </a:lnTo>
                  <a:lnTo>
                    <a:pt x="1792" y="2394"/>
                  </a:lnTo>
                  <a:lnTo>
                    <a:pt x="1824" y="2358"/>
                  </a:lnTo>
                  <a:lnTo>
                    <a:pt x="1824" y="1640"/>
                  </a:lnTo>
                  <a:lnTo>
                    <a:pt x="1588" y="1776"/>
                  </a:lnTo>
                  <a:lnTo>
                    <a:pt x="1588" y="1601"/>
                  </a:lnTo>
                  <a:lnTo>
                    <a:pt x="2326" y="1176"/>
                  </a:lnTo>
                  <a:lnTo>
                    <a:pt x="2326" y="2346"/>
                  </a:lnTo>
                  <a:lnTo>
                    <a:pt x="2271" y="2386"/>
                  </a:lnTo>
                  <a:lnTo>
                    <a:pt x="2207" y="2420"/>
                  </a:lnTo>
                  <a:lnTo>
                    <a:pt x="2138" y="2453"/>
                  </a:lnTo>
                  <a:lnTo>
                    <a:pt x="2064" y="2482"/>
                  </a:lnTo>
                  <a:lnTo>
                    <a:pt x="1986" y="2506"/>
                  </a:lnTo>
                  <a:lnTo>
                    <a:pt x="1907" y="2529"/>
                  </a:lnTo>
                  <a:lnTo>
                    <a:pt x="1824" y="2548"/>
                  </a:lnTo>
                  <a:lnTo>
                    <a:pt x="1723" y="2566"/>
                  </a:lnTo>
                  <a:lnTo>
                    <a:pt x="1621" y="2580"/>
                  </a:lnTo>
                  <a:lnTo>
                    <a:pt x="1519" y="2591"/>
                  </a:lnTo>
                  <a:lnTo>
                    <a:pt x="1420" y="2596"/>
                  </a:lnTo>
                  <a:lnTo>
                    <a:pt x="1325" y="2597"/>
                  </a:lnTo>
                  <a:lnTo>
                    <a:pt x="1266" y="2597"/>
                  </a:lnTo>
                  <a:lnTo>
                    <a:pt x="1202" y="2592"/>
                  </a:lnTo>
                  <a:lnTo>
                    <a:pt x="1139" y="2585"/>
                  </a:lnTo>
                  <a:lnTo>
                    <a:pt x="1073" y="2573"/>
                  </a:lnTo>
                  <a:lnTo>
                    <a:pt x="1006" y="2560"/>
                  </a:lnTo>
                  <a:lnTo>
                    <a:pt x="939" y="2542"/>
                  </a:lnTo>
                  <a:lnTo>
                    <a:pt x="870" y="2522"/>
                  </a:lnTo>
                  <a:lnTo>
                    <a:pt x="801" y="2498"/>
                  </a:lnTo>
                  <a:lnTo>
                    <a:pt x="734" y="2470"/>
                  </a:lnTo>
                  <a:lnTo>
                    <a:pt x="667" y="2437"/>
                  </a:lnTo>
                  <a:lnTo>
                    <a:pt x="600" y="2401"/>
                  </a:lnTo>
                  <a:lnTo>
                    <a:pt x="536" y="2362"/>
                  </a:lnTo>
                  <a:lnTo>
                    <a:pt x="472" y="2319"/>
                  </a:lnTo>
                  <a:lnTo>
                    <a:pt x="412" y="2270"/>
                  </a:lnTo>
                  <a:lnTo>
                    <a:pt x="353" y="2217"/>
                  </a:lnTo>
                  <a:lnTo>
                    <a:pt x="298" y="2160"/>
                  </a:lnTo>
                  <a:lnTo>
                    <a:pt x="246" y="2100"/>
                  </a:lnTo>
                  <a:lnTo>
                    <a:pt x="200" y="2035"/>
                  </a:lnTo>
                  <a:lnTo>
                    <a:pt x="155" y="1964"/>
                  </a:lnTo>
                  <a:lnTo>
                    <a:pt x="117" y="1888"/>
                  </a:lnTo>
                  <a:lnTo>
                    <a:pt x="83" y="1809"/>
                  </a:lnTo>
                  <a:lnTo>
                    <a:pt x="53" y="1723"/>
                  </a:lnTo>
                  <a:lnTo>
                    <a:pt x="31" y="1634"/>
                  </a:lnTo>
                  <a:lnTo>
                    <a:pt x="14" y="1537"/>
                  </a:lnTo>
                  <a:lnTo>
                    <a:pt x="3" y="1437"/>
                  </a:lnTo>
                  <a:lnTo>
                    <a:pt x="0" y="1331"/>
                  </a:lnTo>
                  <a:lnTo>
                    <a:pt x="3" y="1214"/>
                  </a:lnTo>
                  <a:lnTo>
                    <a:pt x="14" y="1103"/>
                  </a:lnTo>
                  <a:lnTo>
                    <a:pt x="31" y="1000"/>
                  </a:lnTo>
                  <a:lnTo>
                    <a:pt x="55" y="902"/>
                  </a:lnTo>
                  <a:lnTo>
                    <a:pt x="84" y="809"/>
                  </a:lnTo>
                  <a:lnTo>
                    <a:pt x="121" y="723"/>
                  </a:lnTo>
                  <a:lnTo>
                    <a:pt x="160" y="642"/>
                  </a:lnTo>
                  <a:lnTo>
                    <a:pt x="205" y="566"/>
                  </a:lnTo>
                  <a:lnTo>
                    <a:pt x="255" y="496"/>
                  </a:lnTo>
                  <a:lnTo>
                    <a:pt x="310" y="432"/>
                  </a:lnTo>
                  <a:lnTo>
                    <a:pt x="367" y="372"/>
                  </a:lnTo>
                  <a:lnTo>
                    <a:pt x="429" y="317"/>
                  </a:lnTo>
                  <a:lnTo>
                    <a:pt x="493" y="267"/>
                  </a:lnTo>
                  <a:lnTo>
                    <a:pt x="562" y="222"/>
                  </a:lnTo>
                  <a:lnTo>
                    <a:pt x="631" y="181"/>
                  </a:lnTo>
                  <a:lnTo>
                    <a:pt x="703" y="145"/>
                  </a:lnTo>
                  <a:lnTo>
                    <a:pt x="777" y="114"/>
                  </a:lnTo>
                  <a:lnTo>
                    <a:pt x="853" y="86"/>
                  </a:lnTo>
                  <a:lnTo>
                    <a:pt x="929" y="62"/>
                  </a:lnTo>
                  <a:lnTo>
                    <a:pt x="1006" y="43"/>
                  </a:lnTo>
                  <a:lnTo>
                    <a:pt x="1084" y="26"/>
                  </a:lnTo>
                  <a:lnTo>
                    <a:pt x="1161" y="14"/>
                  </a:lnTo>
                  <a:lnTo>
                    <a:pt x="1237" y="7"/>
                  </a:lnTo>
                  <a:lnTo>
                    <a:pt x="1314" y="2"/>
                  </a:lnTo>
                  <a:lnTo>
                    <a:pt x="1390" y="0"/>
                  </a:lnTo>
                  <a:close/>
                </a:path>
              </a:pathLst>
            </a:custGeom>
            <a:solidFill>
              <a:schemeClr val="bg2"/>
            </a:solidFill>
            <a:ln w="0">
              <a:noFill/>
              <a:prstDash val="solid"/>
              <a:round/>
              <a:headEnd/>
              <a:tailEnd/>
            </a:ln>
          </p:spPr>
          <p:txBody>
            <a:bodyPr rot="0" vert="horz" wrap="square" lIns="91440" tIns="45720" rIns="91440" bIns="45720" anchor="t" anchorCtr="0" upright="1">
              <a:noAutofit/>
            </a:bodyPr>
            <a:lstStyle/>
            <a:p>
              <a:endParaRPr lang="en-IN" dirty="0"/>
            </a:p>
          </p:txBody>
        </p:sp>
        <p:sp>
          <p:nvSpPr>
            <p:cNvPr id="126" name="Rectangle 125">
              <a:extLst>
                <a:ext uri="{FF2B5EF4-FFF2-40B4-BE49-F238E27FC236}">
                  <a16:creationId xmlns:a16="http://schemas.microsoft.com/office/drawing/2014/main" xmlns="" id="{22B21866-F308-48C4-B6CA-D955263C6A0D}"/>
                </a:ext>
              </a:extLst>
            </p:cNvPr>
            <p:cNvSpPr>
              <a:spLocks noChangeArrowheads="1"/>
            </p:cNvSpPr>
            <p:nvPr userDrawn="1"/>
          </p:nvSpPr>
          <p:spPr bwMode="auto">
            <a:xfrm>
              <a:off x="711200" y="2074821"/>
              <a:ext cx="3552825" cy="24130"/>
            </a:xfrm>
            <a:prstGeom prst="rect">
              <a:avLst/>
            </a:prstGeom>
            <a:solidFill>
              <a:srgbClr val="FFCC00"/>
            </a:solidFill>
            <a:ln w="0">
              <a:solidFill>
                <a:srgbClr val="FFCC00"/>
              </a:solidFill>
              <a:prstDash val="solid"/>
              <a:miter lim="800000"/>
              <a:headEnd/>
              <a:tailEnd/>
            </a:ln>
          </p:spPr>
          <p:txBody>
            <a:bodyPr rot="0" vert="horz" wrap="square" lIns="91440" tIns="45720" rIns="91440" bIns="45720" anchor="t" anchorCtr="0" upright="1">
              <a:noAutofit/>
            </a:bodyPr>
            <a:lstStyle/>
            <a:p>
              <a:endParaRPr lang="en-IN" dirty="0"/>
            </a:p>
          </p:txBody>
        </p:sp>
        <p:grpSp>
          <p:nvGrpSpPr>
            <p:cNvPr id="127" name="Group 126">
              <a:extLst>
                <a:ext uri="{FF2B5EF4-FFF2-40B4-BE49-F238E27FC236}">
                  <a16:creationId xmlns:a16="http://schemas.microsoft.com/office/drawing/2014/main" xmlns="" id="{F3698512-F132-4E8C-8DAC-60B1AC5955EC}"/>
                </a:ext>
              </a:extLst>
            </p:cNvPr>
            <p:cNvGrpSpPr/>
            <p:nvPr userDrawn="1"/>
          </p:nvGrpSpPr>
          <p:grpSpPr>
            <a:xfrm>
              <a:off x="711200" y="2293261"/>
              <a:ext cx="3552825" cy="463550"/>
              <a:chOff x="25400" y="2293261"/>
              <a:chExt cx="3552825" cy="463550"/>
            </a:xfrm>
            <a:solidFill>
              <a:schemeClr val="bg2"/>
            </a:solidFill>
          </p:grpSpPr>
          <p:sp>
            <p:nvSpPr>
              <p:cNvPr id="128" name="Freeform 9">
                <a:extLst>
                  <a:ext uri="{FF2B5EF4-FFF2-40B4-BE49-F238E27FC236}">
                    <a16:creationId xmlns:a16="http://schemas.microsoft.com/office/drawing/2014/main" xmlns="" id="{966D7E53-09B3-4A53-A34A-7332A40338EC}"/>
                  </a:ext>
                </a:extLst>
              </p:cNvPr>
              <p:cNvSpPr>
                <a:spLocks/>
              </p:cNvSpPr>
              <p:nvPr userDrawn="1"/>
            </p:nvSpPr>
            <p:spPr bwMode="auto">
              <a:xfrm>
                <a:off x="191135" y="2715536"/>
                <a:ext cx="40640" cy="40005"/>
              </a:xfrm>
              <a:custGeom>
                <a:avLst/>
                <a:gdLst>
                  <a:gd name="T0" fmla="*/ 31 w 64"/>
                  <a:gd name="T1" fmla="*/ 0 h 63"/>
                  <a:gd name="T2" fmla="*/ 40 w 64"/>
                  <a:gd name="T3" fmla="*/ 1 h 63"/>
                  <a:gd name="T4" fmla="*/ 47 w 64"/>
                  <a:gd name="T5" fmla="*/ 3 h 63"/>
                  <a:gd name="T6" fmla="*/ 54 w 64"/>
                  <a:gd name="T7" fmla="*/ 8 h 63"/>
                  <a:gd name="T8" fmla="*/ 59 w 64"/>
                  <a:gd name="T9" fmla="*/ 15 h 63"/>
                  <a:gd name="T10" fmla="*/ 62 w 64"/>
                  <a:gd name="T11" fmla="*/ 24 h 63"/>
                  <a:gd name="T12" fmla="*/ 64 w 64"/>
                  <a:gd name="T13" fmla="*/ 31 h 63"/>
                  <a:gd name="T14" fmla="*/ 62 w 64"/>
                  <a:gd name="T15" fmla="*/ 39 h 63"/>
                  <a:gd name="T16" fmla="*/ 59 w 64"/>
                  <a:gd name="T17" fmla="*/ 48 h 63"/>
                  <a:gd name="T18" fmla="*/ 54 w 64"/>
                  <a:gd name="T19" fmla="*/ 53 h 63"/>
                  <a:gd name="T20" fmla="*/ 47 w 64"/>
                  <a:gd name="T21" fmla="*/ 60 h 63"/>
                  <a:gd name="T22" fmla="*/ 40 w 64"/>
                  <a:gd name="T23" fmla="*/ 62 h 63"/>
                  <a:gd name="T24" fmla="*/ 31 w 64"/>
                  <a:gd name="T25" fmla="*/ 63 h 63"/>
                  <a:gd name="T26" fmla="*/ 25 w 64"/>
                  <a:gd name="T27" fmla="*/ 62 h 63"/>
                  <a:gd name="T28" fmla="*/ 16 w 64"/>
                  <a:gd name="T29" fmla="*/ 60 h 63"/>
                  <a:gd name="T30" fmla="*/ 9 w 64"/>
                  <a:gd name="T31" fmla="*/ 53 h 63"/>
                  <a:gd name="T32" fmla="*/ 4 w 64"/>
                  <a:gd name="T33" fmla="*/ 48 h 63"/>
                  <a:gd name="T34" fmla="*/ 2 w 64"/>
                  <a:gd name="T35" fmla="*/ 39 h 63"/>
                  <a:gd name="T36" fmla="*/ 0 w 64"/>
                  <a:gd name="T37" fmla="*/ 31 h 63"/>
                  <a:gd name="T38" fmla="*/ 2 w 64"/>
                  <a:gd name="T39" fmla="*/ 24 h 63"/>
                  <a:gd name="T40" fmla="*/ 4 w 64"/>
                  <a:gd name="T41" fmla="*/ 15 h 63"/>
                  <a:gd name="T42" fmla="*/ 9 w 64"/>
                  <a:gd name="T43" fmla="*/ 8 h 63"/>
                  <a:gd name="T44" fmla="*/ 16 w 64"/>
                  <a:gd name="T45" fmla="*/ 3 h 63"/>
                  <a:gd name="T46" fmla="*/ 25 w 64"/>
                  <a:gd name="T47" fmla="*/ 1 h 63"/>
                  <a:gd name="T48" fmla="*/ 31 w 64"/>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3">
                    <a:moveTo>
                      <a:pt x="31" y="0"/>
                    </a:moveTo>
                    <a:lnTo>
                      <a:pt x="40" y="1"/>
                    </a:lnTo>
                    <a:lnTo>
                      <a:pt x="47" y="3"/>
                    </a:lnTo>
                    <a:lnTo>
                      <a:pt x="54" y="8"/>
                    </a:lnTo>
                    <a:lnTo>
                      <a:pt x="59" y="15"/>
                    </a:lnTo>
                    <a:lnTo>
                      <a:pt x="62" y="24"/>
                    </a:lnTo>
                    <a:lnTo>
                      <a:pt x="64" y="31"/>
                    </a:lnTo>
                    <a:lnTo>
                      <a:pt x="62" y="39"/>
                    </a:lnTo>
                    <a:lnTo>
                      <a:pt x="59" y="48"/>
                    </a:lnTo>
                    <a:lnTo>
                      <a:pt x="54" y="53"/>
                    </a:lnTo>
                    <a:lnTo>
                      <a:pt x="47" y="60"/>
                    </a:lnTo>
                    <a:lnTo>
                      <a:pt x="40" y="62"/>
                    </a:lnTo>
                    <a:lnTo>
                      <a:pt x="31" y="63"/>
                    </a:lnTo>
                    <a:lnTo>
                      <a:pt x="25" y="62"/>
                    </a:lnTo>
                    <a:lnTo>
                      <a:pt x="16" y="60"/>
                    </a:lnTo>
                    <a:lnTo>
                      <a:pt x="9" y="53"/>
                    </a:lnTo>
                    <a:lnTo>
                      <a:pt x="4" y="48"/>
                    </a:lnTo>
                    <a:lnTo>
                      <a:pt x="2" y="39"/>
                    </a:lnTo>
                    <a:lnTo>
                      <a:pt x="0" y="31"/>
                    </a:lnTo>
                    <a:lnTo>
                      <a:pt x="2" y="24"/>
                    </a:lnTo>
                    <a:lnTo>
                      <a:pt x="4" y="15"/>
                    </a:lnTo>
                    <a:lnTo>
                      <a:pt x="9" y="8"/>
                    </a:lnTo>
                    <a:lnTo>
                      <a:pt x="16" y="3"/>
                    </a:lnTo>
                    <a:lnTo>
                      <a:pt x="25" y="1"/>
                    </a:lnTo>
                    <a:lnTo>
                      <a:pt x="31"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129" name="Freeform 10">
                <a:extLst>
                  <a:ext uri="{FF2B5EF4-FFF2-40B4-BE49-F238E27FC236}">
                    <a16:creationId xmlns:a16="http://schemas.microsoft.com/office/drawing/2014/main" xmlns="" id="{70641E28-B089-4074-B596-1ADA1BFF1CA7}"/>
                  </a:ext>
                </a:extLst>
              </p:cNvPr>
              <p:cNvSpPr>
                <a:spLocks/>
              </p:cNvSpPr>
              <p:nvPr userDrawn="1"/>
            </p:nvSpPr>
            <p:spPr bwMode="auto">
              <a:xfrm>
                <a:off x="130175" y="2715536"/>
                <a:ext cx="40640" cy="40005"/>
              </a:xfrm>
              <a:custGeom>
                <a:avLst/>
                <a:gdLst>
                  <a:gd name="T0" fmla="*/ 33 w 64"/>
                  <a:gd name="T1" fmla="*/ 0 h 63"/>
                  <a:gd name="T2" fmla="*/ 40 w 64"/>
                  <a:gd name="T3" fmla="*/ 1 h 63"/>
                  <a:gd name="T4" fmla="*/ 48 w 64"/>
                  <a:gd name="T5" fmla="*/ 3 h 63"/>
                  <a:gd name="T6" fmla="*/ 55 w 64"/>
                  <a:gd name="T7" fmla="*/ 8 h 63"/>
                  <a:gd name="T8" fmla="*/ 60 w 64"/>
                  <a:gd name="T9" fmla="*/ 15 h 63"/>
                  <a:gd name="T10" fmla="*/ 62 w 64"/>
                  <a:gd name="T11" fmla="*/ 24 h 63"/>
                  <a:gd name="T12" fmla="*/ 64 w 64"/>
                  <a:gd name="T13" fmla="*/ 31 h 63"/>
                  <a:gd name="T14" fmla="*/ 62 w 64"/>
                  <a:gd name="T15" fmla="*/ 39 h 63"/>
                  <a:gd name="T16" fmla="*/ 60 w 64"/>
                  <a:gd name="T17" fmla="*/ 48 h 63"/>
                  <a:gd name="T18" fmla="*/ 55 w 64"/>
                  <a:gd name="T19" fmla="*/ 53 h 63"/>
                  <a:gd name="T20" fmla="*/ 48 w 64"/>
                  <a:gd name="T21" fmla="*/ 60 h 63"/>
                  <a:gd name="T22" fmla="*/ 40 w 64"/>
                  <a:gd name="T23" fmla="*/ 62 h 63"/>
                  <a:gd name="T24" fmla="*/ 33 w 64"/>
                  <a:gd name="T25" fmla="*/ 63 h 63"/>
                  <a:gd name="T26" fmla="*/ 24 w 64"/>
                  <a:gd name="T27" fmla="*/ 62 h 63"/>
                  <a:gd name="T28" fmla="*/ 16 w 64"/>
                  <a:gd name="T29" fmla="*/ 60 h 63"/>
                  <a:gd name="T30" fmla="*/ 10 w 64"/>
                  <a:gd name="T31" fmla="*/ 53 h 63"/>
                  <a:gd name="T32" fmla="*/ 5 w 64"/>
                  <a:gd name="T33" fmla="*/ 48 h 63"/>
                  <a:gd name="T34" fmla="*/ 2 w 64"/>
                  <a:gd name="T35" fmla="*/ 39 h 63"/>
                  <a:gd name="T36" fmla="*/ 0 w 64"/>
                  <a:gd name="T37" fmla="*/ 31 h 63"/>
                  <a:gd name="T38" fmla="*/ 2 w 64"/>
                  <a:gd name="T39" fmla="*/ 24 h 63"/>
                  <a:gd name="T40" fmla="*/ 5 w 64"/>
                  <a:gd name="T41" fmla="*/ 15 h 63"/>
                  <a:gd name="T42" fmla="*/ 10 w 64"/>
                  <a:gd name="T43" fmla="*/ 8 h 63"/>
                  <a:gd name="T44" fmla="*/ 16 w 64"/>
                  <a:gd name="T45" fmla="*/ 3 h 63"/>
                  <a:gd name="T46" fmla="*/ 24 w 64"/>
                  <a:gd name="T47" fmla="*/ 1 h 63"/>
                  <a:gd name="T48" fmla="*/ 33 w 64"/>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3">
                    <a:moveTo>
                      <a:pt x="33" y="0"/>
                    </a:moveTo>
                    <a:lnTo>
                      <a:pt x="40" y="1"/>
                    </a:lnTo>
                    <a:lnTo>
                      <a:pt x="48" y="3"/>
                    </a:lnTo>
                    <a:lnTo>
                      <a:pt x="55" y="8"/>
                    </a:lnTo>
                    <a:lnTo>
                      <a:pt x="60" y="15"/>
                    </a:lnTo>
                    <a:lnTo>
                      <a:pt x="62" y="24"/>
                    </a:lnTo>
                    <a:lnTo>
                      <a:pt x="64" y="31"/>
                    </a:lnTo>
                    <a:lnTo>
                      <a:pt x="62" y="39"/>
                    </a:lnTo>
                    <a:lnTo>
                      <a:pt x="60" y="48"/>
                    </a:lnTo>
                    <a:lnTo>
                      <a:pt x="55" y="53"/>
                    </a:lnTo>
                    <a:lnTo>
                      <a:pt x="48" y="60"/>
                    </a:lnTo>
                    <a:lnTo>
                      <a:pt x="40" y="62"/>
                    </a:lnTo>
                    <a:lnTo>
                      <a:pt x="33" y="63"/>
                    </a:lnTo>
                    <a:lnTo>
                      <a:pt x="24" y="62"/>
                    </a:lnTo>
                    <a:lnTo>
                      <a:pt x="16" y="60"/>
                    </a:lnTo>
                    <a:lnTo>
                      <a:pt x="10" y="53"/>
                    </a:lnTo>
                    <a:lnTo>
                      <a:pt x="5" y="48"/>
                    </a:lnTo>
                    <a:lnTo>
                      <a:pt x="2" y="39"/>
                    </a:lnTo>
                    <a:lnTo>
                      <a:pt x="0" y="31"/>
                    </a:lnTo>
                    <a:lnTo>
                      <a:pt x="2" y="24"/>
                    </a:lnTo>
                    <a:lnTo>
                      <a:pt x="5" y="15"/>
                    </a:lnTo>
                    <a:lnTo>
                      <a:pt x="10" y="8"/>
                    </a:lnTo>
                    <a:lnTo>
                      <a:pt x="16" y="3"/>
                    </a:lnTo>
                    <a:lnTo>
                      <a:pt x="24" y="1"/>
                    </a:lnTo>
                    <a:lnTo>
                      <a:pt x="33"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130" name="Freeform 11">
                <a:extLst>
                  <a:ext uri="{FF2B5EF4-FFF2-40B4-BE49-F238E27FC236}">
                    <a16:creationId xmlns:a16="http://schemas.microsoft.com/office/drawing/2014/main" xmlns="" id="{F19A2936-1E90-4C28-BE03-8DA5B3677D70}"/>
                  </a:ext>
                </a:extLst>
              </p:cNvPr>
              <p:cNvSpPr>
                <a:spLocks/>
              </p:cNvSpPr>
              <p:nvPr userDrawn="1"/>
            </p:nvSpPr>
            <p:spPr bwMode="auto">
              <a:xfrm>
                <a:off x="25400" y="2316121"/>
                <a:ext cx="548005" cy="363220"/>
              </a:xfrm>
              <a:custGeom>
                <a:avLst/>
                <a:gdLst>
                  <a:gd name="T0" fmla="*/ 816 w 863"/>
                  <a:gd name="T1" fmla="*/ 0 h 572"/>
                  <a:gd name="T2" fmla="*/ 863 w 863"/>
                  <a:gd name="T3" fmla="*/ 0 h 572"/>
                  <a:gd name="T4" fmla="*/ 863 w 863"/>
                  <a:gd name="T5" fmla="*/ 396 h 572"/>
                  <a:gd name="T6" fmla="*/ 448 w 863"/>
                  <a:gd name="T7" fmla="*/ 396 h 572"/>
                  <a:gd name="T8" fmla="*/ 451 w 863"/>
                  <a:gd name="T9" fmla="*/ 400 h 572"/>
                  <a:gd name="T10" fmla="*/ 463 w 863"/>
                  <a:gd name="T11" fmla="*/ 413 h 572"/>
                  <a:gd name="T12" fmla="*/ 472 w 863"/>
                  <a:gd name="T13" fmla="*/ 429 h 572"/>
                  <a:gd name="T14" fmla="*/ 477 w 863"/>
                  <a:gd name="T15" fmla="*/ 446 h 572"/>
                  <a:gd name="T16" fmla="*/ 479 w 863"/>
                  <a:gd name="T17" fmla="*/ 460 h 572"/>
                  <a:gd name="T18" fmla="*/ 475 w 863"/>
                  <a:gd name="T19" fmla="*/ 481 h 572"/>
                  <a:gd name="T20" fmla="*/ 466 w 863"/>
                  <a:gd name="T21" fmla="*/ 501 h 572"/>
                  <a:gd name="T22" fmla="*/ 449 w 863"/>
                  <a:gd name="T23" fmla="*/ 520 h 572"/>
                  <a:gd name="T24" fmla="*/ 425 w 863"/>
                  <a:gd name="T25" fmla="*/ 537 h 572"/>
                  <a:gd name="T26" fmla="*/ 392 w 863"/>
                  <a:gd name="T27" fmla="*/ 551 h 572"/>
                  <a:gd name="T28" fmla="*/ 353 w 863"/>
                  <a:gd name="T29" fmla="*/ 561 h 572"/>
                  <a:gd name="T30" fmla="*/ 320 w 863"/>
                  <a:gd name="T31" fmla="*/ 567 h 572"/>
                  <a:gd name="T32" fmla="*/ 284 w 863"/>
                  <a:gd name="T33" fmla="*/ 570 h 572"/>
                  <a:gd name="T34" fmla="*/ 243 w 863"/>
                  <a:gd name="T35" fmla="*/ 572 h 572"/>
                  <a:gd name="T36" fmla="*/ 198 w 863"/>
                  <a:gd name="T37" fmla="*/ 570 h 572"/>
                  <a:gd name="T38" fmla="*/ 158 w 863"/>
                  <a:gd name="T39" fmla="*/ 565 h 572"/>
                  <a:gd name="T40" fmla="*/ 124 w 863"/>
                  <a:gd name="T41" fmla="*/ 558 h 572"/>
                  <a:gd name="T42" fmla="*/ 94 w 863"/>
                  <a:gd name="T43" fmla="*/ 548 h 572"/>
                  <a:gd name="T44" fmla="*/ 70 w 863"/>
                  <a:gd name="T45" fmla="*/ 536 h 572"/>
                  <a:gd name="T46" fmla="*/ 50 w 863"/>
                  <a:gd name="T47" fmla="*/ 522 h 572"/>
                  <a:gd name="T48" fmla="*/ 25 w 863"/>
                  <a:gd name="T49" fmla="*/ 498 h 572"/>
                  <a:gd name="T50" fmla="*/ 10 w 863"/>
                  <a:gd name="T51" fmla="*/ 469 h 572"/>
                  <a:gd name="T52" fmla="*/ 1 w 863"/>
                  <a:gd name="T53" fmla="*/ 436 h 572"/>
                  <a:gd name="T54" fmla="*/ 0 w 863"/>
                  <a:gd name="T55" fmla="*/ 401 h 572"/>
                  <a:gd name="T56" fmla="*/ 0 w 863"/>
                  <a:gd name="T57" fmla="*/ 295 h 572"/>
                  <a:gd name="T58" fmla="*/ 44 w 863"/>
                  <a:gd name="T59" fmla="*/ 295 h 572"/>
                  <a:gd name="T60" fmla="*/ 44 w 863"/>
                  <a:gd name="T61" fmla="*/ 391 h 572"/>
                  <a:gd name="T62" fmla="*/ 46 w 863"/>
                  <a:gd name="T63" fmla="*/ 422 h 572"/>
                  <a:gd name="T64" fmla="*/ 55 w 863"/>
                  <a:gd name="T65" fmla="*/ 451 h 572"/>
                  <a:gd name="T66" fmla="*/ 70 w 863"/>
                  <a:gd name="T67" fmla="*/ 474 h 572"/>
                  <a:gd name="T68" fmla="*/ 91 w 863"/>
                  <a:gd name="T69" fmla="*/ 493 h 572"/>
                  <a:gd name="T70" fmla="*/ 118 w 863"/>
                  <a:gd name="T71" fmla="*/ 506 h 572"/>
                  <a:gd name="T72" fmla="*/ 153 w 863"/>
                  <a:gd name="T73" fmla="*/ 517 h 572"/>
                  <a:gd name="T74" fmla="*/ 194 w 863"/>
                  <a:gd name="T75" fmla="*/ 522 h 572"/>
                  <a:gd name="T76" fmla="*/ 244 w 863"/>
                  <a:gd name="T77" fmla="*/ 524 h 572"/>
                  <a:gd name="T78" fmla="*/ 282 w 863"/>
                  <a:gd name="T79" fmla="*/ 524 h 572"/>
                  <a:gd name="T80" fmla="*/ 318 w 863"/>
                  <a:gd name="T81" fmla="*/ 520 h 572"/>
                  <a:gd name="T82" fmla="*/ 351 w 863"/>
                  <a:gd name="T83" fmla="*/ 515 h 572"/>
                  <a:gd name="T84" fmla="*/ 380 w 863"/>
                  <a:gd name="T85" fmla="*/ 506 h 572"/>
                  <a:gd name="T86" fmla="*/ 404 w 863"/>
                  <a:gd name="T87" fmla="*/ 498 h 572"/>
                  <a:gd name="T88" fmla="*/ 422 w 863"/>
                  <a:gd name="T89" fmla="*/ 486 h 572"/>
                  <a:gd name="T90" fmla="*/ 434 w 863"/>
                  <a:gd name="T91" fmla="*/ 470 h 572"/>
                  <a:gd name="T92" fmla="*/ 437 w 863"/>
                  <a:gd name="T93" fmla="*/ 455 h 572"/>
                  <a:gd name="T94" fmla="*/ 434 w 863"/>
                  <a:gd name="T95" fmla="*/ 439 h 572"/>
                  <a:gd name="T96" fmla="*/ 423 w 863"/>
                  <a:gd name="T97" fmla="*/ 425 h 572"/>
                  <a:gd name="T98" fmla="*/ 408 w 863"/>
                  <a:gd name="T99" fmla="*/ 413 h 572"/>
                  <a:gd name="T100" fmla="*/ 389 w 863"/>
                  <a:gd name="T101" fmla="*/ 403 h 572"/>
                  <a:gd name="T102" fmla="*/ 367 w 863"/>
                  <a:gd name="T103" fmla="*/ 393 h 572"/>
                  <a:gd name="T104" fmla="*/ 344 w 863"/>
                  <a:gd name="T105" fmla="*/ 384 h 572"/>
                  <a:gd name="T106" fmla="*/ 296 w 863"/>
                  <a:gd name="T107" fmla="*/ 369 h 572"/>
                  <a:gd name="T108" fmla="*/ 274 w 863"/>
                  <a:gd name="T109" fmla="*/ 364 h 572"/>
                  <a:gd name="T110" fmla="*/ 274 w 863"/>
                  <a:gd name="T111" fmla="*/ 317 h 572"/>
                  <a:gd name="T112" fmla="*/ 275 w 863"/>
                  <a:gd name="T113" fmla="*/ 317 h 572"/>
                  <a:gd name="T114" fmla="*/ 315 w 863"/>
                  <a:gd name="T115" fmla="*/ 329 h 572"/>
                  <a:gd name="T116" fmla="*/ 360 w 863"/>
                  <a:gd name="T117" fmla="*/ 339 h 572"/>
                  <a:gd name="T118" fmla="*/ 403 w 863"/>
                  <a:gd name="T119" fmla="*/ 348 h 572"/>
                  <a:gd name="T120" fmla="*/ 442 w 863"/>
                  <a:gd name="T121" fmla="*/ 350 h 572"/>
                  <a:gd name="T122" fmla="*/ 816 w 863"/>
                  <a:gd name="T123" fmla="*/ 350 h 572"/>
                  <a:gd name="T124" fmla="*/ 816 w 863"/>
                  <a:gd name="T125"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3" h="572">
                    <a:moveTo>
                      <a:pt x="816" y="0"/>
                    </a:moveTo>
                    <a:lnTo>
                      <a:pt x="863" y="0"/>
                    </a:lnTo>
                    <a:lnTo>
                      <a:pt x="863" y="396"/>
                    </a:lnTo>
                    <a:lnTo>
                      <a:pt x="448" y="396"/>
                    </a:lnTo>
                    <a:lnTo>
                      <a:pt x="451" y="400"/>
                    </a:lnTo>
                    <a:lnTo>
                      <a:pt x="463" y="413"/>
                    </a:lnTo>
                    <a:lnTo>
                      <a:pt x="472" y="429"/>
                    </a:lnTo>
                    <a:lnTo>
                      <a:pt x="477" y="446"/>
                    </a:lnTo>
                    <a:lnTo>
                      <a:pt x="479" y="460"/>
                    </a:lnTo>
                    <a:lnTo>
                      <a:pt x="475" y="481"/>
                    </a:lnTo>
                    <a:lnTo>
                      <a:pt x="466" y="501"/>
                    </a:lnTo>
                    <a:lnTo>
                      <a:pt x="449" y="520"/>
                    </a:lnTo>
                    <a:lnTo>
                      <a:pt x="425" y="537"/>
                    </a:lnTo>
                    <a:lnTo>
                      <a:pt x="392" y="551"/>
                    </a:lnTo>
                    <a:lnTo>
                      <a:pt x="353" y="561"/>
                    </a:lnTo>
                    <a:lnTo>
                      <a:pt x="320" y="567"/>
                    </a:lnTo>
                    <a:lnTo>
                      <a:pt x="284" y="570"/>
                    </a:lnTo>
                    <a:lnTo>
                      <a:pt x="243" y="572"/>
                    </a:lnTo>
                    <a:lnTo>
                      <a:pt x="198" y="570"/>
                    </a:lnTo>
                    <a:lnTo>
                      <a:pt x="158" y="565"/>
                    </a:lnTo>
                    <a:lnTo>
                      <a:pt x="124" y="558"/>
                    </a:lnTo>
                    <a:lnTo>
                      <a:pt x="94" y="548"/>
                    </a:lnTo>
                    <a:lnTo>
                      <a:pt x="70" y="536"/>
                    </a:lnTo>
                    <a:lnTo>
                      <a:pt x="50" y="522"/>
                    </a:lnTo>
                    <a:lnTo>
                      <a:pt x="25" y="498"/>
                    </a:lnTo>
                    <a:lnTo>
                      <a:pt x="10" y="469"/>
                    </a:lnTo>
                    <a:lnTo>
                      <a:pt x="1" y="436"/>
                    </a:lnTo>
                    <a:lnTo>
                      <a:pt x="0" y="401"/>
                    </a:lnTo>
                    <a:lnTo>
                      <a:pt x="0" y="295"/>
                    </a:lnTo>
                    <a:lnTo>
                      <a:pt x="44" y="295"/>
                    </a:lnTo>
                    <a:lnTo>
                      <a:pt x="44" y="391"/>
                    </a:lnTo>
                    <a:lnTo>
                      <a:pt x="46" y="422"/>
                    </a:lnTo>
                    <a:lnTo>
                      <a:pt x="55" y="451"/>
                    </a:lnTo>
                    <a:lnTo>
                      <a:pt x="70" y="474"/>
                    </a:lnTo>
                    <a:lnTo>
                      <a:pt x="91" y="493"/>
                    </a:lnTo>
                    <a:lnTo>
                      <a:pt x="118" y="506"/>
                    </a:lnTo>
                    <a:lnTo>
                      <a:pt x="153" y="517"/>
                    </a:lnTo>
                    <a:lnTo>
                      <a:pt x="194" y="522"/>
                    </a:lnTo>
                    <a:lnTo>
                      <a:pt x="244" y="524"/>
                    </a:lnTo>
                    <a:lnTo>
                      <a:pt x="282" y="524"/>
                    </a:lnTo>
                    <a:lnTo>
                      <a:pt x="318" y="520"/>
                    </a:lnTo>
                    <a:lnTo>
                      <a:pt x="351" y="515"/>
                    </a:lnTo>
                    <a:lnTo>
                      <a:pt x="380" y="506"/>
                    </a:lnTo>
                    <a:lnTo>
                      <a:pt x="404" y="498"/>
                    </a:lnTo>
                    <a:lnTo>
                      <a:pt x="422" y="486"/>
                    </a:lnTo>
                    <a:lnTo>
                      <a:pt x="434" y="470"/>
                    </a:lnTo>
                    <a:lnTo>
                      <a:pt x="437" y="455"/>
                    </a:lnTo>
                    <a:lnTo>
                      <a:pt x="434" y="439"/>
                    </a:lnTo>
                    <a:lnTo>
                      <a:pt x="423" y="425"/>
                    </a:lnTo>
                    <a:lnTo>
                      <a:pt x="408" y="413"/>
                    </a:lnTo>
                    <a:lnTo>
                      <a:pt x="389" y="403"/>
                    </a:lnTo>
                    <a:lnTo>
                      <a:pt x="367" y="393"/>
                    </a:lnTo>
                    <a:lnTo>
                      <a:pt x="344" y="384"/>
                    </a:lnTo>
                    <a:lnTo>
                      <a:pt x="296" y="369"/>
                    </a:lnTo>
                    <a:lnTo>
                      <a:pt x="274" y="364"/>
                    </a:lnTo>
                    <a:lnTo>
                      <a:pt x="274" y="317"/>
                    </a:lnTo>
                    <a:lnTo>
                      <a:pt x="275" y="317"/>
                    </a:lnTo>
                    <a:lnTo>
                      <a:pt x="315" y="329"/>
                    </a:lnTo>
                    <a:lnTo>
                      <a:pt x="360" y="339"/>
                    </a:lnTo>
                    <a:lnTo>
                      <a:pt x="403" y="348"/>
                    </a:lnTo>
                    <a:lnTo>
                      <a:pt x="442" y="350"/>
                    </a:lnTo>
                    <a:lnTo>
                      <a:pt x="816" y="350"/>
                    </a:lnTo>
                    <a:lnTo>
                      <a:pt x="816"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131" name="Freeform 12">
                <a:extLst>
                  <a:ext uri="{FF2B5EF4-FFF2-40B4-BE49-F238E27FC236}">
                    <a16:creationId xmlns:a16="http://schemas.microsoft.com/office/drawing/2014/main" xmlns="" id="{819FE6DB-3924-4957-BAF3-20B0475FAB19}"/>
                  </a:ext>
                </a:extLst>
              </p:cNvPr>
              <p:cNvSpPr>
                <a:spLocks noEditPoints="1"/>
              </p:cNvSpPr>
              <p:nvPr userDrawn="1"/>
            </p:nvSpPr>
            <p:spPr bwMode="auto">
              <a:xfrm>
                <a:off x="623570" y="2394226"/>
                <a:ext cx="171450" cy="273050"/>
              </a:xfrm>
              <a:custGeom>
                <a:avLst/>
                <a:gdLst>
                  <a:gd name="T0" fmla="*/ 114 w 270"/>
                  <a:gd name="T1" fmla="*/ 46 h 430"/>
                  <a:gd name="T2" fmla="*/ 79 w 270"/>
                  <a:gd name="T3" fmla="*/ 65 h 430"/>
                  <a:gd name="T4" fmla="*/ 57 w 270"/>
                  <a:gd name="T5" fmla="*/ 93 h 430"/>
                  <a:gd name="T6" fmla="*/ 45 w 270"/>
                  <a:gd name="T7" fmla="*/ 144 h 430"/>
                  <a:gd name="T8" fmla="*/ 57 w 270"/>
                  <a:gd name="T9" fmla="*/ 194 h 430"/>
                  <a:gd name="T10" fmla="*/ 88 w 270"/>
                  <a:gd name="T11" fmla="*/ 220 h 430"/>
                  <a:gd name="T12" fmla="*/ 134 w 270"/>
                  <a:gd name="T13" fmla="*/ 230 h 430"/>
                  <a:gd name="T14" fmla="*/ 189 w 270"/>
                  <a:gd name="T15" fmla="*/ 220 h 430"/>
                  <a:gd name="T16" fmla="*/ 224 w 270"/>
                  <a:gd name="T17" fmla="*/ 201 h 430"/>
                  <a:gd name="T18" fmla="*/ 224 w 270"/>
                  <a:gd name="T19" fmla="*/ 170 h 430"/>
                  <a:gd name="T20" fmla="*/ 220 w 270"/>
                  <a:gd name="T21" fmla="*/ 120 h 430"/>
                  <a:gd name="T22" fmla="*/ 205 w 270"/>
                  <a:gd name="T23" fmla="*/ 80 h 430"/>
                  <a:gd name="T24" fmla="*/ 188 w 270"/>
                  <a:gd name="T25" fmla="*/ 60 h 430"/>
                  <a:gd name="T26" fmla="*/ 158 w 270"/>
                  <a:gd name="T27" fmla="*/ 46 h 430"/>
                  <a:gd name="T28" fmla="*/ 139 w 270"/>
                  <a:gd name="T29" fmla="*/ 0 h 430"/>
                  <a:gd name="T30" fmla="*/ 202 w 270"/>
                  <a:gd name="T31" fmla="*/ 13 h 430"/>
                  <a:gd name="T32" fmla="*/ 243 w 270"/>
                  <a:gd name="T33" fmla="*/ 53 h 430"/>
                  <a:gd name="T34" fmla="*/ 265 w 270"/>
                  <a:gd name="T35" fmla="*/ 111 h 430"/>
                  <a:gd name="T36" fmla="*/ 270 w 270"/>
                  <a:gd name="T37" fmla="*/ 185 h 430"/>
                  <a:gd name="T38" fmla="*/ 270 w 270"/>
                  <a:gd name="T39" fmla="*/ 287 h 430"/>
                  <a:gd name="T40" fmla="*/ 257 w 270"/>
                  <a:gd name="T41" fmla="*/ 339 h 430"/>
                  <a:gd name="T42" fmla="*/ 215 w 270"/>
                  <a:gd name="T43" fmla="*/ 392 h 430"/>
                  <a:gd name="T44" fmla="*/ 150 w 270"/>
                  <a:gd name="T45" fmla="*/ 421 h 430"/>
                  <a:gd name="T46" fmla="*/ 59 w 270"/>
                  <a:gd name="T47" fmla="*/ 430 h 430"/>
                  <a:gd name="T48" fmla="*/ 43 w 270"/>
                  <a:gd name="T49" fmla="*/ 382 h 430"/>
                  <a:gd name="T50" fmla="*/ 93 w 270"/>
                  <a:gd name="T51" fmla="*/ 382 h 430"/>
                  <a:gd name="T52" fmla="*/ 153 w 270"/>
                  <a:gd name="T53" fmla="*/ 371 h 430"/>
                  <a:gd name="T54" fmla="*/ 198 w 270"/>
                  <a:gd name="T55" fmla="*/ 349 h 430"/>
                  <a:gd name="T56" fmla="*/ 222 w 270"/>
                  <a:gd name="T57" fmla="*/ 306 h 430"/>
                  <a:gd name="T58" fmla="*/ 224 w 270"/>
                  <a:gd name="T59" fmla="*/ 247 h 430"/>
                  <a:gd name="T60" fmla="*/ 205 w 270"/>
                  <a:gd name="T61" fmla="*/ 258 h 430"/>
                  <a:gd name="T62" fmla="*/ 158 w 270"/>
                  <a:gd name="T63" fmla="*/ 272 h 430"/>
                  <a:gd name="T64" fmla="*/ 103 w 270"/>
                  <a:gd name="T65" fmla="*/ 273 h 430"/>
                  <a:gd name="T66" fmla="*/ 57 w 270"/>
                  <a:gd name="T67" fmla="*/ 259 h 430"/>
                  <a:gd name="T68" fmla="*/ 22 w 270"/>
                  <a:gd name="T69" fmla="*/ 230 h 430"/>
                  <a:gd name="T70" fmla="*/ 3 w 270"/>
                  <a:gd name="T71" fmla="*/ 182 h 430"/>
                  <a:gd name="T72" fmla="*/ 3 w 270"/>
                  <a:gd name="T73" fmla="*/ 123 h 430"/>
                  <a:gd name="T74" fmla="*/ 21 w 270"/>
                  <a:gd name="T75" fmla="*/ 70 h 430"/>
                  <a:gd name="T76" fmla="*/ 57 w 270"/>
                  <a:gd name="T77" fmla="*/ 27 h 430"/>
                  <a:gd name="T78" fmla="*/ 108 w 270"/>
                  <a:gd name="T79" fmla="*/ 3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0" h="430">
                    <a:moveTo>
                      <a:pt x="136" y="44"/>
                    </a:moveTo>
                    <a:lnTo>
                      <a:pt x="114" y="46"/>
                    </a:lnTo>
                    <a:lnTo>
                      <a:pt x="95" y="53"/>
                    </a:lnTo>
                    <a:lnTo>
                      <a:pt x="79" y="65"/>
                    </a:lnTo>
                    <a:lnTo>
                      <a:pt x="65" y="77"/>
                    </a:lnTo>
                    <a:lnTo>
                      <a:pt x="57" y="93"/>
                    </a:lnTo>
                    <a:lnTo>
                      <a:pt x="50" y="110"/>
                    </a:lnTo>
                    <a:lnTo>
                      <a:pt x="45" y="144"/>
                    </a:lnTo>
                    <a:lnTo>
                      <a:pt x="48" y="172"/>
                    </a:lnTo>
                    <a:lnTo>
                      <a:pt x="57" y="194"/>
                    </a:lnTo>
                    <a:lnTo>
                      <a:pt x="71" y="210"/>
                    </a:lnTo>
                    <a:lnTo>
                      <a:pt x="88" y="220"/>
                    </a:lnTo>
                    <a:lnTo>
                      <a:pt x="110" y="227"/>
                    </a:lnTo>
                    <a:lnTo>
                      <a:pt x="134" y="230"/>
                    </a:lnTo>
                    <a:lnTo>
                      <a:pt x="164" y="227"/>
                    </a:lnTo>
                    <a:lnTo>
                      <a:pt x="189" y="220"/>
                    </a:lnTo>
                    <a:lnTo>
                      <a:pt x="208" y="211"/>
                    </a:lnTo>
                    <a:lnTo>
                      <a:pt x="224" y="201"/>
                    </a:lnTo>
                    <a:lnTo>
                      <a:pt x="224" y="201"/>
                    </a:lnTo>
                    <a:lnTo>
                      <a:pt x="224" y="170"/>
                    </a:lnTo>
                    <a:lnTo>
                      <a:pt x="224" y="144"/>
                    </a:lnTo>
                    <a:lnTo>
                      <a:pt x="220" y="120"/>
                    </a:lnTo>
                    <a:lnTo>
                      <a:pt x="214" y="98"/>
                    </a:lnTo>
                    <a:lnTo>
                      <a:pt x="205" y="80"/>
                    </a:lnTo>
                    <a:lnTo>
                      <a:pt x="198" y="70"/>
                    </a:lnTo>
                    <a:lnTo>
                      <a:pt x="188" y="60"/>
                    </a:lnTo>
                    <a:lnTo>
                      <a:pt x="177" y="53"/>
                    </a:lnTo>
                    <a:lnTo>
                      <a:pt x="158" y="46"/>
                    </a:lnTo>
                    <a:lnTo>
                      <a:pt x="136" y="44"/>
                    </a:lnTo>
                    <a:close/>
                    <a:moveTo>
                      <a:pt x="139" y="0"/>
                    </a:moveTo>
                    <a:lnTo>
                      <a:pt x="174" y="3"/>
                    </a:lnTo>
                    <a:lnTo>
                      <a:pt x="202" y="13"/>
                    </a:lnTo>
                    <a:lnTo>
                      <a:pt x="224" y="31"/>
                    </a:lnTo>
                    <a:lnTo>
                      <a:pt x="243" y="53"/>
                    </a:lnTo>
                    <a:lnTo>
                      <a:pt x="255" y="79"/>
                    </a:lnTo>
                    <a:lnTo>
                      <a:pt x="265" y="111"/>
                    </a:lnTo>
                    <a:lnTo>
                      <a:pt x="270" y="148"/>
                    </a:lnTo>
                    <a:lnTo>
                      <a:pt x="270" y="185"/>
                    </a:lnTo>
                    <a:lnTo>
                      <a:pt x="270" y="254"/>
                    </a:lnTo>
                    <a:lnTo>
                      <a:pt x="270" y="287"/>
                    </a:lnTo>
                    <a:lnTo>
                      <a:pt x="265" y="315"/>
                    </a:lnTo>
                    <a:lnTo>
                      <a:pt x="257" y="339"/>
                    </a:lnTo>
                    <a:lnTo>
                      <a:pt x="239" y="370"/>
                    </a:lnTo>
                    <a:lnTo>
                      <a:pt x="215" y="392"/>
                    </a:lnTo>
                    <a:lnTo>
                      <a:pt x="186" y="409"/>
                    </a:lnTo>
                    <a:lnTo>
                      <a:pt x="150" y="421"/>
                    </a:lnTo>
                    <a:lnTo>
                      <a:pt x="107" y="426"/>
                    </a:lnTo>
                    <a:lnTo>
                      <a:pt x="59" y="430"/>
                    </a:lnTo>
                    <a:lnTo>
                      <a:pt x="43" y="430"/>
                    </a:lnTo>
                    <a:lnTo>
                      <a:pt x="43" y="382"/>
                    </a:lnTo>
                    <a:lnTo>
                      <a:pt x="57" y="382"/>
                    </a:lnTo>
                    <a:lnTo>
                      <a:pt x="93" y="382"/>
                    </a:lnTo>
                    <a:lnTo>
                      <a:pt x="126" y="378"/>
                    </a:lnTo>
                    <a:lnTo>
                      <a:pt x="153" y="371"/>
                    </a:lnTo>
                    <a:lnTo>
                      <a:pt x="177" y="363"/>
                    </a:lnTo>
                    <a:lnTo>
                      <a:pt x="198" y="349"/>
                    </a:lnTo>
                    <a:lnTo>
                      <a:pt x="212" y="330"/>
                    </a:lnTo>
                    <a:lnTo>
                      <a:pt x="222" y="306"/>
                    </a:lnTo>
                    <a:lnTo>
                      <a:pt x="224" y="273"/>
                    </a:lnTo>
                    <a:lnTo>
                      <a:pt x="224" y="247"/>
                    </a:lnTo>
                    <a:lnTo>
                      <a:pt x="222" y="249"/>
                    </a:lnTo>
                    <a:lnTo>
                      <a:pt x="205" y="258"/>
                    </a:lnTo>
                    <a:lnTo>
                      <a:pt x="184" y="266"/>
                    </a:lnTo>
                    <a:lnTo>
                      <a:pt x="158" y="272"/>
                    </a:lnTo>
                    <a:lnTo>
                      <a:pt x="129" y="273"/>
                    </a:lnTo>
                    <a:lnTo>
                      <a:pt x="103" y="273"/>
                    </a:lnTo>
                    <a:lnTo>
                      <a:pt x="79" y="268"/>
                    </a:lnTo>
                    <a:lnTo>
                      <a:pt x="57" y="259"/>
                    </a:lnTo>
                    <a:lnTo>
                      <a:pt x="38" y="247"/>
                    </a:lnTo>
                    <a:lnTo>
                      <a:pt x="22" y="230"/>
                    </a:lnTo>
                    <a:lnTo>
                      <a:pt x="10" y="208"/>
                    </a:lnTo>
                    <a:lnTo>
                      <a:pt x="3" y="182"/>
                    </a:lnTo>
                    <a:lnTo>
                      <a:pt x="0" y="151"/>
                    </a:lnTo>
                    <a:lnTo>
                      <a:pt x="3" y="123"/>
                    </a:lnTo>
                    <a:lnTo>
                      <a:pt x="10" y="96"/>
                    </a:lnTo>
                    <a:lnTo>
                      <a:pt x="21" y="70"/>
                    </a:lnTo>
                    <a:lnTo>
                      <a:pt x="36" y="48"/>
                    </a:lnTo>
                    <a:lnTo>
                      <a:pt x="57" y="27"/>
                    </a:lnTo>
                    <a:lnTo>
                      <a:pt x="79" y="13"/>
                    </a:lnTo>
                    <a:lnTo>
                      <a:pt x="108" y="3"/>
                    </a:lnTo>
                    <a:lnTo>
                      <a:pt x="139"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132" name="Freeform 13">
                <a:extLst>
                  <a:ext uri="{FF2B5EF4-FFF2-40B4-BE49-F238E27FC236}">
                    <a16:creationId xmlns:a16="http://schemas.microsoft.com/office/drawing/2014/main" xmlns="" id="{F698E916-C309-46F1-9B20-E5E87036E4BB}"/>
                  </a:ext>
                </a:extLst>
              </p:cNvPr>
              <p:cNvSpPr>
                <a:spLocks/>
              </p:cNvSpPr>
              <p:nvPr userDrawn="1"/>
            </p:nvSpPr>
            <p:spPr bwMode="auto">
              <a:xfrm>
                <a:off x="835660" y="2316121"/>
                <a:ext cx="305435" cy="251460"/>
              </a:xfrm>
              <a:custGeom>
                <a:avLst/>
                <a:gdLst>
                  <a:gd name="T0" fmla="*/ 436 w 481"/>
                  <a:gd name="T1" fmla="*/ 0 h 396"/>
                  <a:gd name="T2" fmla="*/ 481 w 481"/>
                  <a:gd name="T3" fmla="*/ 0 h 396"/>
                  <a:gd name="T4" fmla="*/ 481 w 481"/>
                  <a:gd name="T5" fmla="*/ 396 h 396"/>
                  <a:gd name="T6" fmla="*/ 312 w 481"/>
                  <a:gd name="T7" fmla="*/ 396 h 396"/>
                  <a:gd name="T8" fmla="*/ 286 w 481"/>
                  <a:gd name="T9" fmla="*/ 393 h 396"/>
                  <a:gd name="T10" fmla="*/ 264 w 481"/>
                  <a:gd name="T11" fmla="*/ 381 h 396"/>
                  <a:gd name="T12" fmla="*/ 245 w 481"/>
                  <a:gd name="T13" fmla="*/ 362 h 396"/>
                  <a:gd name="T14" fmla="*/ 224 w 481"/>
                  <a:gd name="T15" fmla="*/ 334 h 396"/>
                  <a:gd name="T16" fmla="*/ 222 w 481"/>
                  <a:gd name="T17" fmla="*/ 331 h 396"/>
                  <a:gd name="T18" fmla="*/ 222 w 481"/>
                  <a:gd name="T19" fmla="*/ 334 h 396"/>
                  <a:gd name="T20" fmla="*/ 217 w 481"/>
                  <a:gd name="T21" fmla="*/ 353 h 396"/>
                  <a:gd name="T22" fmla="*/ 209 w 481"/>
                  <a:gd name="T23" fmla="*/ 367 h 396"/>
                  <a:gd name="T24" fmla="*/ 200 w 481"/>
                  <a:gd name="T25" fmla="*/ 376 h 396"/>
                  <a:gd name="T26" fmla="*/ 191 w 481"/>
                  <a:gd name="T27" fmla="*/ 382 h 396"/>
                  <a:gd name="T28" fmla="*/ 181 w 481"/>
                  <a:gd name="T29" fmla="*/ 388 h 396"/>
                  <a:gd name="T30" fmla="*/ 164 w 481"/>
                  <a:gd name="T31" fmla="*/ 393 h 396"/>
                  <a:gd name="T32" fmla="*/ 147 w 481"/>
                  <a:gd name="T33" fmla="*/ 396 h 396"/>
                  <a:gd name="T34" fmla="*/ 104 w 481"/>
                  <a:gd name="T35" fmla="*/ 396 h 396"/>
                  <a:gd name="T36" fmla="*/ 0 w 481"/>
                  <a:gd name="T37" fmla="*/ 396 h 396"/>
                  <a:gd name="T38" fmla="*/ 0 w 481"/>
                  <a:gd name="T39" fmla="*/ 350 h 396"/>
                  <a:gd name="T40" fmla="*/ 124 w 481"/>
                  <a:gd name="T41" fmla="*/ 350 h 396"/>
                  <a:gd name="T42" fmla="*/ 145 w 481"/>
                  <a:gd name="T43" fmla="*/ 350 h 396"/>
                  <a:gd name="T44" fmla="*/ 162 w 481"/>
                  <a:gd name="T45" fmla="*/ 345 h 396"/>
                  <a:gd name="T46" fmla="*/ 174 w 481"/>
                  <a:gd name="T47" fmla="*/ 339 h 396"/>
                  <a:gd name="T48" fmla="*/ 184 w 481"/>
                  <a:gd name="T49" fmla="*/ 326 h 396"/>
                  <a:gd name="T50" fmla="*/ 190 w 481"/>
                  <a:gd name="T51" fmla="*/ 310 h 396"/>
                  <a:gd name="T52" fmla="*/ 188 w 481"/>
                  <a:gd name="T53" fmla="*/ 295 h 396"/>
                  <a:gd name="T54" fmla="*/ 183 w 481"/>
                  <a:gd name="T55" fmla="*/ 277 h 396"/>
                  <a:gd name="T56" fmla="*/ 174 w 481"/>
                  <a:gd name="T57" fmla="*/ 260 h 396"/>
                  <a:gd name="T58" fmla="*/ 162 w 481"/>
                  <a:gd name="T59" fmla="*/ 243 h 396"/>
                  <a:gd name="T60" fmla="*/ 93 w 481"/>
                  <a:gd name="T61" fmla="*/ 141 h 396"/>
                  <a:gd name="T62" fmla="*/ 138 w 481"/>
                  <a:gd name="T63" fmla="*/ 112 h 396"/>
                  <a:gd name="T64" fmla="*/ 224 w 481"/>
                  <a:gd name="T65" fmla="*/ 253 h 396"/>
                  <a:gd name="T66" fmla="*/ 248 w 481"/>
                  <a:gd name="T67" fmla="*/ 293 h 396"/>
                  <a:gd name="T68" fmla="*/ 271 w 481"/>
                  <a:gd name="T69" fmla="*/ 324 h 396"/>
                  <a:gd name="T70" fmla="*/ 283 w 481"/>
                  <a:gd name="T71" fmla="*/ 338 h 396"/>
                  <a:gd name="T72" fmla="*/ 298 w 481"/>
                  <a:gd name="T73" fmla="*/ 348 h 396"/>
                  <a:gd name="T74" fmla="*/ 312 w 481"/>
                  <a:gd name="T75" fmla="*/ 350 h 396"/>
                  <a:gd name="T76" fmla="*/ 436 w 481"/>
                  <a:gd name="T77" fmla="*/ 350 h 396"/>
                  <a:gd name="T78" fmla="*/ 436 w 481"/>
                  <a:gd name="T79"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1" h="396">
                    <a:moveTo>
                      <a:pt x="436" y="0"/>
                    </a:moveTo>
                    <a:lnTo>
                      <a:pt x="481" y="0"/>
                    </a:lnTo>
                    <a:lnTo>
                      <a:pt x="481" y="396"/>
                    </a:lnTo>
                    <a:lnTo>
                      <a:pt x="312" y="396"/>
                    </a:lnTo>
                    <a:lnTo>
                      <a:pt x="286" y="393"/>
                    </a:lnTo>
                    <a:lnTo>
                      <a:pt x="264" y="381"/>
                    </a:lnTo>
                    <a:lnTo>
                      <a:pt x="245" y="362"/>
                    </a:lnTo>
                    <a:lnTo>
                      <a:pt x="224" y="334"/>
                    </a:lnTo>
                    <a:lnTo>
                      <a:pt x="222" y="331"/>
                    </a:lnTo>
                    <a:lnTo>
                      <a:pt x="222" y="334"/>
                    </a:lnTo>
                    <a:lnTo>
                      <a:pt x="217" y="353"/>
                    </a:lnTo>
                    <a:lnTo>
                      <a:pt x="209" y="367"/>
                    </a:lnTo>
                    <a:lnTo>
                      <a:pt x="200" y="376"/>
                    </a:lnTo>
                    <a:lnTo>
                      <a:pt x="191" y="382"/>
                    </a:lnTo>
                    <a:lnTo>
                      <a:pt x="181" y="388"/>
                    </a:lnTo>
                    <a:lnTo>
                      <a:pt x="164" y="393"/>
                    </a:lnTo>
                    <a:lnTo>
                      <a:pt x="147" y="396"/>
                    </a:lnTo>
                    <a:lnTo>
                      <a:pt x="104" y="396"/>
                    </a:lnTo>
                    <a:lnTo>
                      <a:pt x="0" y="396"/>
                    </a:lnTo>
                    <a:lnTo>
                      <a:pt x="0" y="350"/>
                    </a:lnTo>
                    <a:lnTo>
                      <a:pt x="124" y="350"/>
                    </a:lnTo>
                    <a:lnTo>
                      <a:pt x="145" y="350"/>
                    </a:lnTo>
                    <a:lnTo>
                      <a:pt x="162" y="345"/>
                    </a:lnTo>
                    <a:lnTo>
                      <a:pt x="174" y="339"/>
                    </a:lnTo>
                    <a:lnTo>
                      <a:pt x="184" y="326"/>
                    </a:lnTo>
                    <a:lnTo>
                      <a:pt x="190" y="310"/>
                    </a:lnTo>
                    <a:lnTo>
                      <a:pt x="188" y="295"/>
                    </a:lnTo>
                    <a:lnTo>
                      <a:pt x="183" y="277"/>
                    </a:lnTo>
                    <a:lnTo>
                      <a:pt x="174" y="260"/>
                    </a:lnTo>
                    <a:lnTo>
                      <a:pt x="162" y="243"/>
                    </a:lnTo>
                    <a:lnTo>
                      <a:pt x="93" y="141"/>
                    </a:lnTo>
                    <a:lnTo>
                      <a:pt x="138" y="112"/>
                    </a:lnTo>
                    <a:lnTo>
                      <a:pt x="224" y="253"/>
                    </a:lnTo>
                    <a:lnTo>
                      <a:pt x="248" y="293"/>
                    </a:lnTo>
                    <a:lnTo>
                      <a:pt x="271" y="324"/>
                    </a:lnTo>
                    <a:lnTo>
                      <a:pt x="283" y="338"/>
                    </a:lnTo>
                    <a:lnTo>
                      <a:pt x="298" y="348"/>
                    </a:lnTo>
                    <a:lnTo>
                      <a:pt x="312" y="350"/>
                    </a:lnTo>
                    <a:lnTo>
                      <a:pt x="436" y="350"/>
                    </a:lnTo>
                    <a:lnTo>
                      <a:pt x="436"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133" name="Rectangle 132">
                <a:extLst>
                  <a:ext uri="{FF2B5EF4-FFF2-40B4-BE49-F238E27FC236}">
                    <a16:creationId xmlns:a16="http://schemas.microsoft.com/office/drawing/2014/main" xmlns="" id="{DFE3884A-3CE6-44D6-9BF6-0B13C9C12EF3}"/>
                  </a:ext>
                </a:extLst>
              </p:cNvPr>
              <p:cNvSpPr>
                <a:spLocks noChangeArrowheads="1"/>
              </p:cNvSpPr>
              <p:nvPr userDrawn="1"/>
            </p:nvSpPr>
            <p:spPr bwMode="auto">
              <a:xfrm>
                <a:off x="1203325" y="2316121"/>
                <a:ext cx="29845" cy="251460"/>
              </a:xfrm>
              <a:prstGeom prst="rect">
                <a:avLst/>
              </a:prstGeom>
              <a:grpFill/>
              <a:ln w="0">
                <a:noFill/>
                <a:prstDash val="solid"/>
                <a:miter lim="800000"/>
                <a:headEnd/>
                <a:tailEnd/>
              </a:ln>
            </p:spPr>
            <p:txBody>
              <a:bodyPr rot="0" vert="horz" wrap="square" lIns="91440" tIns="45720" rIns="91440" bIns="45720" anchor="t" anchorCtr="0" upright="1">
                <a:noAutofit/>
              </a:bodyPr>
              <a:lstStyle/>
              <a:p>
                <a:endParaRPr lang="en-IN" dirty="0"/>
              </a:p>
            </p:txBody>
          </p:sp>
          <p:sp>
            <p:nvSpPr>
              <p:cNvPr id="134" name="Freeform 15">
                <a:extLst>
                  <a:ext uri="{FF2B5EF4-FFF2-40B4-BE49-F238E27FC236}">
                    <a16:creationId xmlns:a16="http://schemas.microsoft.com/office/drawing/2014/main" xmlns="" id="{158EF2A7-5A0F-4BFF-A30C-79FD6B831AB1}"/>
                  </a:ext>
                </a:extLst>
              </p:cNvPr>
              <p:cNvSpPr>
                <a:spLocks/>
              </p:cNvSpPr>
              <p:nvPr userDrawn="1"/>
            </p:nvSpPr>
            <p:spPr bwMode="auto">
              <a:xfrm>
                <a:off x="1435100" y="2627906"/>
                <a:ext cx="40640" cy="40640"/>
              </a:xfrm>
              <a:custGeom>
                <a:avLst/>
                <a:gdLst>
                  <a:gd name="T0" fmla="*/ 33 w 64"/>
                  <a:gd name="T1" fmla="*/ 0 h 64"/>
                  <a:gd name="T2" fmla="*/ 42 w 64"/>
                  <a:gd name="T3" fmla="*/ 2 h 64"/>
                  <a:gd name="T4" fmla="*/ 48 w 64"/>
                  <a:gd name="T5" fmla="*/ 5 h 64"/>
                  <a:gd name="T6" fmla="*/ 55 w 64"/>
                  <a:gd name="T7" fmla="*/ 10 h 64"/>
                  <a:gd name="T8" fmla="*/ 61 w 64"/>
                  <a:gd name="T9" fmla="*/ 17 h 64"/>
                  <a:gd name="T10" fmla="*/ 64 w 64"/>
                  <a:gd name="T11" fmla="*/ 24 h 64"/>
                  <a:gd name="T12" fmla="*/ 64 w 64"/>
                  <a:gd name="T13" fmla="*/ 33 h 64"/>
                  <a:gd name="T14" fmla="*/ 64 w 64"/>
                  <a:gd name="T15" fmla="*/ 39 h 64"/>
                  <a:gd name="T16" fmla="*/ 61 w 64"/>
                  <a:gd name="T17" fmla="*/ 48 h 64"/>
                  <a:gd name="T18" fmla="*/ 55 w 64"/>
                  <a:gd name="T19" fmla="*/ 55 h 64"/>
                  <a:gd name="T20" fmla="*/ 48 w 64"/>
                  <a:gd name="T21" fmla="*/ 60 h 64"/>
                  <a:gd name="T22" fmla="*/ 42 w 64"/>
                  <a:gd name="T23" fmla="*/ 64 h 64"/>
                  <a:gd name="T24" fmla="*/ 33 w 64"/>
                  <a:gd name="T25" fmla="*/ 64 h 64"/>
                  <a:gd name="T26" fmla="*/ 24 w 64"/>
                  <a:gd name="T27" fmla="*/ 64 h 64"/>
                  <a:gd name="T28" fmla="*/ 17 w 64"/>
                  <a:gd name="T29" fmla="*/ 60 h 64"/>
                  <a:gd name="T30" fmla="*/ 11 w 64"/>
                  <a:gd name="T31" fmla="*/ 55 h 64"/>
                  <a:gd name="T32" fmla="*/ 5 w 64"/>
                  <a:gd name="T33" fmla="*/ 48 h 64"/>
                  <a:gd name="T34" fmla="*/ 2 w 64"/>
                  <a:gd name="T35" fmla="*/ 39 h 64"/>
                  <a:gd name="T36" fmla="*/ 0 w 64"/>
                  <a:gd name="T37" fmla="*/ 33 h 64"/>
                  <a:gd name="T38" fmla="*/ 2 w 64"/>
                  <a:gd name="T39" fmla="*/ 24 h 64"/>
                  <a:gd name="T40" fmla="*/ 5 w 64"/>
                  <a:gd name="T41" fmla="*/ 17 h 64"/>
                  <a:gd name="T42" fmla="*/ 11 w 64"/>
                  <a:gd name="T43" fmla="*/ 10 h 64"/>
                  <a:gd name="T44" fmla="*/ 17 w 64"/>
                  <a:gd name="T45" fmla="*/ 5 h 64"/>
                  <a:gd name="T46" fmla="*/ 24 w 64"/>
                  <a:gd name="T47" fmla="*/ 2 h 64"/>
                  <a:gd name="T48" fmla="*/ 33 w 64"/>
                  <a:gd name="T4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3" y="0"/>
                    </a:moveTo>
                    <a:lnTo>
                      <a:pt x="42" y="2"/>
                    </a:lnTo>
                    <a:lnTo>
                      <a:pt x="48" y="5"/>
                    </a:lnTo>
                    <a:lnTo>
                      <a:pt x="55" y="10"/>
                    </a:lnTo>
                    <a:lnTo>
                      <a:pt x="61" y="17"/>
                    </a:lnTo>
                    <a:lnTo>
                      <a:pt x="64" y="24"/>
                    </a:lnTo>
                    <a:lnTo>
                      <a:pt x="64" y="33"/>
                    </a:lnTo>
                    <a:lnTo>
                      <a:pt x="64" y="39"/>
                    </a:lnTo>
                    <a:lnTo>
                      <a:pt x="61" y="48"/>
                    </a:lnTo>
                    <a:lnTo>
                      <a:pt x="55" y="55"/>
                    </a:lnTo>
                    <a:lnTo>
                      <a:pt x="48" y="60"/>
                    </a:lnTo>
                    <a:lnTo>
                      <a:pt x="42" y="64"/>
                    </a:lnTo>
                    <a:lnTo>
                      <a:pt x="33" y="64"/>
                    </a:lnTo>
                    <a:lnTo>
                      <a:pt x="24" y="64"/>
                    </a:lnTo>
                    <a:lnTo>
                      <a:pt x="17" y="60"/>
                    </a:lnTo>
                    <a:lnTo>
                      <a:pt x="11" y="55"/>
                    </a:lnTo>
                    <a:lnTo>
                      <a:pt x="5" y="48"/>
                    </a:lnTo>
                    <a:lnTo>
                      <a:pt x="2" y="39"/>
                    </a:lnTo>
                    <a:lnTo>
                      <a:pt x="0" y="33"/>
                    </a:lnTo>
                    <a:lnTo>
                      <a:pt x="2" y="24"/>
                    </a:lnTo>
                    <a:lnTo>
                      <a:pt x="5" y="17"/>
                    </a:lnTo>
                    <a:lnTo>
                      <a:pt x="11" y="10"/>
                    </a:lnTo>
                    <a:lnTo>
                      <a:pt x="17" y="5"/>
                    </a:lnTo>
                    <a:lnTo>
                      <a:pt x="24" y="2"/>
                    </a:lnTo>
                    <a:lnTo>
                      <a:pt x="33"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135" name="Freeform 16">
                <a:extLst>
                  <a:ext uri="{FF2B5EF4-FFF2-40B4-BE49-F238E27FC236}">
                    <a16:creationId xmlns:a16="http://schemas.microsoft.com/office/drawing/2014/main" xmlns="" id="{08C2E87A-D7B3-4B54-AA7B-D8827A084D12}"/>
                  </a:ext>
                </a:extLst>
              </p:cNvPr>
              <p:cNvSpPr>
                <a:spLocks/>
              </p:cNvSpPr>
              <p:nvPr userDrawn="1"/>
            </p:nvSpPr>
            <p:spPr bwMode="auto">
              <a:xfrm>
                <a:off x="1907540" y="2608221"/>
                <a:ext cx="39370" cy="40640"/>
              </a:xfrm>
              <a:custGeom>
                <a:avLst/>
                <a:gdLst>
                  <a:gd name="T0" fmla="*/ 31 w 62"/>
                  <a:gd name="T1" fmla="*/ 0 h 64"/>
                  <a:gd name="T2" fmla="*/ 40 w 62"/>
                  <a:gd name="T3" fmla="*/ 2 h 64"/>
                  <a:gd name="T4" fmla="*/ 47 w 62"/>
                  <a:gd name="T5" fmla="*/ 5 h 64"/>
                  <a:gd name="T6" fmla="*/ 54 w 62"/>
                  <a:gd name="T7" fmla="*/ 10 h 64"/>
                  <a:gd name="T8" fmla="*/ 59 w 62"/>
                  <a:gd name="T9" fmla="*/ 15 h 64"/>
                  <a:gd name="T10" fmla="*/ 62 w 62"/>
                  <a:gd name="T11" fmla="*/ 24 h 64"/>
                  <a:gd name="T12" fmla="*/ 62 w 62"/>
                  <a:gd name="T13" fmla="*/ 33 h 64"/>
                  <a:gd name="T14" fmla="*/ 62 w 62"/>
                  <a:gd name="T15" fmla="*/ 40 h 64"/>
                  <a:gd name="T16" fmla="*/ 59 w 62"/>
                  <a:gd name="T17" fmla="*/ 48 h 64"/>
                  <a:gd name="T18" fmla="*/ 54 w 62"/>
                  <a:gd name="T19" fmla="*/ 55 h 64"/>
                  <a:gd name="T20" fmla="*/ 47 w 62"/>
                  <a:gd name="T21" fmla="*/ 60 h 64"/>
                  <a:gd name="T22" fmla="*/ 40 w 62"/>
                  <a:gd name="T23" fmla="*/ 62 h 64"/>
                  <a:gd name="T24" fmla="*/ 31 w 62"/>
                  <a:gd name="T25" fmla="*/ 64 h 64"/>
                  <a:gd name="T26" fmla="*/ 23 w 62"/>
                  <a:gd name="T27" fmla="*/ 62 h 64"/>
                  <a:gd name="T28" fmla="*/ 16 w 62"/>
                  <a:gd name="T29" fmla="*/ 60 h 64"/>
                  <a:gd name="T30" fmla="*/ 9 w 62"/>
                  <a:gd name="T31" fmla="*/ 55 h 64"/>
                  <a:gd name="T32" fmla="*/ 4 w 62"/>
                  <a:gd name="T33" fmla="*/ 48 h 64"/>
                  <a:gd name="T34" fmla="*/ 0 w 62"/>
                  <a:gd name="T35" fmla="*/ 40 h 64"/>
                  <a:gd name="T36" fmla="*/ 0 w 62"/>
                  <a:gd name="T37" fmla="*/ 33 h 64"/>
                  <a:gd name="T38" fmla="*/ 0 w 62"/>
                  <a:gd name="T39" fmla="*/ 24 h 64"/>
                  <a:gd name="T40" fmla="*/ 4 w 62"/>
                  <a:gd name="T41" fmla="*/ 15 h 64"/>
                  <a:gd name="T42" fmla="*/ 9 w 62"/>
                  <a:gd name="T43" fmla="*/ 10 h 64"/>
                  <a:gd name="T44" fmla="*/ 16 w 62"/>
                  <a:gd name="T45" fmla="*/ 5 h 64"/>
                  <a:gd name="T46" fmla="*/ 23 w 62"/>
                  <a:gd name="T47" fmla="*/ 2 h 64"/>
                  <a:gd name="T48" fmla="*/ 31 w 62"/>
                  <a:gd name="T4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64">
                    <a:moveTo>
                      <a:pt x="31" y="0"/>
                    </a:moveTo>
                    <a:lnTo>
                      <a:pt x="40" y="2"/>
                    </a:lnTo>
                    <a:lnTo>
                      <a:pt x="47" y="5"/>
                    </a:lnTo>
                    <a:lnTo>
                      <a:pt x="54" y="10"/>
                    </a:lnTo>
                    <a:lnTo>
                      <a:pt x="59" y="15"/>
                    </a:lnTo>
                    <a:lnTo>
                      <a:pt x="62" y="24"/>
                    </a:lnTo>
                    <a:lnTo>
                      <a:pt x="62" y="33"/>
                    </a:lnTo>
                    <a:lnTo>
                      <a:pt x="62" y="40"/>
                    </a:lnTo>
                    <a:lnTo>
                      <a:pt x="59" y="48"/>
                    </a:lnTo>
                    <a:lnTo>
                      <a:pt x="54" y="55"/>
                    </a:lnTo>
                    <a:lnTo>
                      <a:pt x="47" y="60"/>
                    </a:lnTo>
                    <a:lnTo>
                      <a:pt x="40" y="62"/>
                    </a:lnTo>
                    <a:lnTo>
                      <a:pt x="31" y="64"/>
                    </a:lnTo>
                    <a:lnTo>
                      <a:pt x="23" y="62"/>
                    </a:lnTo>
                    <a:lnTo>
                      <a:pt x="16" y="60"/>
                    </a:lnTo>
                    <a:lnTo>
                      <a:pt x="9" y="55"/>
                    </a:lnTo>
                    <a:lnTo>
                      <a:pt x="4" y="48"/>
                    </a:lnTo>
                    <a:lnTo>
                      <a:pt x="0" y="40"/>
                    </a:lnTo>
                    <a:lnTo>
                      <a:pt x="0" y="33"/>
                    </a:lnTo>
                    <a:lnTo>
                      <a:pt x="0" y="24"/>
                    </a:lnTo>
                    <a:lnTo>
                      <a:pt x="4" y="15"/>
                    </a:lnTo>
                    <a:lnTo>
                      <a:pt x="9" y="10"/>
                    </a:lnTo>
                    <a:lnTo>
                      <a:pt x="16" y="5"/>
                    </a:lnTo>
                    <a:lnTo>
                      <a:pt x="23" y="2"/>
                    </a:lnTo>
                    <a:lnTo>
                      <a:pt x="31"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136" name="Freeform 17">
                <a:extLst>
                  <a:ext uri="{FF2B5EF4-FFF2-40B4-BE49-F238E27FC236}">
                    <a16:creationId xmlns:a16="http://schemas.microsoft.com/office/drawing/2014/main" xmlns="" id="{2CF17234-C1FA-437F-BF5D-BFC4A11208E9}"/>
                  </a:ext>
                </a:extLst>
              </p:cNvPr>
              <p:cNvSpPr>
                <a:spLocks/>
              </p:cNvSpPr>
              <p:nvPr userDrawn="1"/>
            </p:nvSpPr>
            <p:spPr bwMode="auto">
              <a:xfrm>
                <a:off x="1846580" y="2608221"/>
                <a:ext cx="40640" cy="40640"/>
              </a:xfrm>
              <a:custGeom>
                <a:avLst/>
                <a:gdLst>
                  <a:gd name="T0" fmla="*/ 31 w 64"/>
                  <a:gd name="T1" fmla="*/ 0 h 64"/>
                  <a:gd name="T2" fmla="*/ 40 w 64"/>
                  <a:gd name="T3" fmla="*/ 2 h 64"/>
                  <a:gd name="T4" fmla="*/ 46 w 64"/>
                  <a:gd name="T5" fmla="*/ 5 h 64"/>
                  <a:gd name="T6" fmla="*/ 53 w 64"/>
                  <a:gd name="T7" fmla="*/ 10 h 64"/>
                  <a:gd name="T8" fmla="*/ 59 w 64"/>
                  <a:gd name="T9" fmla="*/ 15 h 64"/>
                  <a:gd name="T10" fmla="*/ 62 w 64"/>
                  <a:gd name="T11" fmla="*/ 24 h 64"/>
                  <a:gd name="T12" fmla="*/ 64 w 64"/>
                  <a:gd name="T13" fmla="*/ 33 h 64"/>
                  <a:gd name="T14" fmla="*/ 62 w 64"/>
                  <a:gd name="T15" fmla="*/ 40 h 64"/>
                  <a:gd name="T16" fmla="*/ 59 w 64"/>
                  <a:gd name="T17" fmla="*/ 48 h 64"/>
                  <a:gd name="T18" fmla="*/ 53 w 64"/>
                  <a:gd name="T19" fmla="*/ 55 h 64"/>
                  <a:gd name="T20" fmla="*/ 46 w 64"/>
                  <a:gd name="T21" fmla="*/ 60 h 64"/>
                  <a:gd name="T22" fmla="*/ 40 w 64"/>
                  <a:gd name="T23" fmla="*/ 62 h 64"/>
                  <a:gd name="T24" fmla="*/ 31 w 64"/>
                  <a:gd name="T25" fmla="*/ 64 h 64"/>
                  <a:gd name="T26" fmla="*/ 22 w 64"/>
                  <a:gd name="T27" fmla="*/ 62 h 64"/>
                  <a:gd name="T28" fmla="*/ 15 w 64"/>
                  <a:gd name="T29" fmla="*/ 60 h 64"/>
                  <a:gd name="T30" fmla="*/ 9 w 64"/>
                  <a:gd name="T31" fmla="*/ 55 h 64"/>
                  <a:gd name="T32" fmla="*/ 3 w 64"/>
                  <a:gd name="T33" fmla="*/ 48 h 64"/>
                  <a:gd name="T34" fmla="*/ 0 w 64"/>
                  <a:gd name="T35" fmla="*/ 40 h 64"/>
                  <a:gd name="T36" fmla="*/ 0 w 64"/>
                  <a:gd name="T37" fmla="*/ 33 h 64"/>
                  <a:gd name="T38" fmla="*/ 0 w 64"/>
                  <a:gd name="T39" fmla="*/ 24 h 64"/>
                  <a:gd name="T40" fmla="*/ 3 w 64"/>
                  <a:gd name="T41" fmla="*/ 15 h 64"/>
                  <a:gd name="T42" fmla="*/ 9 w 64"/>
                  <a:gd name="T43" fmla="*/ 10 h 64"/>
                  <a:gd name="T44" fmla="*/ 15 w 64"/>
                  <a:gd name="T45" fmla="*/ 5 h 64"/>
                  <a:gd name="T46" fmla="*/ 22 w 64"/>
                  <a:gd name="T47" fmla="*/ 2 h 64"/>
                  <a:gd name="T48" fmla="*/ 31 w 64"/>
                  <a:gd name="T4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1" y="0"/>
                    </a:moveTo>
                    <a:lnTo>
                      <a:pt x="40" y="2"/>
                    </a:lnTo>
                    <a:lnTo>
                      <a:pt x="46" y="5"/>
                    </a:lnTo>
                    <a:lnTo>
                      <a:pt x="53" y="10"/>
                    </a:lnTo>
                    <a:lnTo>
                      <a:pt x="59" y="15"/>
                    </a:lnTo>
                    <a:lnTo>
                      <a:pt x="62" y="24"/>
                    </a:lnTo>
                    <a:lnTo>
                      <a:pt x="64" y="33"/>
                    </a:lnTo>
                    <a:lnTo>
                      <a:pt x="62" y="40"/>
                    </a:lnTo>
                    <a:lnTo>
                      <a:pt x="59" y="48"/>
                    </a:lnTo>
                    <a:lnTo>
                      <a:pt x="53" y="55"/>
                    </a:lnTo>
                    <a:lnTo>
                      <a:pt x="46" y="60"/>
                    </a:lnTo>
                    <a:lnTo>
                      <a:pt x="40" y="62"/>
                    </a:lnTo>
                    <a:lnTo>
                      <a:pt x="31" y="64"/>
                    </a:lnTo>
                    <a:lnTo>
                      <a:pt x="22" y="62"/>
                    </a:lnTo>
                    <a:lnTo>
                      <a:pt x="15" y="60"/>
                    </a:lnTo>
                    <a:lnTo>
                      <a:pt x="9" y="55"/>
                    </a:lnTo>
                    <a:lnTo>
                      <a:pt x="3" y="48"/>
                    </a:lnTo>
                    <a:lnTo>
                      <a:pt x="0" y="40"/>
                    </a:lnTo>
                    <a:lnTo>
                      <a:pt x="0" y="33"/>
                    </a:lnTo>
                    <a:lnTo>
                      <a:pt x="0" y="24"/>
                    </a:lnTo>
                    <a:lnTo>
                      <a:pt x="3" y="15"/>
                    </a:lnTo>
                    <a:lnTo>
                      <a:pt x="9" y="10"/>
                    </a:lnTo>
                    <a:lnTo>
                      <a:pt x="15" y="5"/>
                    </a:lnTo>
                    <a:lnTo>
                      <a:pt x="22" y="2"/>
                    </a:lnTo>
                    <a:lnTo>
                      <a:pt x="31"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137" name="Freeform 18">
                <a:extLst>
                  <a:ext uri="{FF2B5EF4-FFF2-40B4-BE49-F238E27FC236}">
                    <a16:creationId xmlns:a16="http://schemas.microsoft.com/office/drawing/2014/main" xmlns="" id="{4E9E660C-9AC1-46A7-B485-457FFDA54661}"/>
                  </a:ext>
                </a:extLst>
              </p:cNvPr>
              <p:cNvSpPr>
                <a:spLocks/>
              </p:cNvSpPr>
              <p:nvPr userDrawn="1"/>
            </p:nvSpPr>
            <p:spPr bwMode="auto">
              <a:xfrm>
                <a:off x="2233930" y="2293261"/>
                <a:ext cx="40640" cy="40640"/>
              </a:xfrm>
              <a:custGeom>
                <a:avLst/>
                <a:gdLst>
                  <a:gd name="T0" fmla="*/ 31 w 64"/>
                  <a:gd name="T1" fmla="*/ 0 h 64"/>
                  <a:gd name="T2" fmla="*/ 39 w 64"/>
                  <a:gd name="T3" fmla="*/ 2 h 64"/>
                  <a:gd name="T4" fmla="*/ 46 w 64"/>
                  <a:gd name="T5" fmla="*/ 5 h 64"/>
                  <a:gd name="T6" fmla="*/ 53 w 64"/>
                  <a:gd name="T7" fmla="*/ 9 h 64"/>
                  <a:gd name="T8" fmla="*/ 58 w 64"/>
                  <a:gd name="T9" fmla="*/ 16 h 64"/>
                  <a:gd name="T10" fmla="*/ 62 w 64"/>
                  <a:gd name="T11" fmla="*/ 24 h 64"/>
                  <a:gd name="T12" fmla="*/ 64 w 64"/>
                  <a:gd name="T13" fmla="*/ 31 h 64"/>
                  <a:gd name="T14" fmla="*/ 62 w 64"/>
                  <a:gd name="T15" fmla="*/ 40 h 64"/>
                  <a:gd name="T16" fmla="*/ 58 w 64"/>
                  <a:gd name="T17" fmla="*/ 47 h 64"/>
                  <a:gd name="T18" fmla="*/ 53 w 64"/>
                  <a:gd name="T19" fmla="*/ 54 h 64"/>
                  <a:gd name="T20" fmla="*/ 46 w 64"/>
                  <a:gd name="T21" fmla="*/ 59 h 64"/>
                  <a:gd name="T22" fmla="*/ 39 w 64"/>
                  <a:gd name="T23" fmla="*/ 62 h 64"/>
                  <a:gd name="T24" fmla="*/ 31 w 64"/>
                  <a:gd name="T25" fmla="*/ 64 h 64"/>
                  <a:gd name="T26" fmla="*/ 22 w 64"/>
                  <a:gd name="T27" fmla="*/ 62 h 64"/>
                  <a:gd name="T28" fmla="*/ 15 w 64"/>
                  <a:gd name="T29" fmla="*/ 59 h 64"/>
                  <a:gd name="T30" fmla="*/ 8 w 64"/>
                  <a:gd name="T31" fmla="*/ 54 h 64"/>
                  <a:gd name="T32" fmla="*/ 3 w 64"/>
                  <a:gd name="T33" fmla="*/ 47 h 64"/>
                  <a:gd name="T34" fmla="*/ 0 w 64"/>
                  <a:gd name="T35" fmla="*/ 40 h 64"/>
                  <a:gd name="T36" fmla="*/ 0 w 64"/>
                  <a:gd name="T37" fmla="*/ 31 h 64"/>
                  <a:gd name="T38" fmla="*/ 0 w 64"/>
                  <a:gd name="T39" fmla="*/ 24 h 64"/>
                  <a:gd name="T40" fmla="*/ 3 w 64"/>
                  <a:gd name="T41" fmla="*/ 16 h 64"/>
                  <a:gd name="T42" fmla="*/ 8 w 64"/>
                  <a:gd name="T43" fmla="*/ 9 h 64"/>
                  <a:gd name="T44" fmla="*/ 15 w 64"/>
                  <a:gd name="T45" fmla="*/ 5 h 64"/>
                  <a:gd name="T46" fmla="*/ 22 w 64"/>
                  <a:gd name="T47" fmla="*/ 2 h 64"/>
                  <a:gd name="T48" fmla="*/ 31 w 64"/>
                  <a:gd name="T4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1" y="0"/>
                    </a:moveTo>
                    <a:lnTo>
                      <a:pt x="39" y="2"/>
                    </a:lnTo>
                    <a:lnTo>
                      <a:pt x="46" y="5"/>
                    </a:lnTo>
                    <a:lnTo>
                      <a:pt x="53" y="9"/>
                    </a:lnTo>
                    <a:lnTo>
                      <a:pt x="58" y="16"/>
                    </a:lnTo>
                    <a:lnTo>
                      <a:pt x="62" y="24"/>
                    </a:lnTo>
                    <a:lnTo>
                      <a:pt x="64" y="31"/>
                    </a:lnTo>
                    <a:lnTo>
                      <a:pt x="62" y="40"/>
                    </a:lnTo>
                    <a:lnTo>
                      <a:pt x="58" y="47"/>
                    </a:lnTo>
                    <a:lnTo>
                      <a:pt x="53" y="54"/>
                    </a:lnTo>
                    <a:lnTo>
                      <a:pt x="46" y="59"/>
                    </a:lnTo>
                    <a:lnTo>
                      <a:pt x="39" y="62"/>
                    </a:lnTo>
                    <a:lnTo>
                      <a:pt x="31" y="64"/>
                    </a:lnTo>
                    <a:lnTo>
                      <a:pt x="22" y="62"/>
                    </a:lnTo>
                    <a:lnTo>
                      <a:pt x="15" y="59"/>
                    </a:lnTo>
                    <a:lnTo>
                      <a:pt x="8" y="54"/>
                    </a:lnTo>
                    <a:lnTo>
                      <a:pt x="3" y="47"/>
                    </a:lnTo>
                    <a:lnTo>
                      <a:pt x="0" y="40"/>
                    </a:lnTo>
                    <a:lnTo>
                      <a:pt x="0" y="31"/>
                    </a:lnTo>
                    <a:lnTo>
                      <a:pt x="0" y="24"/>
                    </a:lnTo>
                    <a:lnTo>
                      <a:pt x="3" y="16"/>
                    </a:lnTo>
                    <a:lnTo>
                      <a:pt x="8" y="9"/>
                    </a:lnTo>
                    <a:lnTo>
                      <a:pt x="15" y="5"/>
                    </a:lnTo>
                    <a:lnTo>
                      <a:pt x="22" y="2"/>
                    </a:lnTo>
                    <a:lnTo>
                      <a:pt x="31"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138" name="Freeform 19">
                <a:extLst>
                  <a:ext uri="{FF2B5EF4-FFF2-40B4-BE49-F238E27FC236}">
                    <a16:creationId xmlns:a16="http://schemas.microsoft.com/office/drawing/2014/main" xmlns="" id="{F9639578-1AEA-44CA-A235-D880BE0F92FD}"/>
                  </a:ext>
                </a:extLst>
              </p:cNvPr>
              <p:cNvSpPr>
                <a:spLocks/>
              </p:cNvSpPr>
              <p:nvPr userDrawn="1"/>
            </p:nvSpPr>
            <p:spPr bwMode="auto">
              <a:xfrm>
                <a:off x="1320165" y="2316121"/>
                <a:ext cx="1195070" cy="440690"/>
              </a:xfrm>
              <a:custGeom>
                <a:avLst/>
                <a:gdLst>
                  <a:gd name="T0" fmla="*/ 1165 w 1882"/>
                  <a:gd name="T1" fmla="*/ 262 h 694"/>
                  <a:gd name="T2" fmla="*/ 1179 w 1882"/>
                  <a:gd name="T3" fmla="*/ 327 h 694"/>
                  <a:gd name="T4" fmla="*/ 1229 w 1882"/>
                  <a:gd name="T5" fmla="*/ 350 h 694"/>
                  <a:gd name="T6" fmla="*/ 1621 w 1882"/>
                  <a:gd name="T7" fmla="*/ 317 h 694"/>
                  <a:gd name="T8" fmla="*/ 1594 w 1882"/>
                  <a:gd name="T9" fmla="*/ 231 h 694"/>
                  <a:gd name="T10" fmla="*/ 1522 w 1882"/>
                  <a:gd name="T11" fmla="*/ 174 h 694"/>
                  <a:gd name="T12" fmla="*/ 1418 w 1882"/>
                  <a:gd name="T13" fmla="*/ 167 h 694"/>
                  <a:gd name="T14" fmla="*/ 1380 w 1882"/>
                  <a:gd name="T15" fmla="*/ 129 h 694"/>
                  <a:gd name="T16" fmla="*/ 1418 w 1882"/>
                  <a:gd name="T17" fmla="*/ 121 h 694"/>
                  <a:gd name="T18" fmla="*/ 1499 w 1882"/>
                  <a:gd name="T19" fmla="*/ 117 h 694"/>
                  <a:gd name="T20" fmla="*/ 1594 w 1882"/>
                  <a:gd name="T21" fmla="*/ 157 h 694"/>
                  <a:gd name="T22" fmla="*/ 1659 w 1882"/>
                  <a:gd name="T23" fmla="*/ 260 h 694"/>
                  <a:gd name="T24" fmla="*/ 1671 w 1882"/>
                  <a:gd name="T25" fmla="*/ 350 h 694"/>
                  <a:gd name="T26" fmla="*/ 1882 w 1882"/>
                  <a:gd name="T27" fmla="*/ 0 h 694"/>
                  <a:gd name="T28" fmla="*/ 1205 w 1882"/>
                  <a:gd name="T29" fmla="*/ 395 h 694"/>
                  <a:gd name="T30" fmla="*/ 1155 w 1882"/>
                  <a:gd name="T31" fmla="*/ 358 h 694"/>
                  <a:gd name="T32" fmla="*/ 1144 w 1882"/>
                  <a:gd name="T33" fmla="*/ 369 h 694"/>
                  <a:gd name="T34" fmla="*/ 1113 w 1882"/>
                  <a:gd name="T35" fmla="*/ 389 h 694"/>
                  <a:gd name="T36" fmla="*/ 996 w 1882"/>
                  <a:gd name="T37" fmla="*/ 396 h 694"/>
                  <a:gd name="T38" fmla="*/ 953 w 1882"/>
                  <a:gd name="T39" fmla="*/ 388 h 694"/>
                  <a:gd name="T40" fmla="*/ 922 w 1882"/>
                  <a:gd name="T41" fmla="*/ 357 h 694"/>
                  <a:gd name="T42" fmla="*/ 905 w 1882"/>
                  <a:gd name="T43" fmla="*/ 376 h 694"/>
                  <a:gd name="T44" fmla="*/ 855 w 1882"/>
                  <a:gd name="T45" fmla="*/ 395 h 694"/>
                  <a:gd name="T46" fmla="*/ 173 w 1882"/>
                  <a:gd name="T47" fmla="*/ 398 h 694"/>
                  <a:gd name="T48" fmla="*/ 100 w 1882"/>
                  <a:gd name="T49" fmla="*/ 420 h 694"/>
                  <a:gd name="T50" fmla="*/ 57 w 1882"/>
                  <a:gd name="T51" fmla="*/ 474 h 694"/>
                  <a:gd name="T52" fmla="*/ 54 w 1882"/>
                  <a:gd name="T53" fmla="*/ 548 h 694"/>
                  <a:gd name="T54" fmla="*/ 95 w 1882"/>
                  <a:gd name="T55" fmla="*/ 615 h 694"/>
                  <a:gd name="T56" fmla="*/ 179 w 1882"/>
                  <a:gd name="T57" fmla="*/ 644 h 694"/>
                  <a:gd name="T58" fmla="*/ 298 w 1882"/>
                  <a:gd name="T59" fmla="*/ 632 h 694"/>
                  <a:gd name="T60" fmla="*/ 355 w 1882"/>
                  <a:gd name="T61" fmla="*/ 654 h 694"/>
                  <a:gd name="T62" fmla="*/ 314 w 1882"/>
                  <a:gd name="T63" fmla="*/ 673 h 694"/>
                  <a:gd name="T64" fmla="*/ 217 w 1882"/>
                  <a:gd name="T65" fmla="*/ 694 h 694"/>
                  <a:gd name="T66" fmla="*/ 123 w 1882"/>
                  <a:gd name="T67" fmla="*/ 682 h 694"/>
                  <a:gd name="T68" fmla="*/ 35 w 1882"/>
                  <a:gd name="T69" fmla="*/ 627 h 694"/>
                  <a:gd name="T70" fmla="*/ 0 w 1882"/>
                  <a:gd name="T71" fmla="*/ 524 h 694"/>
                  <a:gd name="T72" fmla="*/ 19 w 1882"/>
                  <a:gd name="T73" fmla="*/ 439 h 694"/>
                  <a:gd name="T74" fmla="*/ 95 w 1882"/>
                  <a:gd name="T75" fmla="*/ 369 h 694"/>
                  <a:gd name="T76" fmla="*/ 197 w 1882"/>
                  <a:gd name="T77" fmla="*/ 350 h 694"/>
                  <a:gd name="T78" fmla="*/ 360 w 1882"/>
                  <a:gd name="T79" fmla="*/ 317 h 694"/>
                  <a:gd name="T80" fmla="*/ 335 w 1882"/>
                  <a:gd name="T81" fmla="*/ 231 h 694"/>
                  <a:gd name="T82" fmla="*/ 262 w 1882"/>
                  <a:gd name="T83" fmla="*/ 174 h 694"/>
                  <a:gd name="T84" fmla="*/ 157 w 1882"/>
                  <a:gd name="T85" fmla="*/ 167 h 694"/>
                  <a:gd name="T86" fmla="*/ 119 w 1882"/>
                  <a:gd name="T87" fmla="*/ 129 h 694"/>
                  <a:gd name="T88" fmla="*/ 157 w 1882"/>
                  <a:gd name="T89" fmla="*/ 121 h 694"/>
                  <a:gd name="T90" fmla="*/ 240 w 1882"/>
                  <a:gd name="T91" fmla="*/ 117 h 694"/>
                  <a:gd name="T92" fmla="*/ 335 w 1882"/>
                  <a:gd name="T93" fmla="*/ 157 h 694"/>
                  <a:gd name="T94" fmla="*/ 400 w 1882"/>
                  <a:gd name="T95" fmla="*/ 260 h 694"/>
                  <a:gd name="T96" fmla="*/ 412 w 1882"/>
                  <a:gd name="T97" fmla="*/ 350 h 694"/>
                  <a:gd name="T98" fmla="*/ 850 w 1882"/>
                  <a:gd name="T99" fmla="*/ 348 h 694"/>
                  <a:gd name="T100" fmla="*/ 872 w 1882"/>
                  <a:gd name="T101" fmla="*/ 339 h 694"/>
                  <a:gd name="T102" fmla="*/ 886 w 1882"/>
                  <a:gd name="T103" fmla="*/ 312 h 694"/>
                  <a:gd name="T104" fmla="*/ 934 w 1882"/>
                  <a:gd name="T105" fmla="*/ 126 h 694"/>
                  <a:gd name="T106" fmla="*/ 939 w 1882"/>
                  <a:gd name="T107" fmla="*/ 308 h 694"/>
                  <a:gd name="T108" fmla="*/ 975 w 1882"/>
                  <a:gd name="T109" fmla="*/ 348 h 694"/>
                  <a:gd name="T110" fmla="*/ 1072 w 1882"/>
                  <a:gd name="T111" fmla="*/ 350 h 694"/>
                  <a:gd name="T112" fmla="*/ 1096 w 1882"/>
                  <a:gd name="T113" fmla="*/ 343 h 694"/>
                  <a:gd name="T114" fmla="*/ 1113 w 1882"/>
                  <a:gd name="T115" fmla="*/ 326 h 694"/>
                  <a:gd name="T116" fmla="*/ 1118 w 1882"/>
                  <a:gd name="T117"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82" h="694">
                    <a:moveTo>
                      <a:pt x="1118" y="0"/>
                    </a:moveTo>
                    <a:lnTo>
                      <a:pt x="1165" y="0"/>
                    </a:lnTo>
                    <a:lnTo>
                      <a:pt x="1165" y="262"/>
                    </a:lnTo>
                    <a:lnTo>
                      <a:pt x="1167" y="286"/>
                    </a:lnTo>
                    <a:lnTo>
                      <a:pt x="1170" y="308"/>
                    </a:lnTo>
                    <a:lnTo>
                      <a:pt x="1179" y="327"/>
                    </a:lnTo>
                    <a:lnTo>
                      <a:pt x="1189" y="339"/>
                    </a:lnTo>
                    <a:lnTo>
                      <a:pt x="1206" y="348"/>
                    </a:lnTo>
                    <a:lnTo>
                      <a:pt x="1229" y="350"/>
                    </a:lnTo>
                    <a:lnTo>
                      <a:pt x="1621" y="350"/>
                    </a:lnTo>
                    <a:lnTo>
                      <a:pt x="1621" y="350"/>
                    </a:lnTo>
                    <a:lnTo>
                      <a:pt x="1621" y="317"/>
                    </a:lnTo>
                    <a:lnTo>
                      <a:pt x="1616" y="290"/>
                    </a:lnTo>
                    <a:lnTo>
                      <a:pt x="1609" y="264"/>
                    </a:lnTo>
                    <a:lnTo>
                      <a:pt x="1594" y="231"/>
                    </a:lnTo>
                    <a:lnTo>
                      <a:pt x="1573" y="207"/>
                    </a:lnTo>
                    <a:lnTo>
                      <a:pt x="1549" y="186"/>
                    </a:lnTo>
                    <a:lnTo>
                      <a:pt x="1522" y="174"/>
                    </a:lnTo>
                    <a:lnTo>
                      <a:pt x="1489" y="167"/>
                    </a:lnTo>
                    <a:lnTo>
                      <a:pt x="1456" y="164"/>
                    </a:lnTo>
                    <a:lnTo>
                      <a:pt x="1418" y="167"/>
                    </a:lnTo>
                    <a:lnTo>
                      <a:pt x="1382" y="174"/>
                    </a:lnTo>
                    <a:lnTo>
                      <a:pt x="1380" y="174"/>
                    </a:lnTo>
                    <a:lnTo>
                      <a:pt x="1380" y="129"/>
                    </a:lnTo>
                    <a:lnTo>
                      <a:pt x="1380" y="129"/>
                    </a:lnTo>
                    <a:lnTo>
                      <a:pt x="1397" y="126"/>
                    </a:lnTo>
                    <a:lnTo>
                      <a:pt x="1418" y="121"/>
                    </a:lnTo>
                    <a:lnTo>
                      <a:pt x="1441" y="117"/>
                    </a:lnTo>
                    <a:lnTo>
                      <a:pt x="1465" y="116"/>
                    </a:lnTo>
                    <a:lnTo>
                      <a:pt x="1499" y="117"/>
                    </a:lnTo>
                    <a:lnTo>
                      <a:pt x="1532" y="124"/>
                    </a:lnTo>
                    <a:lnTo>
                      <a:pt x="1559" y="135"/>
                    </a:lnTo>
                    <a:lnTo>
                      <a:pt x="1594" y="157"/>
                    </a:lnTo>
                    <a:lnTo>
                      <a:pt x="1623" y="186"/>
                    </a:lnTo>
                    <a:lnTo>
                      <a:pt x="1644" y="221"/>
                    </a:lnTo>
                    <a:lnTo>
                      <a:pt x="1659" y="260"/>
                    </a:lnTo>
                    <a:lnTo>
                      <a:pt x="1668" y="303"/>
                    </a:lnTo>
                    <a:lnTo>
                      <a:pt x="1671" y="350"/>
                    </a:lnTo>
                    <a:lnTo>
                      <a:pt x="1671" y="350"/>
                    </a:lnTo>
                    <a:lnTo>
                      <a:pt x="1837" y="350"/>
                    </a:lnTo>
                    <a:lnTo>
                      <a:pt x="1837" y="0"/>
                    </a:lnTo>
                    <a:lnTo>
                      <a:pt x="1882" y="0"/>
                    </a:lnTo>
                    <a:lnTo>
                      <a:pt x="1882" y="396"/>
                    </a:lnTo>
                    <a:lnTo>
                      <a:pt x="1229" y="396"/>
                    </a:lnTo>
                    <a:lnTo>
                      <a:pt x="1205" y="395"/>
                    </a:lnTo>
                    <a:lnTo>
                      <a:pt x="1184" y="388"/>
                    </a:lnTo>
                    <a:lnTo>
                      <a:pt x="1167" y="376"/>
                    </a:lnTo>
                    <a:lnTo>
                      <a:pt x="1155" y="358"/>
                    </a:lnTo>
                    <a:lnTo>
                      <a:pt x="1153" y="357"/>
                    </a:lnTo>
                    <a:lnTo>
                      <a:pt x="1153" y="358"/>
                    </a:lnTo>
                    <a:lnTo>
                      <a:pt x="1144" y="369"/>
                    </a:lnTo>
                    <a:lnTo>
                      <a:pt x="1136" y="376"/>
                    </a:lnTo>
                    <a:lnTo>
                      <a:pt x="1125" y="384"/>
                    </a:lnTo>
                    <a:lnTo>
                      <a:pt x="1113" y="389"/>
                    </a:lnTo>
                    <a:lnTo>
                      <a:pt x="1086" y="395"/>
                    </a:lnTo>
                    <a:lnTo>
                      <a:pt x="1049" y="396"/>
                    </a:lnTo>
                    <a:lnTo>
                      <a:pt x="996" y="396"/>
                    </a:lnTo>
                    <a:lnTo>
                      <a:pt x="996" y="396"/>
                    </a:lnTo>
                    <a:lnTo>
                      <a:pt x="974" y="395"/>
                    </a:lnTo>
                    <a:lnTo>
                      <a:pt x="953" y="388"/>
                    </a:lnTo>
                    <a:lnTo>
                      <a:pt x="936" y="376"/>
                    </a:lnTo>
                    <a:lnTo>
                      <a:pt x="924" y="358"/>
                    </a:lnTo>
                    <a:lnTo>
                      <a:pt x="922" y="357"/>
                    </a:lnTo>
                    <a:lnTo>
                      <a:pt x="920" y="358"/>
                    </a:lnTo>
                    <a:lnTo>
                      <a:pt x="913" y="369"/>
                    </a:lnTo>
                    <a:lnTo>
                      <a:pt x="905" y="376"/>
                    </a:lnTo>
                    <a:lnTo>
                      <a:pt x="894" y="384"/>
                    </a:lnTo>
                    <a:lnTo>
                      <a:pt x="882" y="389"/>
                    </a:lnTo>
                    <a:lnTo>
                      <a:pt x="855" y="395"/>
                    </a:lnTo>
                    <a:lnTo>
                      <a:pt x="819" y="396"/>
                    </a:lnTo>
                    <a:lnTo>
                      <a:pt x="197" y="396"/>
                    </a:lnTo>
                    <a:lnTo>
                      <a:pt x="173" y="398"/>
                    </a:lnTo>
                    <a:lnTo>
                      <a:pt x="147" y="401"/>
                    </a:lnTo>
                    <a:lnTo>
                      <a:pt x="123" y="408"/>
                    </a:lnTo>
                    <a:lnTo>
                      <a:pt x="100" y="420"/>
                    </a:lnTo>
                    <a:lnTo>
                      <a:pt x="80" y="436"/>
                    </a:lnTo>
                    <a:lnTo>
                      <a:pt x="64" y="456"/>
                    </a:lnTo>
                    <a:lnTo>
                      <a:pt x="57" y="474"/>
                    </a:lnTo>
                    <a:lnTo>
                      <a:pt x="52" y="494"/>
                    </a:lnTo>
                    <a:lnTo>
                      <a:pt x="50" y="517"/>
                    </a:lnTo>
                    <a:lnTo>
                      <a:pt x="54" y="548"/>
                    </a:lnTo>
                    <a:lnTo>
                      <a:pt x="62" y="575"/>
                    </a:lnTo>
                    <a:lnTo>
                      <a:pt x="78" y="598"/>
                    </a:lnTo>
                    <a:lnTo>
                      <a:pt x="95" y="615"/>
                    </a:lnTo>
                    <a:lnTo>
                      <a:pt x="119" y="629"/>
                    </a:lnTo>
                    <a:lnTo>
                      <a:pt x="145" y="637"/>
                    </a:lnTo>
                    <a:lnTo>
                      <a:pt x="179" y="644"/>
                    </a:lnTo>
                    <a:lnTo>
                      <a:pt x="219" y="644"/>
                    </a:lnTo>
                    <a:lnTo>
                      <a:pt x="264" y="641"/>
                    </a:lnTo>
                    <a:lnTo>
                      <a:pt x="298" y="632"/>
                    </a:lnTo>
                    <a:lnTo>
                      <a:pt x="336" y="617"/>
                    </a:lnTo>
                    <a:lnTo>
                      <a:pt x="336" y="617"/>
                    </a:lnTo>
                    <a:lnTo>
                      <a:pt x="355" y="654"/>
                    </a:lnTo>
                    <a:lnTo>
                      <a:pt x="355" y="654"/>
                    </a:lnTo>
                    <a:lnTo>
                      <a:pt x="335" y="665"/>
                    </a:lnTo>
                    <a:lnTo>
                      <a:pt x="314" y="673"/>
                    </a:lnTo>
                    <a:lnTo>
                      <a:pt x="271" y="685"/>
                    </a:lnTo>
                    <a:lnTo>
                      <a:pt x="233" y="692"/>
                    </a:lnTo>
                    <a:lnTo>
                      <a:pt x="217" y="694"/>
                    </a:lnTo>
                    <a:lnTo>
                      <a:pt x="205" y="694"/>
                    </a:lnTo>
                    <a:lnTo>
                      <a:pt x="162" y="691"/>
                    </a:lnTo>
                    <a:lnTo>
                      <a:pt x="123" y="682"/>
                    </a:lnTo>
                    <a:lnTo>
                      <a:pt x="88" y="668"/>
                    </a:lnTo>
                    <a:lnTo>
                      <a:pt x="57" y="651"/>
                    </a:lnTo>
                    <a:lnTo>
                      <a:pt x="35" y="627"/>
                    </a:lnTo>
                    <a:lnTo>
                      <a:pt x="16" y="598"/>
                    </a:lnTo>
                    <a:lnTo>
                      <a:pt x="6" y="563"/>
                    </a:lnTo>
                    <a:lnTo>
                      <a:pt x="0" y="524"/>
                    </a:lnTo>
                    <a:lnTo>
                      <a:pt x="4" y="491"/>
                    </a:lnTo>
                    <a:lnTo>
                      <a:pt x="9" y="463"/>
                    </a:lnTo>
                    <a:lnTo>
                      <a:pt x="19" y="439"/>
                    </a:lnTo>
                    <a:lnTo>
                      <a:pt x="40" y="408"/>
                    </a:lnTo>
                    <a:lnTo>
                      <a:pt x="64" y="386"/>
                    </a:lnTo>
                    <a:lnTo>
                      <a:pt x="95" y="369"/>
                    </a:lnTo>
                    <a:lnTo>
                      <a:pt x="128" y="358"/>
                    </a:lnTo>
                    <a:lnTo>
                      <a:pt x="162" y="351"/>
                    </a:lnTo>
                    <a:lnTo>
                      <a:pt x="197" y="350"/>
                    </a:lnTo>
                    <a:lnTo>
                      <a:pt x="362" y="350"/>
                    </a:lnTo>
                    <a:lnTo>
                      <a:pt x="362" y="350"/>
                    </a:lnTo>
                    <a:lnTo>
                      <a:pt x="360" y="317"/>
                    </a:lnTo>
                    <a:lnTo>
                      <a:pt x="357" y="290"/>
                    </a:lnTo>
                    <a:lnTo>
                      <a:pt x="350" y="264"/>
                    </a:lnTo>
                    <a:lnTo>
                      <a:pt x="335" y="231"/>
                    </a:lnTo>
                    <a:lnTo>
                      <a:pt x="314" y="207"/>
                    </a:lnTo>
                    <a:lnTo>
                      <a:pt x="290" y="186"/>
                    </a:lnTo>
                    <a:lnTo>
                      <a:pt x="262" y="174"/>
                    </a:lnTo>
                    <a:lnTo>
                      <a:pt x="229" y="167"/>
                    </a:lnTo>
                    <a:lnTo>
                      <a:pt x="195" y="164"/>
                    </a:lnTo>
                    <a:lnTo>
                      <a:pt x="157" y="167"/>
                    </a:lnTo>
                    <a:lnTo>
                      <a:pt x="121" y="174"/>
                    </a:lnTo>
                    <a:lnTo>
                      <a:pt x="119" y="174"/>
                    </a:lnTo>
                    <a:lnTo>
                      <a:pt x="119" y="129"/>
                    </a:lnTo>
                    <a:lnTo>
                      <a:pt x="121" y="129"/>
                    </a:lnTo>
                    <a:lnTo>
                      <a:pt x="136" y="126"/>
                    </a:lnTo>
                    <a:lnTo>
                      <a:pt x="157" y="121"/>
                    </a:lnTo>
                    <a:lnTo>
                      <a:pt x="181" y="117"/>
                    </a:lnTo>
                    <a:lnTo>
                      <a:pt x="205" y="116"/>
                    </a:lnTo>
                    <a:lnTo>
                      <a:pt x="240" y="117"/>
                    </a:lnTo>
                    <a:lnTo>
                      <a:pt x="271" y="124"/>
                    </a:lnTo>
                    <a:lnTo>
                      <a:pt x="298" y="135"/>
                    </a:lnTo>
                    <a:lnTo>
                      <a:pt x="335" y="157"/>
                    </a:lnTo>
                    <a:lnTo>
                      <a:pt x="362" y="186"/>
                    </a:lnTo>
                    <a:lnTo>
                      <a:pt x="385" y="221"/>
                    </a:lnTo>
                    <a:lnTo>
                      <a:pt x="400" y="260"/>
                    </a:lnTo>
                    <a:lnTo>
                      <a:pt x="409" y="303"/>
                    </a:lnTo>
                    <a:lnTo>
                      <a:pt x="412" y="350"/>
                    </a:lnTo>
                    <a:lnTo>
                      <a:pt x="412" y="350"/>
                    </a:lnTo>
                    <a:lnTo>
                      <a:pt x="812" y="350"/>
                    </a:lnTo>
                    <a:lnTo>
                      <a:pt x="841" y="350"/>
                    </a:lnTo>
                    <a:lnTo>
                      <a:pt x="850" y="348"/>
                    </a:lnTo>
                    <a:lnTo>
                      <a:pt x="858" y="346"/>
                    </a:lnTo>
                    <a:lnTo>
                      <a:pt x="865" y="343"/>
                    </a:lnTo>
                    <a:lnTo>
                      <a:pt x="872" y="339"/>
                    </a:lnTo>
                    <a:lnTo>
                      <a:pt x="877" y="333"/>
                    </a:lnTo>
                    <a:lnTo>
                      <a:pt x="882" y="326"/>
                    </a:lnTo>
                    <a:lnTo>
                      <a:pt x="886" y="312"/>
                    </a:lnTo>
                    <a:lnTo>
                      <a:pt x="888" y="293"/>
                    </a:lnTo>
                    <a:lnTo>
                      <a:pt x="888" y="126"/>
                    </a:lnTo>
                    <a:lnTo>
                      <a:pt x="934" y="126"/>
                    </a:lnTo>
                    <a:lnTo>
                      <a:pt x="934" y="262"/>
                    </a:lnTo>
                    <a:lnTo>
                      <a:pt x="936" y="286"/>
                    </a:lnTo>
                    <a:lnTo>
                      <a:pt x="939" y="308"/>
                    </a:lnTo>
                    <a:lnTo>
                      <a:pt x="948" y="327"/>
                    </a:lnTo>
                    <a:lnTo>
                      <a:pt x="958" y="339"/>
                    </a:lnTo>
                    <a:lnTo>
                      <a:pt x="975" y="348"/>
                    </a:lnTo>
                    <a:lnTo>
                      <a:pt x="998" y="350"/>
                    </a:lnTo>
                    <a:lnTo>
                      <a:pt x="1043" y="350"/>
                    </a:lnTo>
                    <a:lnTo>
                      <a:pt x="1072" y="350"/>
                    </a:lnTo>
                    <a:lnTo>
                      <a:pt x="1080" y="348"/>
                    </a:lnTo>
                    <a:lnTo>
                      <a:pt x="1089" y="346"/>
                    </a:lnTo>
                    <a:lnTo>
                      <a:pt x="1096" y="343"/>
                    </a:lnTo>
                    <a:lnTo>
                      <a:pt x="1103" y="339"/>
                    </a:lnTo>
                    <a:lnTo>
                      <a:pt x="1108" y="333"/>
                    </a:lnTo>
                    <a:lnTo>
                      <a:pt x="1113" y="326"/>
                    </a:lnTo>
                    <a:lnTo>
                      <a:pt x="1117" y="312"/>
                    </a:lnTo>
                    <a:lnTo>
                      <a:pt x="1118" y="293"/>
                    </a:lnTo>
                    <a:lnTo>
                      <a:pt x="1118"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139" name="Rectangle 138">
                <a:extLst>
                  <a:ext uri="{FF2B5EF4-FFF2-40B4-BE49-F238E27FC236}">
                    <a16:creationId xmlns:a16="http://schemas.microsoft.com/office/drawing/2014/main" xmlns="" id="{1EB303E8-1490-4EB1-BC34-AA15D374914C}"/>
                  </a:ext>
                </a:extLst>
              </p:cNvPr>
              <p:cNvSpPr>
                <a:spLocks noChangeArrowheads="1"/>
              </p:cNvSpPr>
              <p:nvPr userDrawn="1"/>
            </p:nvSpPr>
            <p:spPr bwMode="auto">
              <a:xfrm>
                <a:off x="2577465" y="2316121"/>
                <a:ext cx="29210" cy="251460"/>
              </a:xfrm>
              <a:prstGeom prst="rect">
                <a:avLst/>
              </a:prstGeom>
              <a:grpFill/>
              <a:ln w="0">
                <a:noFill/>
                <a:prstDash val="solid"/>
                <a:miter lim="800000"/>
                <a:headEnd/>
                <a:tailEnd/>
              </a:ln>
            </p:spPr>
            <p:txBody>
              <a:bodyPr rot="0" vert="horz" wrap="square" lIns="91440" tIns="45720" rIns="91440" bIns="45720" anchor="t" anchorCtr="0" upright="1">
                <a:noAutofit/>
              </a:bodyPr>
              <a:lstStyle/>
              <a:p>
                <a:endParaRPr lang="en-IN" dirty="0"/>
              </a:p>
            </p:txBody>
          </p:sp>
          <p:sp>
            <p:nvSpPr>
              <p:cNvPr id="140" name="Freeform 21">
                <a:extLst>
                  <a:ext uri="{FF2B5EF4-FFF2-40B4-BE49-F238E27FC236}">
                    <a16:creationId xmlns:a16="http://schemas.microsoft.com/office/drawing/2014/main" xmlns="" id="{0EB6F782-C7C8-401F-818E-6254054EC4F7}"/>
                  </a:ext>
                </a:extLst>
              </p:cNvPr>
              <p:cNvSpPr>
                <a:spLocks/>
              </p:cNvSpPr>
              <p:nvPr userDrawn="1"/>
            </p:nvSpPr>
            <p:spPr bwMode="auto">
              <a:xfrm>
                <a:off x="2898775" y="2365651"/>
                <a:ext cx="78105" cy="83185"/>
              </a:xfrm>
              <a:custGeom>
                <a:avLst/>
                <a:gdLst>
                  <a:gd name="T0" fmla="*/ 81 w 123"/>
                  <a:gd name="T1" fmla="*/ 0 h 131"/>
                  <a:gd name="T2" fmla="*/ 97 w 123"/>
                  <a:gd name="T3" fmla="*/ 0 h 131"/>
                  <a:gd name="T4" fmla="*/ 104 w 123"/>
                  <a:gd name="T5" fmla="*/ 0 h 131"/>
                  <a:gd name="T6" fmla="*/ 109 w 123"/>
                  <a:gd name="T7" fmla="*/ 2 h 131"/>
                  <a:gd name="T8" fmla="*/ 109 w 123"/>
                  <a:gd name="T9" fmla="*/ 2 h 131"/>
                  <a:gd name="T10" fmla="*/ 109 w 123"/>
                  <a:gd name="T11" fmla="*/ 33 h 131"/>
                  <a:gd name="T12" fmla="*/ 109 w 123"/>
                  <a:gd name="T13" fmla="*/ 31 h 131"/>
                  <a:gd name="T14" fmla="*/ 100 w 123"/>
                  <a:gd name="T15" fmla="*/ 29 h 131"/>
                  <a:gd name="T16" fmla="*/ 95 w 123"/>
                  <a:gd name="T17" fmla="*/ 29 h 131"/>
                  <a:gd name="T18" fmla="*/ 83 w 123"/>
                  <a:gd name="T19" fmla="*/ 27 h 131"/>
                  <a:gd name="T20" fmla="*/ 64 w 123"/>
                  <a:gd name="T21" fmla="*/ 31 h 131"/>
                  <a:gd name="T22" fmla="*/ 52 w 123"/>
                  <a:gd name="T23" fmla="*/ 39 h 131"/>
                  <a:gd name="T24" fmla="*/ 48 w 123"/>
                  <a:gd name="T25" fmla="*/ 46 h 131"/>
                  <a:gd name="T26" fmla="*/ 45 w 123"/>
                  <a:gd name="T27" fmla="*/ 55 h 131"/>
                  <a:gd name="T28" fmla="*/ 43 w 123"/>
                  <a:gd name="T29" fmla="*/ 63 h 131"/>
                  <a:gd name="T30" fmla="*/ 47 w 123"/>
                  <a:gd name="T31" fmla="*/ 79 h 131"/>
                  <a:gd name="T32" fmla="*/ 57 w 123"/>
                  <a:gd name="T33" fmla="*/ 93 h 131"/>
                  <a:gd name="T34" fmla="*/ 73 w 123"/>
                  <a:gd name="T35" fmla="*/ 100 h 131"/>
                  <a:gd name="T36" fmla="*/ 95 w 123"/>
                  <a:gd name="T37" fmla="*/ 103 h 131"/>
                  <a:gd name="T38" fmla="*/ 123 w 123"/>
                  <a:gd name="T39" fmla="*/ 103 h 131"/>
                  <a:gd name="T40" fmla="*/ 123 w 123"/>
                  <a:gd name="T41" fmla="*/ 131 h 131"/>
                  <a:gd name="T42" fmla="*/ 0 w 123"/>
                  <a:gd name="T43" fmla="*/ 131 h 131"/>
                  <a:gd name="T44" fmla="*/ 0 w 123"/>
                  <a:gd name="T45" fmla="*/ 103 h 131"/>
                  <a:gd name="T46" fmla="*/ 35 w 123"/>
                  <a:gd name="T47" fmla="*/ 103 h 131"/>
                  <a:gd name="T48" fmla="*/ 31 w 123"/>
                  <a:gd name="T49" fmla="*/ 101 h 131"/>
                  <a:gd name="T50" fmla="*/ 21 w 123"/>
                  <a:gd name="T51" fmla="*/ 82 h 131"/>
                  <a:gd name="T52" fmla="*/ 17 w 123"/>
                  <a:gd name="T53" fmla="*/ 62 h 131"/>
                  <a:gd name="T54" fmla="*/ 19 w 123"/>
                  <a:gd name="T55" fmla="*/ 43 h 131"/>
                  <a:gd name="T56" fmla="*/ 26 w 123"/>
                  <a:gd name="T57" fmla="*/ 27 h 131"/>
                  <a:gd name="T58" fmla="*/ 36 w 123"/>
                  <a:gd name="T59" fmla="*/ 15 h 131"/>
                  <a:gd name="T60" fmla="*/ 57 w 123"/>
                  <a:gd name="T61" fmla="*/ 3 h 131"/>
                  <a:gd name="T62" fmla="*/ 81 w 123"/>
                  <a:gd name="T6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3" h="131">
                    <a:moveTo>
                      <a:pt x="81" y="0"/>
                    </a:moveTo>
                    <a:lnTo>
                      <a:pt x="97" y="0"/>
                    </a:lnTo>
                    <a:lnTo>
                      <a:pt x="104" y="0"/>
                    </a:lnTo>
                    <a:lnTo>
                      <a:pt x="109" y="2"/>
                    </a:lnTo>
                    <a:lnTo>
                      <a:pt x="109" y="2"/>
                    </a:lnTo>
                    <a:lnTo>
                      <a:pt x="109" y="33"/>
                    </a:lnTo>
                    <a:lnTo>
                      <a:pt x="109" y="31"/>
                    </a:lnTo>
                    <a:lnTo>
                      <a:pt x="100" y="29"/>
                    </a:lnTo>
                    <a:lnTo>
                      <a:pt x="95" y="29"/>
                    </a:lnTo>
                    <a:lnTo>
                      <a:pt x="83" y="27"/>
                    </a:lnTo>
                    <a:lnTo>
                      <a:pt x="64" y="31"/>
                    </a:lnTo>
                    <a:lnTo>
                      <a:pt x="52" y="39"/>
                    </a:lnTo>
                    <a:lnTo>
                      <a:pt x="48" y="46"/>
                    </a:lnTo>
                    <a:lnTo>
                      <a:pt x="45" y="55"/>
                    </a:lnTo>
                    <a:lnTo>
                      <a:pt x="43" y="63"/>
                    </a:lnTo>
                    <a:lnTo>
                      <a:pt x="47" y="79"/>
                    </a:lnTo>
                    <a:lnTo>
                      <a:pt x="57" y="93"/>
                    </a:lnTo>
                    <a:lnTo>
                      <a:pt x="73" y="100"/>
                    </a:lnTo>
                    <a:lnTo>
                      <a:pt x="95" y="103"/>
                    </a:lnTo>
                    <a:lnTo>
                      <a:pt x="123" y="103"/>
                    </a:lnTo>
                    <a:lnTo>
                      <a:pt x="123" y="131"/>
                    </a:lnTo>
                    <a:lnTo>
                      <a:pt x="0" y="131"/>
                    </a:lnTo>
                    <a:lnTo>
                      <a:pt x="0" y="103"/>
                    </a:lnTo>
                    <a:lnTo>
                      <a:pt x="35" y="103"/>
                    </a:lnTo>
                    <a:lnTo>
                      <a:pt x="31" y="101"/>
                    </a:lnTo>
                    <a:lnTo>
                      <a:pt x="21" y="82"/>
                    </a:lnTo>
                    <a:lnTo>
                      <a:pt x="17" y="62"/>
                    </a:lnTo>
                    <a:lnTo>
                      <a:pt x="19" y="43"/>
                    </a:lnTo>
                    <a:lnTo>
                      <a:pt x="26" y="27"/>
                    </a:lnTo>
                    <a:lnTo>
                      <a:pt x="36" y="15"/>
                    </a:lnTo>
                    <a:lnTo>
                      <a:pt x="57" y="3"/>
                    </a:lnTo>
                    <a:lnTo>
                      <a:pt x="81"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141" name="Freeform 22">
                <a:extLst>
                  <a:ext uri="{FF2B5EF4-FFF2-40B4-BE49-F238E27FC236}">
                    <a16:creationId xmlns:a16="http://schemas.microsoft.com/office/drawing/2014/main" xmlns="" id="{D80AC907-3555-4047-B733-1C327B5454D3}"/>
                  </a:ext>
                </a:extLst>
              </p:cNvPr>
              <p:cNvSpPr>
                <a:spLocks/>
              </p:cNvSpPr>
              <p:nvPr userDrawn="1"/>
            </p:nvSpPr>
            <p:spPr bwMode="auto">
              <a:xfrm>
                <a:off x="3394710" y="2293261"/>
                <a:ext cx="40005" cy="39370"/>
              </a:xfrm>
              <a:custGeom>
                <a:avLst/>
                <a:gdLst>
                  <a:gd name="T0" fmla="*/ 31 w 63"/>
                  <a:gd name="T1" fmla="*/ 0 h 62"/>
                  <a:gd name="T2" fmla="*/ 39 w 63"/>
                  <a:gd name="T3" fmla="*/ 0 h 62"/>
                  <a:gd name="T4" fmla="*/ 46 w 63"/>
                  <a:gd name="T5" fmla="*/ 4 h 62"/>
                  <a:gd name="T6" fmla="*/ 53 w 63"/>
                  <a:gd name="T7" fmla="*/ 9 h 62"/>
                  <a:gd name="T8" fmla="*/ 58 w 63"/>
                  <a:gd name="T9" fmla="*/ 16 h 62"/>
                  <a:gd name="T10" fmla="*/ 62 w 63"/>
                  <a:gd name="T11" fmla="*/ 23 h 62"/>
                  <a:gd name="T12" fmla="*/ 63 w 63"/>
                  <a:gd name="T13" fmla="*/ 31 h 62"/>
                  <a:gd name="T14" fmla="*/ 62 w 63"/>
                  <a:gd name="T15" fmla="*/ 40 h 62"/>
                  <a:gd name="T16" fmla="*/ 58 w 63"/>
                  <a:gd name="T17" fmla="*/ 47 h 62"/>
                  <a:gd name="T18" fmla="*/ 53 w 63"/>
                  <a:gd name="T19" fmla="*/ 54 h 62"/>
                  <a:gd name="T20" fmla="*/ 46 w 63"/>
                  <a:gd name="T21" fmla="*/ 59 h 62"/>
                  <a:gd name="T22" fmla="*/ 39 w 63"/>
                  <a:gd name="T23" fmla="*/ 62 h 62"/>
                  <a:gd name="T24" fmla="*/ 31 w 63"/>
                  <a:gd name="T25" fmla="*/ 62 h 62"/>
                  <a:gd name="T26" fmla="*/ 22 w 63"/>
                  <a:gd name="T27" fmla="*/ 62 h 62"/>
                  <a:gd name="T28" fmla="*/ 15 w 63"/>
                  <a:gd name="T29" fmla="*/ 59 h 62"/>
                  <a:gd name="T30" fmla="*/ 8 w 63"/>
                  <a:gd name="T31" fmla="*/ 54 h 62"/>
                  <a:gd name="T32" fmla="*/ 3 w 63"/>
                  <a:gd name="T33" fmla="*/ 47 h 62"/>
                  <a:gd name="T34" fmla="*/ 1 w 63"/>
                  <a:gd name="T35" fmla="*/ 40 h 62"/>
                  <a:gd name="T36" fmla="*/ 0 w 63"/>
                  <a:gd name="T37" fmla="*/ 31 h 62"/>
                  <a:gd name="T38" fmla="*/ 1 w 63"/>
                  <a:gd name="T39" fmla="*/ 23 h 62"/>
                  <a:gd name="T40" fmla="*/ 3 w 63"/>
                  <a:gd name="T41" fmla="*/ 16 h 62"/>
                  <a:gd name="T42" fmla="*/ 8 w 63"/>
                  <a:gd name="T43" fmla="*/ 9 h 62"/>
                  <a:gd name="T44" fmla="*/ 15 w 63"/>
                  <a:gd name="T45" fmla="*/ 4 h 62"/>
                  <a:gd name="T46" fmla="*/ 22 w 63"/>
                  <a:gd name="T47" fmla="*/ 0 h 62"/>
                  <a:gd name="T48" fmla="*/ 31 w 63"/>
                  <a:gd name="T4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 h="62">
                    <a:moveTo>
                      <a:pt x="31" y="0"/>
                    </a:moveTo>
                    <a:lnTo>
                      <a:pt x="39" y="0"/>
                    </a:lnTo>
                    <a:lnTo>
                      <a:pt x="46" y="4"/>
                    </a:lnTo>
                    <a:lnTo>
                      <a:pt x="53" y="9"/>
                    </a:lnTo>
                    <a:lnTo>
                      <a:pt x="58" y="16"/>
                    </a:lnTo>
                    <a:lnTo>
                      <a:pt x="62" y="23"/>
                    </a:lnTo>
                    <a:lnTo>
                      <a:pt x="63" y="31"/>
                    </a:lnTo>
                    <a:lnTo>
                      <a:pt x="62" y="40"/>
                    </a:lnTo>
                    <a:lnTo>
                      <a:pt x="58" y="47"/>
                    </a:lnTo>
                    <a:lnTo>
                      <a:pt x="53" y="54"/>
                    </a:lnTo>
                    <a:lnTo>
                      <a:pt x="46" y="59"/>
                    </a:lnTo>
                    <a:lnTo>
                      <a:pt x="39" y="62"/>
                    </a:lnTo>
                    <a:lnTo>
                      <a:pt x="31" y="62"/>
                    </a:lnTo>
                    <a:lnTo>
                      <a:pt x="22" y="62"/>
                    </a:lnTo>
                    <a:lnTo>
                      <a:pt x="15" y="59"/>
                    </a:lnTo>
                    <a:lnTo>
                      <a:pt x="8" y="54"/>
                    </a:lnTo>
                    <a:lnTo>
                      <a:pt x="3" y="47"/>
                    </a:lnTo>
                    <a:lnTo>
                      <a:pt x="1" y="40"/>
                    </a:lnTo>
                    <a:lnTo>
                      <a:pt x="0" y="31"/>
                    </a:lnTo>
                    <a:lnTo>
                      <a:pt x="1" y="23"/>
                    </a:lnTo>
                    <a:lnTo>
                      <a:pt x="3" y="16"/>
                    </a:lnTo>
                    <a:lnTo>
                      <a:pt x="8" y="9"/>
                    </a:lnTo>
                    <a:lnTo>
                      <a:pt x="15" y="4"/>
                    </a:lnTo>
                    <a:lnTo>
                      <a:pt x="22" y="0"/>
                    </a:lnTo>
                    <a:lnTo>
                      <a:pt x="31"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142" name="Freeform 23">
                <a:extLst>
                  <a:ext uri="{FF2B5EF4-FFF2-40B4-BE49-F238E27FC236}">
                    <a16:creationId xmlns:a16="http://schemas.microsoft.com/office/drawing/2014/main" xmlns="" id="{9925D140-4E64-4D55-A8EE-029B3454F1A4}"/>
                  </a:ext>
                </a:extLst>
              </p:cNvPr>
              <p:cNvSpPr>
                <a:spLocks/>
              </p:cNvSpPr>
              <p:nvPr userDrawn="1"/>
            </p:nvSpPr>
            <p:spPr bwMode="auto">
              <a:xfrm>
                <a:off x="2742565" y="2316121"/>
                <a:ext cx="831215" cy="251460"/>
              </a:xfrm>
              <a:custGeom>
                <a:avLst/>
                <a:gdLst>
                  <a:gd name="T0" fmla="*/ 563 w 1309"/>
                  <a:gd name="T1" fmla="*/ 0 h 396"/>
                  <a:gd name="T2" fmla="*/ 563 w 1309"/>
                  <a:gd name="T3" fmla="*/ 281 h 396"/>
                  <a:gd name="T4" fmla="*/ 570 w 1309"/>
                  <a:gd name="T5" fmla="*/ 314 h 396"/>
                  <a:gd name="T6" fmla="*/ 582 w 1309"/>
                  <a:gd name="T7" fmla="*/ 333 h 396"/>
                  <a:gd name="T8" fmla="*/ 596 w 1309"/>
                  <a:gd name="T9" fmla="*/ 345 h 396"/>
                  <a:gd name="T10" fmla="*/ 627 w 1309"/>
                  <a:gd name="T11" fmla="*/ 350 h 396"/>
                  <a:gd name="T12" fmla="*/ 987 w 1309"/>
                  <a:gd name="T13" fmla="*/ 350 h 396"/>
                  <a:gd name="T14" fmla="*/ 1004 w 1309"/>
                  <a:gd name="T15" fmla="*/ 346 h 396"/>
                  <a:gd name="T16" fmla="*/ 1018 w 1309"/>
                  <a:gd name="T17" fmla="*/ 339 h 396"/>
                  <a:gd name="T18" fmla="*/ 1028 w 1309"/>
                  <a:gd name="T19" fmla="*/ 326 h 396"/>
                  <a:gd name="T20" fmla="*/ 1034 w 1309"/>
                  <a:gd name="T21" fmla="*/ 293 h 396"/>
                  <a:gd name="T22" fmla="*/ 1080 w 1309"/>
                  <a:gd name="T23" fmla="*/ 126 h 396"/>
                  <a:gd name="T24" fmla="*/ 1082 w 1309"/>
                  <a:gd name="T25" fmla="*/ 286 h 396"/>
                  <a:gd name="T26" fmla="*/ 1094 w 1309"/>
                  <a:gd name="T27" fmla="*/ 327 h 396"/>
                  <a:gd name="T28" fmla="*/ 1121 w 1309"/>
                  <a:gd name="T29" fmla="*/ 348 h 396"/>
                  <a:gd name="T30" fmla="*/ 1264 w 1309"/>
                  <a:gd name="T31" fmla="*/ 350 h 396"/>
                  <a:gd name="T32" fmla="*/ 1309 w 1309"/>
                  <a:gd name="T33" fmla="*/ 126 h 396"/>
                  <a:gd name="T34" fmla="*/ 1144 w 1309"/>
                  <a:gd name="T35" fmla="*/ 396 h 396"/>
                  <a:gd name="T36" fmla="*/ 1120 w 1309"/>
                  <a:gd name="T37" fmla="*/ 395 h 396"/>
                  <a:gd name="T38" fmla="*/ 1082 w 1309"/>
                  <a:gd name="T39" fmla="*/ 376 h 396"/>
                  <a:gd name="T40" fmla="*/ 1068 w 1309"/>
                  <a:gd name="T41" fmla="*/ 357 h 396"/>
                  <a:gd name="T42" fmla="*/ 1059 w 1309"/>
                  <a:gd name="T43" fmla="*/ 369 h 396"/>
                  <a:gd name="T44" fmla="*/ 1040 w 1309"/>
                  <a:gd name="T45" fmla="*/ 384 h 396"/>
                  <a:gd name="T46" fmla="*/ 1001 w 1309"/>
                  <a:gd name="T47" fmla="*/ 395 h 396"/>
                  <a:gd name="T48" fmla="*/ 627 w 1309"/>
                  <a:gd name="T49" fmla="*/ 396 h 396"/>
                  <a:gd name="T50" fmla="*/ 582 w 1309"/>
                  <a:gd name="T51" fmla="*/ 388 h 396"/>
                  <a:gd name="T52" fmla="*/ 553 w 1309"/>
                  <a:gd name="T53" fmla="*/ 358 h 396"/>
                  <a:gd name="T54" fmla="*/ 549 w 1309"/>
                  <a:gd name="T55" fmla="*/ 358 h 396"/>
                  <a:gd name="T56" fmla="*/ 512 w 1309"/>
                  <a:gd name="T57" fmla="*/ 389 h 396"/>
                  <a:gd name="T58" fmla="*/ 448 w 1309"/>
                  <a:gd name="T59" fmla="*/ 396 h 396"/>
                  <a:gd name="T60" fmla="*/ 105 w 1309"/>
                  <a:gd name="T61" fmla="*/ 396 h 396"/>
                  <a:gd name="T62" fmla="*/ 50 w 1309"/>
                  <a:gd name="T63" fmla="*/ 384 h 396"/>
                  <a:gd name="T64" fmla="*/ 15 w 1309"/>
                  <a:gd name="T65" fmla="*/ 360 h 396"/>
                  <a:gd name="T66" fmla="*/ 2 w 1309"/>
                  <a:gd name="T67" fmla="*/ 322 h 396"/>
                  <a:gd name="T68" fmla="*/ 0 w 1309"/>
                  <a:gd name="T69" fmla="*/ 190 h 396"/>
                  <a:gd name="T70" fmla="*/ 45 w 1309"/>
                  <a:gd name="T71" fmla="*/ 274 h 396"/>
                  <a:gd name="T72" fmla="*/ 50 w 1309"/>
                  <a:gd name="T73" fmla="*/ 315 h 396"/>
                  <a:gd name="T74" fmla="*/ 58 w 1309"/>
                  <a:gd name="T75" fmla="*/ 327 h 396"/>
                  <a:gd name="T76" fmla="*/ 71 w 1309"/>
                  <a:gd name="T77" fmla="*/ 338 h 396"/>
                  <a:gd name="T78" fmla="*/ 108 w 1309"/>
                  <a:gd name="T79" fmla="*/ 348 h 396"/>
                  <a:gd name="T80" fmla="*/ 170 w 1309"/>
                  <a:gd name="T81" fmla="*/ 350 h 396"/>
                  <a:gd name="T82" fmla="*/ 470 w 1309"/>
                  <a:gd name="T83" fmla="*/ 350 h 396"/>
                  <a:gd name="T84" fmla="*/ 487 w 1309"/>
                  <a:gd name="T85" fmla="*/ 346 h 396"/>
                  <a:gd name="T86" fmla="*/ 501 w 1309"/>
                  <a:gd name="T87" fmla="*/ 339 h 396"/>
                  <a:gd name="T88" fmla="*/ 512 w 1309"/>
                  <a:gd name="T89" fmla="*/ 326 h 396"/>
                  <a:gd name="T90" fmla="*/ 517 w 1309"/>
                  <a:gd name="T91" fmla="*/ 293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9" h="396">
                    <a:moveTo>
                      <a:pt x="517" y="0"/>
                    </a:moveTo>
                    <a:lnTo>
                      <a:pt x="563" y="0"/>
                    </a:lnTo>
                    <a:lnTo>
                      <a:pt x="563" y="262"/>
                    </a:lnTo>
                    <a:lnTo>
                      <a:pt x="563" y="281"/>
                    </a:lnTo>
                    <a:lnTo>
                      <a:pt x="567" y="298"/>
                    </a:lnTo>
                    <a:lnTo>
                      <a:pt x="570" y="314"/>
                    </a:lnTo>
                    <a:lnTo>
                      <a:pt x="577" y="326"/>
                    </a:lnTo>
                    <a:lnTo>
                      <a:pt x="582" y="333"/>
                    </a:lnTo>
                    <a:lnTo>
                      <a:pt x="589" y="339"/>
                    </a:lnTo>
                    <a:lnTo>
                      <a:pt x="596" y="345"/>
                    </a:lnTo>
                    <a:lnTo>
                      <a:pt x="610" y="348"/>
                    </a:lnTo>
                    <a:lnTo>
                      <a:pt x="627" y="350"/>
                    </a:lnTo>
                    <a:lnTo>
                      <a:pt x="959" y="350"/>
                    </a:lnTo>
                    <a:lnTo>
                      <a:pt x="987" y="350"/>
                    </a:lnTo>
                    <a:lnTo>
                      <a:pt x="996" y="348"/>
                    </a:lnTo>
                    <a:lnTo>
                      <a:pt x="1004" y="346"/>
                    </a:lnTo>
                    <a:lnTo>
                      <a:pt x="1011" y="343"/>
                    </a:lnTo>
                    <a:lnTo>
                      <a:pt x="1018" y="339"/>
                    </a:lnTo>
                    <a:lnTo>
                      <a:pt x="1023" y="333"/>
                    </a:lnTo>
                    <a:lnTo>
                      <a:pt x="1028" y="326"/>
                    </a:lnTo>
                    <a:lnTo>
                      <a:pt x="1034" y="312"/>
                    </a:lnTo>
                    <a:lnTo>
                      <a:pt x="1034" y="293"/>
                    </a:lnTo>
                    <a:lnTo>
                      <a:pt x="1034" y="126"/>
                    </a:lnTo>
                    <a:lnTo>
                      <a:pt x="1080" y="126"/>
                    </a:lnTo>
                    <a:lnTo>
                      <a:pt x="1080" y="262"/>
                    </a:lnTo>
                    <a:lnTo>
                      <a:pt x="1082" y="286"/>
                    </a:lnTo>
                    <a:lnTo>
                      <a:pt x="1087" y="308"/>
                    </a:lnTo>
                    <a:lnTo>
                      <a:pt x="1094" y="327"/>
                    </a:lnTo>
                    <a:lnTo>
                      <a:pt x="1106" y="339"/>
                    </a:lnTo>
                    <a:lnTo>
                      <a:pt x="1121" y="348"/>
                    </a:lnTo>
                    <a:lnTo>
                      <a:pt x="1144" y="350"/>
                    </a:lnTo>
                    <a:lnTo>
                      <a:pt x="1264" y="350"/>
                    </a:lnTo>
                    <a:lnTo>
                      <a:pt x="1264" y="126"/>
                    </a:lnTo>
                    <a:lnTo>
                      <a:pt x="1309" y="126"/>
                    </a:lnTo>
                    <a:lnTo>
                      <a:pt x="1309" y="396"/>
                    </a:lnTo>
                    <a:lnTo>
                      <a:pt x="1144" y="396"/>
                    </a:lnTo>
                    <a:lnTo>
                      <a:pt x="1142" y="396"/>
                    </a:lnTo>
                    <a:lnTo>
                      <a:pt x="1120" y="395"/>
                    </a:lnTo>
                    <a:lnTo>
                      <a:pt x="1099" y="388"/>
                    </a:lnTo>
                    <a:lnTo>
                      <a:pt x="1082" y="376"/>
                    </a:lnTo>
                    <a:lnTo>
                      <a:pt x="1070" y="358"/>
                    </a:lnTo>
                    <a:lnTo>
                      <a:pt x="1068" y="357"/>
                    </a:lnTo>
                    <a:lnTo>
                      <a:pt x="1068" y="358"/>
                    </a:lnTo>
                    <a:lnTo>
                      <a:pt x="1059" y="369"/>
                    </a:lnTo>
                    <a:lnTo>
                      <a:pt x="1051" y="376"/>
                    </a:lnTo>
                    <a:lnTo>
                      <a:pt x="1040" y="384"/>
                    </a:lnTo>
                    <a:lnTo>
                      <a:pt x="1028" y="389"/>
                    </a:lnTo>
                    <a:lnTo>
                      <a:pt x="1001" y="395"/>
                    </a:lnTo>
                    <a:lnTo>
                      <a:pt x="965" y="396"/>
                    </a:lnTo>
                    <a:lnTo>
                      <a:pt x="627" y="396"/>
                    </a:lnTo>
                    <a:lnTo>
                      <a:pt x="603" y="395"/>
                    </a:lnTo>
                    <a:lnTo>
                      <a:pt x="582" y="388"/>
                    </a:lnTo>
                    <a:lnTo>
                      <a:pt x="565" y="376"/>
                    </a:lnTo>
                    <a:lnTo>
                      <a:pt x="553" y="358"/>
                    </a:lnTo>
                    <a:lnTo>
                      <a:pt x="551" y="357"/>
                    </a:lnTo>
                    <a:lnTo>
                      <a:pt x="549" y="358"/>
                    </a:lnTo>
                    <a:lnTo>
                      <a:pt x="532" y="377"/>
                    </a:lnTo>
                    <a:lnTo>
                      <a:pt x="512" y="389"/>
                    </a:lnTo>
                    <a:lnTo>
                      <a:pt x="484" y="395"/>
                    </a:lnTo>
                    <a:lnTo>
                      <a:pt x="448" y="396"/>
                    </a:lnTo>
                    <a:lnTo>
                      <a:pt x="141" y="396"/>
                    </a:lnTo>
                    <a:lnTo>
                      <a:pt x="105" y="396"/>
                    </a:lnTo>
                    <a:lnTo>
                      <a:pt x="74" y="391"/>
                    </a:lnTo>
                    <a:lnTo>
                      <a:pt x="50" y="384"/>
                    </a:lnTo>
                    <a:lnTo>
                      <a:pt x="31" y="374"/>
                    </a:lnTo>
                    <a:lnTo>
                      <a:pt x="15" y="360"/>
                    </a:lnTo>
                    <a:lnTo>
                      <a:pt x="7" y="343"/>
                    </a:lnTo>
                    <a:lnTo>
                      <a:pt x="2" y="322"/>
                    </a:lnTo>
                    <a:lnTo>
                      <a:pt x="0" y="296"/>
                    </a:lnTo>
                    <a:lnTo>
                      <a:pt x="0" y="190"/>
                    </a:lnTo>
                    <a:lnTo>
                      <a:pt x="45" y="190"/>
                    </a:lnTo>
                    <a:lnTo>
                      <a:pt x="45" y="274"/>
                    </a:lnTo>
                    <a:lnTo>
                      <a:pt x="46" y="296"/>
                    </a:lnTo>
                    <a:lnTo>
                      <a:pt x="50" y="315"/>
                    </a:lnTo>
                    <a:lnTo>
                      <a:pt x="53" y="322"/>
                    </a:lnTo>
                    <a:lnTo>
                      <a:pt x="58" y="327"/>
                    </a:lnTo>
                    <a:lnTo>
                      <a:pt x="64" y="333"/>
                    </a:lnTo>
                    <a:lnTo>
                      <a:pt x="71" y="338"/>
                    </a:lnTo>
                    <a:lnTo>
                      <a:pt x="88" y="345"/>
                    </a:lnTo>
                    <a:lnTo>
                      <a:pt x="108" y="348"/>
                    </a:lnTo>
                    <a:lnTo>
                      <a:pt x="138" y="350"/>
                    </a:lnTo>
                    <a:lnTo>
                      <a:pt x="170" y="350"/>
                    </a:lnTo>
                    <a:lnTo>
                      <a:pt x="443" y="350"/>
                    </a:lnTo>
                    <a:lnTo>
                      <a:pt x="470" y="350"/>
                    </a:lnTo>
                    <a:lnTo>
                      <a:pt x="479" y="348"/>
                    </a:lnTo>
                    <a:lnTo>
                      <a:pt x="487" y="346"/>
                    </a:lnTo>
                    <a:lnTo>
                      <a:pt x="494" y="343"/>
                    </a:lnTo>
                    <a:lnTo>
                      <a:pt x="501" y="339"/>
                    </a:lnTo>
                    <a:lnTo>
                      <a:pt x="506" y="333"/>
                    </a:lnTo>
                    <a:lnTo>
                      <a:pt x="512" y="326"/>
                    </a:lnTo>
                    <a:lnTo>
                      <a:pt x="517" y="312"/>
                    </a:lnTo>
                    <a:lnTo>
                      <a:pt x="517" y="293"/>
                    </a:lnTo>
                    <a:lnTo>
                      <a:pt x="517"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143" name="Freeform 24">
                <a:extLst>
                  <a:ext uri="{FF2B5EF4-FFF2-40B4-BE49-F238E27FC236}">
                    <a16:creationId xmlns:a16="http://schemas.microsoft.com/office/drawing/2014/main" xmlns="" id="{F75C53A3-F021-4B54-9DA8-2B8946A2B917}"/>
                  </a:ext>
                </a:extLst>
              </p:cNvPr>
              <p:cNvSpPr>
                <a:spLocks/>
              </p:cNvSpPr>
              <p:nvPr userDrawn="1"/>
            </p:nvSpPr>
            <p:spPr bwMode="auto">
              <a:xfrm>
                <a:off x="3537585" y="2606951"/>
                <a:ext cx="40640" cy="40640"/>
              </a:xfrm>
              <a:custGeom>
                <a:avLst/>
                <a:gdLst>
                  <a:gd name="T0" fmla="*/ 33 w 64"/>
                  <a:gd name="T1" fmla="*/ 0 h 64"/>
                  <a:gd name="T2" fmla="*/ 40 w 64"/>
                  <a:gd name="T3" fmla="*/ 2 h 64"/>
                  <a:gd name="T4" fmla="*/ 49 w 64"/>
                  <a:gd name="T5" fmla="*/ 5 h 64"/>
                  <a:gd name="T6" fmla="*/ 55 w 64"/>
                  <a:gd name="T7" fmla="*/ 11 h 64"/>
                  <a:gd name="T8" fmla="*/ 61 w 64"/>
                  <a:gd name="T9" fmla="*/ 17 h 64"/>
                  <a:gd name="T10" fmla="*/ 62 w 64"/>
                  <a:gd name="T11" fmla="*/ 24 h 64"/>
                  <a:gd name="T12" fmla="*/ 64 w 64"/>
                  <a:gd name="T13" fmla="*/ 33 h 64"/>
                  <a:gd name="T14" fmla="*/ 62 w 64"/>
                  <a:gd name="T15" fmla="*/ 42 h 64"/>
                  <a:gd name="T16" fmla="*/ 61 w 64"/>
                  <a:gd name="T17" fmla="*/ 48 h 64"/>
                  <a:gd name="T18" fmla="*/ 55 w 64"/>
                  <a:gd name="T19" fmla="*/ 55 h 64"/>
                  <a:gd name="T20" fmla="*/ 49 w 64"/>
                  <a:gd name="T21" fmla="*/ 60 h 64"/>
                  <a:gd name="T22" fmla="*/ 40 w 64"/>
                  <a:gd name="T23" fmla="*/ 64 h 64"/>
                  <a:gd name="T24" fmla="*/ 33 w 64"/>
                  <a:gd name="T25" fmla="*/ 64 h 64"/>
                  <a:gd name="T26" fmla="*/ 24 w 64"/>
                  <a:gd name="T27" fmla="*/ 64 h 64"/>
                  <a:gd name="T28" fmla="*/ 16 w 64"/>
                  <a:gd name="T29" fmla="*/ 60 h 64"/>
                  <a:gd name="T30" fmla="*/ 11 w 64"/>
                  <a:gd name="T31" fmla="*/ 55 h 64"/>
                  <a:gd name="T32" fmla="*/ 5 w 64"/>
                  <a:gd name="T33" fmla="*/ 48 h 64"/>
                  <a:gd name="T34" fmla="*/ 2 w 64"/>
                  <a:gd name="T35" fmla="*/ 42 h 64"/>
                  <a:gd name="T36" fmla="*/ 0 w 64"/>
                  <a:gd name="T37" fmla="*/ 33 h 64"/>
                  <a:gd name="T38" fmla="*/ 2 w 64"/>
                  <a:gd name="T39" fmla="*/ 24 h 64"/>
                  <a:gd name="T40" fmla="*/ 5 w 64"/>
                  <a:gd name="T41" fmla="*/ 17 h 64"/>
                  <a:gd name="T42" fmla="*/ 11 w 64"/>
                  <a:gd name="T43" fmla="*/ 11 h 64"/>
                  <a:gd name="T44" fmla="*/ 16 w 64"/>
                  <a:gd name="T45" fmla="*/ 5 h 64"/>
                  <a:gd name="T46" fmla="*/ 24 w 64"/>
                  <a:gd name="T47" fmla="*/ 2 h 64"/>
                  <a:gd name="T48" fmla="*/ 33 w 64"/>
                  <a:gd name="T4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3" y="0"/>
                    </a:moveTo>
                    <a:lnTo>
                      <a:pt x="40" y="2"/>
                    </a:lnTo>
                    <a:lnTo>
                      <a:pt x="49" y="5"/>
                    </a:lnTo>
                    <a:lnTo>
                      <a:pt x="55" y="11"/>
                    </a:lnTo>
                    <a:lnTo>
                      <a:pt x="61" y="17"/>
                    </a:lnTo>
                    <a:lnTo>
                      <a:pt x="62" y="24"/>
                    </a:lnTo>
                    <a:lnTo>
                      <a:pt x="64" y="33"/>
                    </a:lnTo>
                    <a:lnTo>
                      <a:pt x="62" y="42"/>
                    </a:lnTo>
                    <a:lnTo>
                      <a:pt x="61" y="48"/>
                    </a:lnTo>
                    <a:lnTo>
                      <a:pt x="55" y="55"/>
                    </a:lnTo>
                    <a:lnTo>
                      <a:pt x="49" y="60"/>
                    </a:lnTo>
                    <a:lnTo>
                      <a:pt x="40" y="64"/>
                    </a:lnTo>
                    <a:lnTo>
                      <a:pt x="33" y="64"/>
                    </a:lnTo>
                    <a:lnTo>
                      <a:pt x="24" y="64"/>
                    </a:lnTo>
                    <a:lnTo>
                      <a:pt x="16" y="60"/>
                    </a:lnTo>
                    <a:lnTo>
                      <a:pt x="11" y="55"/>
                    </a:lnTo>
                    <a:lnTo>
                      <a:pt x="5" y="48"/>
                    </a:lnTo>
                    <a:lnTo>
                      <a:pt x="2" y="42"/>
                    </a:lnTo>
                    <a:lnTo>
                      <a:pt x="0" y="33"/>
                    </a:lnTo>
                    <a:lnTo>
                      <a:pt x="2" y="24"/>
                    </a:lnTo>
                    <a:lnTo>
                      <a:pt x="5" y="17"/>
                    </a:lnTo>
                    <a:lnTo>
                      <a:pt x="11" y="11"/>
                    </a:lnTo>
                    <a:lnTo>
                      <a:pt x="16" y="5"/>
                    </a:lnTo>
                    <a:lnTo>
                      <a:pt x="24" y="2"/>
                    </a:lnTo>
                    <a:lnTo>
                      <a:pt x="33"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grpSp>
      </p:grpSp>
    </p:spTree>
    <p:extLst>
      <p:ext uri="{BB962C8B-B14F-4D97-AF65-F5344CB8AC3E}">
        <p14:creationId xmlns:p14="http://schemas.microsoft.com/office/powerpoint/2010/main" val="41368908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 1">
    <p:spTree>
      <p:nvGrpSpPr>
        <p:cNvPr id="1" name=""/>
        <p:cNvGrpSpPr/>
        <p:nvPr/>
      </p:nvGrpSpPr>
      <p:grpSpPr>
        <a:xfrm>
          <a:off x="0" y="0"/>
          <a:ext cx="0" cy="0"/>
          <a:chOff x="0" y="0"/>
          <a:chExt cx="0" cy="0"/>
        </a:xfrm>
      </p:grpSpPr>
      <p:sp>
        <p:nvSpPr>
          <p:cNvPr id="3" name="object 2"/>
          <p:cNvSpPr/>
          <p:nvPr userDrawn="1"/>
        </p:nvSpPr>
        <p:spPr>
          <a:xfrm>
            <a:off x="610760" y="481240"/>
            <a:ext cx="6704188" cy="6375486"/>
          </a:xfrm>
          <a:custGeom>
            <a:avLst/>
            <a:gdLst/>
            <a:ahLst/>
            <a:cxnLst/>
            <a:rect l="l" t="t" r="r" b="b"/>
            <a:pathLst>
              <a:path w="11057255" h="14020165">
                <a:moveTo>
                  <a:pt x="11057255" y="0"/>
                </a:moveTo>
                <a:lnTo>
                  <a:pt x="0" y="6383563"/>
                </a:lnTo>
                <a:lnTo>
                  <a:pt x="0" y="14019794"/>
                </a:lnTo>
                <a:lnTo>
                  <a:pt x="11057255" y="14019794"/>
                </a:lnTo>
                <a:lnTo>
                  <a:pt x="11057255" y="0"/>
                </a:lnTo>
                <a:close/>
              </a:path>
            </a:pathLst>
          </a:custGeom>
          <a:solidFill>
            <a:srgbClr val="FFCB05"/>
          </a:solidFill>
        </p:spPr>
        <p:txBody>
          <a:bodyPr wrap="square" lIns="0" tIns="0" rIns="0" bIns="0" rtlCol="0"/>
          <a:lstStyle/>
          <a:p>
            <a:endParaRPr lang="en-GB" sz="343" noProof="0" dirty="0"/>
          </a:p>
        </p:txBody>
      </p:sp>
      <p:sp>
        <p:nvSpPr>
          <p:cNvPr id="6" name="Text Placeholder 5"/>
          <p:cNvSpPr>
            <a:spLocks noGrp="1"/>
          </p:cNvSpPr>
          <p:nvPr>
            <p:ph type="body" sz="quarter" idx="10" hasCustomPrompt="1"/>
          </p:nvPr>
        </p:nvSpPr>
        <p:spPr>
          <a:xfrm>
            <a:off x="1104879" y="3554595"/>
            <a:ext cx="5621867" cy="1458912"/>
          </a:xfrm>
          <a:prstGeom prst="rect">
            <a:avLst/>
          </a:prstGeom>
        </p:spPr>
        <p:txBody>
          <a:bodyPr/>
          <a:lstStyle>
            <a:lvl1pPr marL="0" indent="0">
              <a:buNone/>
              <a:defRPr sz="3600" baseline="0">
                <a:solidFill>
                  <a:srgbClr val="55565A"/>
                </a:solidFill>
                <a:latin typeface="Arial" panose="020B0604020202020204" pitchFamily="34" charset="0"/>
                <a:cs typeface="Arial" panose="020B0604020202020204" pitchFamily="34" charset="0"/>
              </a:defRPr>
            </a:lvl1pPr>
          </a:lstStyle>
          <a:p>
            <a:pPr lvl="0"/>
            <a:r>
              <a:rPr lang="en-GB" noProof="0" dirty="0"/>
              <a:t>Divider Title Goes Here</a:t>
            </a:r>
          </a:p>
        </p:txBody>
      </p:sp>
    </p:spTree>
    <p:extLst>
      <p:ext uri="{BB962C8B-B14F-4D97-AF65-F5344CB8AC3E}">
        <p14:creationId xmlns:p14="http://schemas.microsoft.com/office/powerpoint/2010/main" val="16186570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 2">
    <p:spTree>
      <p:nvGrpSpPr>
        <p:cNvPr id="1" name=""/>
        <p:cNvGrpSpPr/>
        <p:nvPr/>
      </p:nvGrpSpPr>
      <p:grpSpPr>
        <a:xfrm>
          <a:off x="0" y="0"/>
          <a:ext cx="0" cy="0"/>
          <a:chOff x="0" y="0"/>
          <a:chExt cx="0" cy="0"/>
        </a:xfrm>
      </p:grpSpPr>
      <p:sp>
        <p:nvSpPr>
          <p:cNvPr id="3" name="object 2"/>
          <p:cNvSpPr/>
          <p:nvPr userDrawn="1"/>
        </p:nvSpPr>
        <p:spPr>
          <a:xfrm>
            <a:off x="598059" y="457109"/>
            <a:ext cx="638732" cy="1828415"/>
          </a:xfrm>
          <a:custGeom>
            <a:avLst/>
            <a:gdLst/>
            <a:ahLst/>
            <a:cxnLst/>
            <a:rect l="l" t="t" r="r" b="b"/>
            <a:pathLst>
              <a:path w="1053464" h="4020820">
                <a:moveTo>
                  <a:pt x="1052998" y="0"/>
                </a:moveTo>
                <a:lnTo>
                  <a:pt x="0" y="607916"/>
                </a:lnTo>
                <a:lnTo>
                  <a:pt x="0" y="4020820"/>
                </a:lnTo>
                <a:lnTo>
                  <a:pt x="1052998" y="4020820"/>
                </a:lnTo>
                <a:lnTo>
                  <a:pt x="1052998" y="0"/>
                </a:lnTo>
                <a:close/>
              </a:path>
            </a:pathLst>
          </a:custGeom>
          <a:solidFill>
            <a:srgbClr val="FFCB05"/>
          </a:solidFill>
        </p:spPr>
        <p:txBody>
          <a:bodyPr wrap="square" lIns="0" tIns="0" rIns="0" bIns="0" rtlCol="0"/>
          <a:lstStyle/>
          <a:p>
            <a:endParaRPr lang="en-GB" sz="343" noProof="0" dirty="0"/>
          </a:p>
        </p:txBody>
      </p:sp>
      <p:sp>
        <p:nvSpPr>
          <p:cNvPr id="6" name="object 11"/>
          <p:cNvSpPr txBox="1"/>
          <p:nvPr userDrawn="1"/>
        </p:nvSpPr>
        <p:spPr>
          <a:xfrm>
            <a:off x="7065343" y="16934"/>
            <a:ext cx="4533054" cy="182614"/>
          </a:xfrm>
          <a:prstGeom prst="rect">
            <a:avLst/>
          </a:prstGeom>
        </p:spPr>
        <p:txBody>
          <a:bodyPr vert="horz" wrap="square" lIns="0" tIns="0" rIns="0" bIns="0" rtlCol="0">
            <a:spAutoFit/>
          </a:bodyPr>
          <a:lstStyle/>
          <a:p>
            <a:pPr marL="11723" algn="r">
              <a:lnSpc>
                <a:spcPts val="1605"/>
              </a:lnSpc>
            </a:pPr>
            <a:r>
              <a:rPr lang="en-GB" sz="923" spc="14"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69" noProof="0" dirty="0">
                <a:solidFill>
                  <a:srgbClr val="55565A"/>
                </a:solidFill>
                <a:latin typeface="Arial Unicode MS"/>
                <a:cs typeface="Arial Unicode MS"/>
              </a:rPr>
              <a:t>GIB</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The</a:t>
            </a:r>
            <a:r>
              <a:rPr lang="en-GB" sz="923" spc="-74" noProof="0" dirty="0">
                <a:solidFill>
                  <a:srgbClr val="55565A"/>
                </a:solidFill>
                <a:latin typeface="Arial Unicode MS"/>
                <a:cs typeface="Arial Unicode MS"/>
              </a:rPr>
              <a:t> </a:t>
            </a:r>
            <a:r>
              <a:rPr lang="en-GB" sz="923" spc="-14" noProof="0" dirty="0">
                <a:solidFill>
                  <a:srgbClr val="55565A"/>
                </a:solidFill>
                <a:latin typeface="Arial Unicode MS"/>
                <a:cs typeface="Arial Unicode MS"/>
              </a:rPr>
              <a:t>Gulf’s</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International</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Bank</a:t>
            </a:r>
            <a:endParaRPr lang="en-GB" sz="923" noProof="0" dirty="0">
              <a:latin typeface="Arial Unicode MS"/>
              <a:cs typeface="Arial Unicode MS"/>
            </a:endParaRPr>
          </a:p>
        </p:txBody>
      </p:sp>
      <p:sp>
        <p:nvSpPr>
          <p:cNvPr id="10" name="Text Placeholder 5"/>
          <p:cNvSpPr>
            <a:spLocks noGrp="1"/>
          </p:cNvSpPr>
          <p:nvPr>
            <p:ph type="body" sz="quarter" idx="11" hasCustomPrompt="1"/>
          </p:nvPr>
        </p:nvSpPr>
        <p:spPr>
          <a:xfrm>
            <a:off x="1270001" y="457109"/>
            <a:ext cx="6515226" cy="1898751"/>
          </a:xfrm>
          <a:prstGeom prst="rect">
            <a:avLst/>
          </a:prstGeom>
        </p:spPr>
        <p:txBody>
          <a:bodyPr bIns="0" anchor="b"/>
          <a:lstStyle>
            <a:lvl1pPr marL="0" indent="0">
              <a:lnSpc>
                <a:spcPct val="100000"/>
              </a:lnSpc>
              <a:spcBef>
                <a:spcPts val="0"/>
              </a:spcBef>
              <a:buNone/>
              <a:defRPr sz="3600" spc="0" baseline="0">
                <a:solidFill>
                  <a:srgbClr val="FFFFFF"/>
                </a:solidFill>
                <a:latin typeface="Arial" panose="020B0604020202020204" pitchFamily="34" charset="0"/>
                <a:cs typeface="Arial" panose="020B0604020202020204" pitchFamily="34" charset="0"/>
              </a:defRPr>
            </a:lvl1pPr>
          </a:lstStyle>
          <a:p>
            <a:pPr lvl="0"/>
            <a:r>
              <a:rPr lang="en-GB" noProof="0" dirty="0"/>
              <a:t>Divider Title Goes Here</a:t>
            </a:r>
          </a:p>
        </p:txBody>
      </p:sp>
    </p:spTree>
    <p:extLst>
      <p:ext uri="{BB962C8B-B14F-4D97-AF65-F5344CB8AC3E}">
        <p14:creationId xmlns:p14="http://schemas.microsoft.com/office/powerpoint/2010/main" val="1115575535"/>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x2 + Content">
    <p:bg>
      <p:bgPr>
        <a:solidFill>
          <a:schemeClr val="bg2"/>
        </a:solidFill>
        <a:effectLst/>
      </p:bgPr>
    </p:bg>
    <p:spTree>
      <p:nvGrpSpPr>
        <p:cNvPr id="1" name=""/>
        <p:cNvGrpSpPr/>
        <p:nvPr/>
      </p:nvGrpSpPr>
      <p:grpSpPr>
        <a:xfrm>
          <a:off x="0" y="0"/>
          <a:ext cx="0" cy="0"/>
          <a:chOff x="0" y="0"/>
          <a:chExt cx="0" cy="0"/>
        </a:xfrm>
      </p:grpSpPr>
      <p:sp>
        <p:nvSpPr>
          <p:cNvPr id="9" name="Rectangle 8"/>
          <p:cNvSpPr/>
          <p:nvPr userDrawn="1"/>
        </p:nvSpPr>
        <p:spPr>
          <a:xfrm>
            <a:off x="0" y="259268"/>
            <a:ext cx="12192000" cy="653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noProof="0" dirty="0"/>
          </a:p>
        </p:txBody>
      </p:sp>
      <p:sp>
        <p:nvSpPr>
          <p:cNvPr id="6" name="object 2"/>
          <p:cNvSpPr/>
          <p:nvPr userDrawn="1"/>
        </p:nvSpPr>
        <p:spPr>
          <a:xfrm>
            <a:off x="508002" y="56905"/>
            <a:ext cx="339817" cy="972746"/>
          </a:xfrm>
          <a:custGeom>
            <a:avLst/>
            <a:gdLst/>
            <a:ahLst/>
            <a:cxnLst/>
            <a:rect l="l" t="t" r="r" b="b"/>
            <a:pathLst>
              <a:path w="1053464" h="4020820">
                <a:moveTo>
                  <a:pt x="1052998" y="0"/>
                </a:moveTo>
                <a:lnTo>
                  <a:pt x="0" y="607916"/>
                </a:lnTo>
                <a:lnTo>
                  <a:pt x="0" y="4020820"/>
                </a:lnTo>
                <a:lnTo>
                  <a:pt x="1052998" y="4020820"/>
                </a:lnTo>
                <a:lnTo>
                  <a:pt x="1052998" y="0"/>
                </a:lnTo>
                <a:close/>
              </a:path>
            </a:pathLst>
          </a:custGeom>
          <a:solidFill>
            <a:srgbClr val="FFCB05"/>
          </a:solidFill>
        </p:spPr>
        <p:txBody>
          <a:bodyPr wrap="square" lIns="0" tIns="0" rIns="0" bIns="0" rtlCol="0"/>
          <a:lstStyle/>
          <a:p>
            <a:endParaRPr lang="en-GB" sz="1662" noProof="0" dirty="0"/>
          </a:p>
        </p:txBody>
      </p:sp>
      <p:sp>
        <p:nvSpPr>
          <p:cNvPr id="7" name="object 11"/>
          <p:cNvSpPr txBox="1"/>
          <p:nvPr userDrawn="1"/>
        </p:nvSpPr>
        <p:spPr>
          <a:xfrm>
            <a:off x="7065343" y="16934"/>
            <a:ext cx="4533054" cy="205184"/>
          </a:xfrm>
          <a:prstGeom prst="rect">
            <a:avLst/>
          </a:prstGeom>
        </p:spPr>
        <p:txBody>
          <a:bodyPr vert="horz" wrap="square" lIns="0" tIns="0" rIns="0" bIns="0" rtlCol="0">
            <a:spAutoFit/>
          </a:bodyPr>
          <a:lstStyle/>
          <a:p>
            <a:pPr marL="11723" algn="r">
              <a:lnSpc>
                <a:spcPts val="1605"/>
              </a:lnSpc>
            </a:pPr>
            <a:r>
              <a:rPr lang="en-GB" sz="923" spc="14"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69" noProof="0" dirty="0">
                <a:solidFill>
                  <a:srgbClr val="55565A"/>
                </a:solidFill>
                <a:latin typeface="Arial Unicode MS"/>
                <a:cs typeface="Arial Unicode MS"/>
              </a:rPr>
              <a:t>GIB </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The</a:t>
            </a:r>
            <a:r>
              <a:rPr lang="en-GB" sz="923" spc="-74" noProof="0" dirty="0">
                <a:solidFill>
                  <a:srgbClr val="55565A"/>
                </a:solidFill>
                <a:latin typeface="Arial Unicode MS"/>
                <a:cs typeface="Arial Unicode MS"/>
              </a:rPr>
              <a:t> </a:t>
            </a:r>
            <a:r>
              <a:rPr lang="en-GB" sz="923" spc="-14" noProof="0" dirty="0">
                <a:solidFill>
                  <a:srgbClr val="55565A"/>
                </a:solidFill>
                <a:latin typeface="Arial Unicode MS"/>
                <a:cs typeface="Arial Unicode MS"/>
              </a:rPr>
              <a:t>Gulf’s</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International</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Bank</a:t>
            </a:r>
            <a:endParaRPr lang="en-GB" sz="923" noProof="0" dirty="0">
              <a:latin typeface="Arial Unicode MS"/>
              <a:cs typeface="Arial Unicode MS"/>
            </a:endParaRPr>
          </a:p>
        </p:txBody>
      </p:sp>
      <p:sp>
        <p:nvSpPr>
          <p:cNvPr id="17" name="Text Placeholder 2"/>
          <p:cNvSpPr>
            <a:spLocks noGrp="1"/>
          </p:cNvSpPr>
          <p:nvPr>
            <p:ph type="body" sz="quarter" idx="16"/>
          </p:nvPr>
        </p:nvSpPr>
        <p:spPr>
          <a:xfrm>
            <a:off x="1031631" y="1029651"/>
            <a:ext cx="10550769" cy="5294948"/>
          </a:xfrm>
          <a:prstGeom prst="rect">
            <a:avLst/>
          </a:prstGeom>
        </p:spPr>
        <p:txBody>
          <a:bodyPr/>
          <a:lstStyle>
            <a:lvl1pPr marL="171450" indent="-171450">
              <a:lnSpc>
                <a:spcPct val="100000"/>
              </a:lnSpc>
              <a:spcBef>
                <a:spcPts val="600"/>
              </a:spcBef>
              <a:buClr>
                <a:srgbClr val="FFCB05"/>
              </a:buClr>
              <a:buFont typeface="Wingdings" panose="05000000000000000000" pitchFamily="2" charset="2"/>
              <a:buChar char="§"/>
              <a:defRPr sz="1100">
                <a:latin typeface="+mj-lt"/>
              </a:defRPr>
            </a:lvl1pPr>
            <a:lvl2pPr marL="341313" indent="-169863">
              <a:lnSpc>
                <a:spcPct val="100000"/>
              </a:lnSpc>
              <a:spcBef>
                <a:spcPts val="600"/>
              </a:spcBef>
              <a:buClr>
                <a:srgbClr val="5A5A5A"/>
              </a:buClr>
              <a:buFont typeface="Wingdings" panose="05000000000000000000" pitchFamily="2" charset="2"/>
              <a:buChar char="§"/>
              <a:defRPr sz="1100">
                <a:latin typeface="+mj-lt"/>
              </a:defRPr>
            </a:lvl2pPr>
            <a:lvl3pPr marL="512763" indent="-171450">
              <a:lnSpc>
                <a:spcPct val="100000"/>
              </a:lnSpc>
              <a:spcBef>
                <a:spcPts val="600"/>
              </a:spcBef>
              <a:buClr>
                <a:schemeClr val="accent1"/>
              </a:buClr>
              <a:buFont typeface="Wingdings" panose="05000000000000000000" pitchFamily="2" charset="2"/>
              <a:buChar char="§"/>
              <a:defRPr sz="1100">
                <a:latin typeface="+mj-lt"/>
              </a:defRPr>
            </a:lvl3pPr>
          </a:lstStyle>
          <a:p>
            <a:pPr lvl="0"/>
            <a:r>
              <a:rPr lang="en-GB" noProof="0" dirty="0"/>
              <a:t>Click to edit Master text styles</a:t>
            </a:r>
          </a:p>
          <a:p>
            <a:pPr lvl="1"/>
            <a:r>
              <a:rPr lang="en-GB" noProof="0" dirty="0"/>
              <a:t>Second level</a:t>
            </a:r>
          </a:p>
          <a:p>
            <a:pPr lvl="2"/>
            <a:r>
              <a:rPr lang="en-GB" noProof="0" dirty="0"/>
              <a:t>Third level</a:t>
            </a:r>
          </a:p>
        </p:txBody>
      </p:sp>
      <p:sp>
        <p:nvSpPr>
          <p:cNvPr id="20" name="TextBox 19"/>
          <p:cNvSpPr txBox="1"/>
          <p:nvPr userDrawn="1"/>
        </p:nvSpPr>
        <p:spPr>
          <a:xfrm>
            <a:off x="11144015" y="6456841"/>
            <a:ext cx="356188" cy="261610"/>
          </a:xfrm>
          <a:prstGeom prst="rect">
            <a:avLst/>
          </a:prstGeom>
          <a:noFill/>
        </p:spPr>
        <p:txBody>
          <a:bodyPr wrap="none" rtlCol="0">
            <a:spAutoFit/>
          </a:bodyPr>
          <a:lstStyle/>
          <a:p>
            <a:fld id="{DCB9605B-05B2-4139-97EC-E5FED2E08089}" type="slidenum">
              <a:rPr lang="en-GB" sz="1100" b="0" noProof="0" smtClean="0">
                <a:latin typeface="+mj-lt"/>
              </a:rPr>
              <a:t>‹#›</a:t>
            </a:fld>
            <a:endParaRPr lang="en-GB" sz="1100" b="0" noProof="0" dirty="0">
              <a:latin typeface="+mj-lt"/>
            </a:endParaRPr>
          </a:p>
        </p:txBody>
      </p:sp>
      <p:sp>
        <p:nvSpPr>
          <p:cNvPr id="14" name="Text Placeholder 2"/>
          <p:cNvSpPr>
            <a:spLocks noGrp="1"/>
          </p:cNvSpPr>
          <p:nvPr>
            <p:ph type="body" sz="quarter" idx="15" hasCustomPrompt="1"/>
          </p:nvPr>
        </p:nvSpPr>
        <p:spPr>
          <a:xfrm>
            <a:off x="1031631" y="610160"/>
            <a:ext cx="9666436" cy="280246"/>
          </a:xfrm>
          <a:prstGeom prst="rect">
            <a:avLst/>
          </a:prstGeom>
        </p:spPr>
        <p:txBody>
          <a:bodyPr/>
          <a:lstStyle>
            <a:lvl1pPr marL="0" indent="0">
              <a:buNone/>
              <a:defRPr sz="1400" b="1" spc="0" baseline="0">
                <a:solidFill>
                  <a:srgbClr val="FFCB05"/>
                </a:solidFill>
                <a:latin typeface="Arial" panose="020B0604020202020204" pitchFamily="34" charset="0"/>
                <a:cs typeface="Arial" panose="020B0604020202020204" pitchFamily="34" charset="0"/>
              </a:defRPr>
            </a:lvl1pPr>
          </a:lstStyle>
          <a:p>
            <a:pPr lvl="0"/>
            <a:r>
              <a:rPr lang="en-GB" noProof="0" dirty="0"/>
              <a:t>Sub title here</a:t>
            </a:r>
          </a:p>
        </p:txBody>
      </p:sp>
      <p:sp>
        <p:nvSpPr>
          <p:cNvPr id="15" name="Text Placeholder 11"/>
          <p:cNvSpPr>
            <a:spLocks noGrp="1"/>
          </p:cNvSpPr>
          <p:nvPr>
            <p:ph type="body" sz="quarter" idx="12" hasCustomPrompt="1"/>
          </p:nvPr>
        </p:nvSpPr>
        <p:spPr>
          <a:xfrm>
            <a:off x="1031631" y="299420"/>
            <a:ext cx="9666437" cy="318325"/>
          </a:xfrm>
          <a:prstGeom prst="rect">
            <a:avLst/>
          </a:prstGeom>
        </p:spPr>
        <p:txBody>
          <a:bodyPr/>
          <a:lstStyle>
            <a:lvl1pPr marL="0" indent="0">
              <a:buNone/>
              <a:defRPr sz="2000" kern="0" spc="0" baseline="0">
                <a:solidFill>
                  <a:schemeClr val="bg2"/>
                </a:solidFill>
                <a:latin typeface="Arial" panose="020B0604020202020204" pitchFamily="34" charset="0"/>
                <a:cs typeface="Arial" panose="020B0604020202020204" pitchFamily="34" charset="0"/>
              </a:defRPr>
            </a:lvl1pPr>
          </a:lstStyle>
          <a:p>
            <a:pPr lvl="0"/>
            <a:r>
              <a:rPr lang="en-GB" noProof="0" dirty="0"/>
              <a:t>Title he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28380" y="451556"/>
            <a:ext cx="617067" cy="269123"/>
          </a:xfrm>
          <a:prstGeom prst="rect">
            <a:avLst/>
          </a:prstGeom>
        </p:spPr>
      </p:pic>
    </p:spTree>
    <p:extLst>
      <p:ext uri="{BB962C8B-B14F-4D97-AF65-F5344CB8AC3E}">
        <p14:creationId xmlns:p14="http://schemas.microsoft.com/office/powerpoint/2010/main" val="427858509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Content">
    <p:bg>
      <p:bgPr>
        <a:solidFill>
          <a:schemeClr val="bg2"/>
        </a:solidFill>
        <a:effectLst/>
      </p:bgPr>
    </p:bg>
    <p:spTree>
      <p:nvGrpSpPr>
        <p:cNvPr id="1" name=""/>
        <p:cNvGrpSpPr/>
        <p:nvPr/>
      </p:nvGrpSpPr>
      <p:grpSpPr>
        <a:xfrm>
          <a:off x="0" y="0"/>
          <a:ext cx="0" cy="0"/>
          <a:chOff x="0" y="0"/>
          <a:chExt cx="0" cy="0"/>
        </a:xfrm>
      </p:grpSpPr>
      <p:sp>
        <p:nvSpPr>
          <p:cNvPr id="8" name="Rectangle 7"/>
          <p:cNvSpPr/>
          <p:nvPr userDrawn="1"/>
        </p:nvSpPr>
        <p:spPr>
          <a:xfrm>
            <a:off x="0" y="259268"/>
            <a:ext cx="12192000" cy="653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noProof="0" dirty="0"/>
          </a:p>
        </p:txBody>
      </p:sp>
      <p:sp>
        <p:nvSpPr>
          <p:cNvPr id="6" name="object 2"/>
          <p:cNvSpPr/>
          <p:nvPr userDrawn="1"/>
        </p:nvSpPr>
        <p:spPr>
          <a:xfrm>
            <a:off x="508002" y="56905"/>
            <a:ext cx="339817" cy="972746"/>
          </a:xfrm>
          <a:custGeom>
            <a:avLst/>
            <a:gdLst/>
            <a:ahLst/>
            <a:cxnLst/>
            <a:rect l="l" t="t" r="r" b="b"/>
            <a:pathLst>
              <a:path w="1053464" h="4020820">
                <a:moveTo>
                  <a:pt x="1052998" y="0"/>
                </a:moveTo>
                <a:lnTo>
                  <a:pt x="0" y="607916"/>
                </a:lnTo>
                <a:lnTo>
                  <a:pt x="0" y="4020820"/>
                </a:lnTo>
                <a:lnTo>
                  <a:pt x="1052998" y="4020820"/>
                </a:lnTo>
                <a:lnTo>
                  <a:pt x="1052998" y="0"/>
                </a:lnTo>
                <a:close/>
              </a:path>
            </a:pathLst>
          </a:custGeom>
          <a:solidFill>
            <a:srgbClr val="FFCB05"/>
          </a:solidFill>
        </p:spPr>
        <p:txBody>
          <a:bodyPr wrap="square" lIns="0" tIns="0" rIns="0" bIns="0" rtlCol="0"/>
          <a:lstStyle/>
          <a:p>
            <a:endParaRPr lang="en-GB" sz="1662" noProof="0" dirty="0"/>
          </a:p>
        </p:txBody>
      </p:sp>
      <p:sp>
        <p:nvSpPr>
          <p:cNvPr id="7" name="object 11"/>
          <p:cNvSpPr txBox="1"/>
          <p:nvPr userDrawn="1"/>
        </p:nvSpPr>
        <p:spPr>
          <a:xfrm>
            <a:off x="7065343" y="16934"/>
            <a:ext cx="4533054" cy="182614"/>
          </a:xfrm>
          <a:prstGeom prst="rect">
            <a:avLst/>
          </a:prstGeom>
        </p:spPr>
        <p:txBody>
          <a:bodyPr vert="horz" wrap="square" lIns="0" tIns="0" rIns="0" bIns="0" rtlCol="0">
            <a:spAutoFit/>
          </a:bodyPr>
          <a:lstStyle/>
          <a:p>
            <a:pPr marL="11723" algn="r">
              <a:lnSpc>
                <a:spcPts val="1605"/>
              </a:lnSpc>
            </a:pPr>
            <a:r>
              <a:rPr lang="en-GB" sz="923" spc="14"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69" noProof="0" dirty="0">
                <a:solidFill>
                  <a:srgbClr val="55565A"/>
                </a:solidFill>
                <a:latin typeface="Arial Unicode MS"/>
                <a:cs typeface="Arial Unicode MS"/>
              </a:rPr>
              <a:t>GIB </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The</a:t>
            </a:r>
            <a:r>
              <a:rPr lang="en-GB" sz="923" spc="-74" noProof="0" dirty="0">
                <a:solidFill>
                  <a:srgbClr val="55565A"/>
                </a:solidFill>
                <a:latin typeface="Arial Unicode MS"/>
                <a:cs typeface="Arial Unicode MS"/>
              </a:rPr>
              <a:t> </a:t>
            </a:r>
            <a:r>
              <a:rPr lang="en-GB" sz="923" spc="-14" noProof="0" dirty="0">
                <a:solidFill>
                  <a:srgbClr val="55565A"/>
                </a:solidFill>
                <a:latin typeface="Arial Unicode MS"/>
                <a:cs typeface="Arial Unicode MS"/>
              </a:rPr>
              <a:t>Gulf’s</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International</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Bank</a:t>
            </a:r>
            <a:endParaRPr lang="en-GB" sz="923" noProof="0" dirty="0">
              <a:latin typeface="Arial Unicode MS"/>
              <a:cs typeface="Arial Unicode MS"/>
            </a:endParaRPr>
          </a:p>
        </p:txBody>
      </p:sp>
      <p:sp>
        <p:nvSpPr>
          <p:cNvPr id="13" name="Text Placeholder 11"/>
          <p:cNvSpPr>
            <a:spLocks noGrp="1"/>
          </p:cNvSpPr>
          <p:nvPr>
            <p:ph type="body" sz="quarter" idx="12" hasCustomPrompt="1"/>
          </p:nvPr>
        </p:nvSpPr>
        <p:spPr>
          <a:xfrm>
            <a:off x="1035580" y="269612"/>
            <a:ext cx="9662487" cy="643343"/>
          </a:xfrm>
          <a:prstGeom prst="rect">
            <a:avLst/>
          </a:prstGeom>
        </p:spPr>
        <p:txBody>
          <a:bodyPr anchor="ctr"/>
          <a:lstStyle>
            <a:lvl1pPr marL="0" indent="0">
              <a:buNone/>
              <a:defRPr sz="2000" kern="0" spc="0" baseline="0">
                <a:solidFill>
                  <a:schemeClr val="bg2"/>
                </a:solidFill>
                <a:latin typeface="Arial" panose="020B0604020202020204" pitchFamily="34" charset="0"/>
                <a:cs typeface="Arial" panose="020B0604020202020204" pitchFamily="34" charset="0"/>
              </a:defRPr>
            </a:lvl1pPr>
          </a:lstStyle>
          <a:p>
            <a:pPr lvl="0"/>
            <a:r>
              <a:rPr lang="en-GB" noProof="0" dirty="0"/>
              <a:t>Title here</a:t>
            </a:r>
          </a:p>
        </p:txBody>
      </p:sp>
      <p:sp>
        <p:nvSpPr>
          <p:cNvPr id="15" name="Text Placeholder 2"/>
          <p:cNvSpPr>
            <a:spLocks noGrp="1"/>
          </p:cNvSpPr>
          <p:nvPr>
            <p:ph type="body" sz="quarter" idx="16"/>
          </p:nvPr>
        </p:nvSpPr>
        <p:spPr>
          <a:xfrm>
            <a:off x="1031631" y="1029651"/>
            <a:ext cx="10550769" cy="5294948"/>
          </a:xfrm>
          <a:prstGeom prst="rect">
            <a:avLst/>
          </a:prstGeom>
        </p:spPr>
        <p:txBody>
          <a:bodyPr/>
          <a:lstStyle>
            <a:lvl1pPr marL="171450" indent="-171450">
              <a:lnSpc>
                <a:spcPct val="100000"/>
              </a:lnSpc>
              <a:spcBef>
                <a:spcPts val="600"/>
              </a:spcBef>
              <a:buClr>
                <a:srgbClr val="FFCB05"/>
              </a:buClr>
              <a:buFont typeface="Wingdings" panose="05000000000000000000" pitchFamily="2" charset="2"/>
              <a:buChar char="§"/>
              <a:defRPr sz="1100">
                <a:latin typeface="+mj-lt"/>
              </a:defRPr>
            </a:lvl1pPr>
            <a:lvl2pPr marL="341313" indent="-169863">
              <a:lnSpc>
                <a:spcPct val="100000"/>
              </a:lnSpc>
              <a:spcBef>
                <a:spcPts val="600"/>
              </a:spcBef>
              <a:buClr>
                <a:srgbClr val="5A5A5A"/>
              </a:buClr>
              <a:buFont typeface="Wingdings" panose="05000000000000000000" pitchFamily="2" charset="2"/>
              <a:buChar char="§"/>
              <a:defRPr sz="1100">
                <a:latin typeface="+mj-lt"/>
              </a:defRPr>
            </a:lvl2pPr>
            <a:lvl3pPr marL="512763" indent="-171450">
              <a:lnSpc>
                <a:spcPct val="100000"/>
              </a:lnSpc>
              <a:spcBef>
                <a:spcPts val="600"/>
              </a:spcBef>
              <a:buClr>
                <a:schemeClr val="accent1"/>
              </a:buClr>
              <a:buFont typeface="Wingdings" panose="05000000000000000000" pitchFamily="2" charset="2"/>
              <a:buChar char="§"/>
              <a:defRPr sz="1100">
                <a:latin typeface="+mj-lt"/>
              </a:defRPr>
            </a:lvl3pPr>
          </a:lstStyle>
          <a:p>
            <a:pPr lvl="0"/>
            <a:r>
              <a:rPr lang="en-GB" noProof="0" dirty="0"/>
              <a:t>Click to edit Master text styles</a:t>
            </a:r>
          </a:p>
          <a:p>
            <a:pPr lvl="1"/>
            <a:r>
              <a:rPr lang="en-GB" noProof="0" dirty="0"/>
              <a:t>Second level</a:t>
            </a:r>
          </a:p>
          <a:p>
            <a:pPr lvl="2"/>
            <a:r>
              <a:rPr lang="en-GB" noProof="0" dirty="0"/>
              <a:t>Third level</a:t>
            </a:r>
          </a:p>
        </p:txBody>
      </p:sp>
      <p:sp>
        <p:nvSpPr>
          <p:cNvPr id="17" name="TextBox 16"/>
          <p:cNvSpPr txBox="1"/>
          <p:nvPr userDrawn="1"/>
        </p:nvSpPr>
        <p:spPr>
          <a:xfrm>
            <a:off x="11144015" y="6456841"/>
            <a:ext cx="356188" cy="261610"/>
          </a:xfrm>
          <a:prstGeom prst="rect">
            <a:avLst/>
          </a:prstGeom>
          <a:noFill/>
        </p:spPr>
        <p:txBody>
          <a:bodyPr wrap="none" rtlCol="0">
            <a:spAutoFit/>
          </a:bodyPr>
          <a:lstStyle/>
          <a:p>
            <a:fld id="{DCB9605B-05B2-4139-97EC-E5FED2E08089}" type="slidenum">
              <a:rPr lang="en-GB" sz="1100" b="0" noProof="0" smtClean="0">
                <a:latin typeface="+mj-lt"/>
              </a:rPr>
              <a:t>‹#›</a:t>
            </a:fld>
            <a:endParaRPr lang="en-GB" sz="1100" b="0" noProof="0" dirty="0">
              <a:latin typeface="+mj-lt"/>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28380" y="451556"/>
            <a:ext cx="617067" cy="269123"/>
          </a:xfrm>
          <a:prstGeom prst="rect">
            <a:avLst/>
          </a:prstGeom>
        </p:spPr>
      </p:pic>
    </p:spTree>
    <p:extLst>
      <p:ext uri="{BB962C8B-B14F-4D97-AF65-F5344CB8AC3E}">
        <p14:creationId xmlns:p14="http://schemas.microsoft.com/office/powerpoint/2010/main" val="6517545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x2 + No Content">
    <p:bg>
      <p:bgPr>
        <a:solidFill>
          <a:schemeClr val="bg2"/>
        </a:solidFill>
        <a:effectLst/>
      </p:bgPr>
    </p:bg>
    <p:spTree>
      <p:nvGrpSpPr>
        <p:cNvPr id="1" name=""/>
        <p:cNvGrpSpPr/>
        <p:nvPr/>
      </p:nvGrpSpPr>
      <p:grpSpPr>
        <a:xfrm>
          <a:off x="0" y="0"/>
          <a:ext cx="0" cy="0"/>
          <a:chOff x="0" y="0"/>
          <a:chExt cx="0" cy="0"/>
        </a:xfrm>
      </p:grpSpPr>
      <p:sp>
        <p:nvSpPr>
          <p:cNvPr id="9" name="Rectangle 8"/>
          <p:cNvSpPr/>
          <p:nvPr userDrawn="1"/>
        </p:nvSpPr>
        <p:spPr>
          <a:xfrm>
            <a:off x="0" y="259268"/>
            <a:ext cx="12192000" cy="653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noProof="0" dirty="0"/>
          </a:p>
        </p:txBody>
      </p:sp>
      <p:sp>
        <p:nvSpPr>
          <p:cNvPr id="6" name="object 2"/>
          <p:cNvSpPr/>
          <p:nvPr userDrawn="1"/>
        </p:nvSpPr>
        <p:spPr>
          <a:xfrm>
            <a:off x="508002" y="56905"/>
            <a:ext cx="339817" cy="972746"/>
          </a:xfrm>
          <a:custGeom>
            <a:avLst/>
            <a:gdLst/>
            <a:ahLst/>
            <a:cxnLst/>
            <a:rect l="l" t="t" r="r" b="b"/>
            <a:pathLst>
              <a:path w="1053464" h="4020820">
                <a:moveTo>
                  <a:pt x="1052998" y="0"/>
                </a:moveTo>
                <a:lnTo>
                  <a:pt x="0" y="607916"/>
                </a:lnTo>
                <a:lnTo>
                  <a:pt x="0" y="4020820"/>
                </a:lnTo>
                <a:lnTo>
                  <a:pt x="1052998" y="4020820"/>
                </a:lnTo>
                <a:lnTo>
                  <a:pt x="1052998" y="0"/>
                </a:lnTo>
                <a:close/>
              </a:path>
            </a:pathLst>
          </a:custGeom>
          <a:solidFill>
            <a:srgbClr val="FFCB05"/>
          </a:solidFill>
        </p:spPr>
        <p:txBody>
          <a:bodyPr wrap="square" lIns="0" tIns="0" rIns="0" bIns="0" rtlCol="0"/>
          <a:lstStyle/>
          <a:p>
            <a:endParaRPr lang="en-GB" sz="1662" noProof="0" dirty="0"/>
          </a:p>
        </p:txBody>
      </p:sp>
      <p:sp>
        <p:nvSpPr>
          <p:cNvPr id="7" name="object 11"/>
          <p:cNvSpPr txBox="1"/>
          <p:nvPr userDrawn="1"/>
        </p:nvSpPr>
        <p:spPr>
          <a:xfrm>
            <a:off x="7065343" y="16934"/>
            <a:ext cx="4533054" cy="182614"/>
          </a:xfrm>
          <a:prstGeom prst="rect">
            <a:avLst/>
          </a:prstGeom>
        </p:spPr>
        <p:txBody>
          <a:bodyPr vert="horz" wrap="square" lIns="0" tIns="0" rIns="0" bIns="0" rtlCol="0">
            <a:spAutoFit/>
          </a:bodyPr>
          <a:lstStyle/>
          <a:p>
            <a:pPr marL="11723" algn="r">
              <a:lnSpc>
                <a:spcPts val="1605"/>
              </a:lnSpc>
            </a:pPr>
            <a:r>
              <a:rPr lang="en-GB" sz="923" spc="14"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69" noProof="0" dirty="0">
                <a:solidFill>
                  <a:srgbClr val="55565A"/>
                </a:solidFill>
                <a:latin typeface="Arial Unicode MS"/>
                <a:cs typeface="Arial Unicode MS"/>
              </a:rPr>
              <a:t>GIB </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The</a:t>
            </a:r>
            <a:r>
              <a:rPr lang="en-GB" sz="923" spc="-74" noProof="0" dirty="0">
                <a:solidFill>
                  <a:srgbClr val="55565A"/>
                </a:solidFill>
                <a:latin typeface="Arial Unicode MS"/>
                <a:cs typeface="Arial Unicode MS"/>
              </a:rPr>
              <a:t> </a:t>
            </a:r>
            <a:r>
              <a:rPr lang="en-GB" sz="923" spc="-14" noProof="0" dirty="0">
                <a:solidFill>
                  <a:srgbClr val="55565A"/>
                </a:solidFill>
                <a:latin typeface="Arial Unicode MS"/>
                <a:cs typeface="Arial Unicode MS"/>
              </a:rPr>
              <a:t>Gulf’s</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International</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Bank</a:t>
            </a:r>
            <a:endParaRPr lang="en-GB" sz="923" noProof="0" dirty="0">
              <a:latin typeface="Arial Unicode MS"/>
              <a:cs typeface="Arial Unicode MS"/>
            </a:endParaRPr>
          </a:p>
        </p:txBody>
      </p:sp>
      <p:sp>
        <p:nvSpPr>
          <p:cNvPr id="14" name="TextBox 13"/>
          <p:cNvSpPr txBox="1"/>
          <p:nvPr userDrawn="1"/>
        </p:nvSpPr>
        <p:spPr>
          <a:xfrm>
            <a:off x="11144015" y="6456841"/>
            <a:ext cx="356188" cy="261610"/>
          </a:xfrm>
          <a:prstGeom prst="rect">
            <a:avLst/>
          </a:prstGeom>
          <a:noFill/>
        </p:spPr>
        <p:txBody>
          <a:bodyPr wrap="none" rtlCol="0">
            <a:spAutoFit/>
          </a:bodyPr>
          <a:lstStyle/>
          <a:p>
            <a:fld id="{DCB9605B-05B2-4139-97EC-E5FED2E08089}" type="slidenum">
              <a:rPr lang="en-GB" sz="1100" b="0" noProof="0" smtClean="0">
                <a:latin typeface="+mj-lt"/>
              </a:rPr>
              <a:t>‹#›</a:t>
            </a:fld>
            <a:endParaRPr lang="en-GB" sz="1100" b="0" noProof="0" dirty="0">
              <a:latin typeface="+mj-lt"/>
            </a:endParaRPr>
          </a:p>
        </p:txBody>
      </p:sp>
      <p:sp>
        <p:nvSpPr>
          <p:cNvPr id="15" name="Text Placeholder 2"/>
          <p:cNvSpPr>
            <a:spLocks noGrp="1"/>
          </p:cNvSpPr>
          <p:nvPr>
            <p:ph type="body" sz="quarter" idx="15" hasCustomPrompt="1"/>
          </p:nvPr>
        </p:nvSpPr>
        <p:spPr>
          <a:xfrm>
            <a:off x="1031631" y="610160"/>
            <a:ext cx="9666436" cy="280246"/>
          </a:xfrm>
          <a:prstGeom prst="rect">
            <a:avLst/>
          </a:prstGeom>
        </p:spPr>
        <p:txBody>
          <a:bodyPr/>
          <a:lstStyle>
            <a:lvl1pPr marL="0" indent="0">
              <a:buNone/>
              <a:defRPr sz="1400" b="1" spc="0" baseline="0">
                <a:solidFill>
                  <a:srgbClr val="FFCB05"/>
                </a:solidFill>
                <a:latin typeface="Arial" panose="020B0604020202020204" pitchFamily="34" charset="0"/>
                <a:cs typeface="Arial" panose="020B0604020202020204" pitchFamily="34" charset="0"/>
              </a:defRPr>
            </a:lvl1pPr>
          </a:lstStyle>
          <a:p>
            <a:pPr lvl="0"/>
            <a:r>
              <a:rPr lang="en-GB" noProof="0" dirty="0"/>
              <a:t>Sub title here</a:t>
            </a:r>
          </a:p>
        </p:txBody>
      </p:sp>
      <p:sp>
        <p:nvSpPr>
          <p:cNvPr id="17" name="Text Placeholder 11"/>
          <p:cNvSpPr>
            <a:spLocks noGrp="1"/>
          </p:cNvSpPr>
          <p:nvPr>
            <p:ph type="body" sz="quarter" idx="12" hasCustomPrompt="1"/>
          </p:nvPr>
        </p:nvSpPr>
        <p:spPr>
          <a:xfrm>
            <a:off x="1031631" y="299420"/>
            <a:ext cx="9666437" cy="318325"/>
          </a:xfrm>
          <a:prstGeom prst="rect">
            <a:avLst/>
          </a:prstGeom>
        </p:spPr>
        <p:txBody>
          <a:bodyPr/>
          <a:lstStyle>
            <a:lvl1pPr marL="0" indent="0">
              <a:buNone/>
              <a:defRPr sz="2000" kern="0" spc="0" baseline="0">
                <a:solidFill>
                  <a:schemeClr val="bg2"/>
                </a:solidFill>
                <a:latin typeface="Arial" panose="020B0604020202020204" pitchFamily="34" charset="0"/>
                <a:cs typeface="Arial" panose="020B0604020202020204" pitchFamily="34" charset="0"/>
              </a:defRPr>
            </a:lvl1pPr>
          </a:lstStyle>
          <a:p>
            <a:pPr lvl="0"/>
            <a:r>
              <a:rPr lang="en-GB" noProof="0" dirty="0"/>
              <a:t>Title he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28380" y="451556"/>
            <a:ext cx="617067" cy="269123"/>
          </a:xfrm>
          <a:prstGeom prst="rect">
            <a:avLst/>
          </a:prstGeom>
        </p:spPr>
      </p:pic>
    </p:spTree>
    <p:extLst>
      <p:ext uri="{BB962C8B-B14F-4D97-AF65-F5344CB8AC3E}">
        <p14:creationId xmlns:p14="http://schemas.microsoft.com/office/powerpoint/2010/main" val="3202326706"/>
      </p:ext>
    </p:extLst>
  </p:cSld>
  <p:clrMapOvr>
    <a:masterClrMapping/>
  </p:clrMapOvr>
  <p:extLst>
    <p:ext uri="{DCECCB84-F9BA-43D5-87BE-67443E8EF086}">
      <p15:sldGuideLst xmlns:p15="http://schemas.microsoft.com/office/powerpoint/2012/main">
        <p15:guide id="1" pos="729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No Content">
    <p:bg>
      <p:bgPr>
        <a:solidFill>
          <a:schemeClr val="bg2"/>
        </a:solidFill>
        <a:effectLst/>
      </p:bgPr>
    </p:bg>
    <p:spTree>
      <p:nvGrpSpPr>
        <p:cNvPr id="1" name=""/>
        <p:cNvGrpSpPr/>
        <p:nvPr/>
      </p:nvGrpSpPr>
      <p:grpSpPr>
        <a:xfrm>
          <a:off x="0" y="0"/>
          <a:ext cx="0" cy="0"/>
          <a:chOff x="0" y="0"/>
          <a:chExt cx="0" cy="0"/>
        </a:xfrm>
      </p:grpSpPr>
      <p:sp>
        <p:nvSpPr>
          <p:cNvPr id="8" name="Rectangle 7"/>
          <p:cNvSpPr/>
          <p:nvPr userDrawn="1"/>
        </p:nvSpPr>
        <p:spPr>
          <a:xfrm>
            <a:off x="0" y="259268"/>
            <a:ext cx="12192000" cy="653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noProof="0" dirty="0"/>
          </a:p>
        </p:txBody>
      </p:sp>
      <p:sp>
        <p:nvSpPr>
          <p:cNvPr id="6" name="object 2"/>
          <p:cNvSpPr/>
          <p:nvPr userDrawn="1"/>
        </p:nvSpPr>
        <p:spPr>
          <a:xfrm>
            <a:off x="508002" y="56905"/>
            <a:ext cx="339817" cy="972746"/>
          </a:xfrm>
          <a:custGeom>
            <a:avLst/>
            <a:gdLst/>
            <a:ahLst/>
            <a:cxnLst/>
            <a:rect l="l" t="t" r="r" b="b"/>
            <a:pathLst>
              <a:path w="1053464" h="4020820">
                <a:moveTo>
                  <a:pt x="1052998" y="0"/>
                </a:moveTo>
                <a:lnTo>
                  <a:pt x="0" y="607916"/>
                </a:lnTo>
                <a:lnTo>
                  <a:pt x="0" y="4020820"/>
                </a:lnTo>
                <a:lnTo>
                  <a:pt x="1052998" y="4020820"/>
                </a:lnTo>
                <a:lnTo>
                  <a:pt x="1052998" y="0"/>
                </a:lnTo>
                <a:close/>
              </a:path>
            </a:pathLst>
          </a:custGeom>
          <a:solidFill>
            <a:srgbClr val="FFCB05"/>
          </a:solidFill>
        </p:spPr>
        <p:txBody>
          <a:bodyPr wrap="square" lIns="0" tIns="0" rIns="0" bIns="0" rtlCol="0"/>
          <a:lstStyle/>
          <a:p>
            <a:endParaRPr lang="en-GB" sz="1662" noProof="0" dirty="0"/>
          </a:p>
        </p:txBody>
      </p:sp>
      <p:sp>
        <p:nvSpPr>
          <p:cNvPr id="7" name="object 11"/>
          <p:cNvSpPr txBox="1"/>
          <p:nvPr userDrawn="1"/>
        </p:nvSpPr>
        <p:spPr>
          <a:xfrm>
            <a:off x="7065343" y="16934"/>
            <a:ext cx="4533054" cy="182614"/>
          </a:xfrm>
          <a:prstGeom prst="rect">
            <a:avLst/>
          </a:prstGeom>
        </p:spPr>
        <p:txBody>
          <a:bodyPr vert="horz" wrap="square" lIns="0" tIns="0" rIns="0" bIns="0" rtlCol="0">
            <a:spAutoFit/>
          </a:bodyPr>
          <a:lstStyle/>
          <a:p>
            <a:pPr marL="11723" algn="r">
              <a:lnSpc>
                <a:spcPts val="1605"/>
              </a:lnSpc>
            </a:pPr>
            <a:r>
              <a:rPr lang="en-GB" sz="923" spc="14"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69" noProof="0" dirty="0">
                <a:solidFill>
                  <a:srgbClr val="55565A"/>
                </a:solidFill>
                <a:latin typeface="Arial Unicode MS"/>
                <a:cs typeface="Arial Unicode MS"/>
              </a:rPr>
              <a:t>GIB </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The</a:t>
            </a:r>
            <a:r>
              <a:rPr lang="en-GB" sz="923" spc="-74" noProof="0" dirty="0">
                <a:solidFill>
                  <a:srgbClr val="55565A"/>
                </a:solidFill>
                <a:latin typeface="Arial Unicode MS"/>
                <a:cs typeface="Arial Unicode MS"/>
              </a:rPr>
              <a:t> </a:t>
            </a:r>
            <a:r>
              <a:rPr lang="en-GB" sz="923" spc="-14" noProof="0" dirty="0">
                <a:solidFill>
                  <a:srgbClr val="55565A"/>
                </a:solidFill>
                <a:latin typeface="Arial Unicode MS"/>
                <a:cs typeface="Arial Unicode MS"/>
              </a:rPr>
              <a:t>Gulf’s</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International</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Bank</a:t>
            </a:r>
            <a:endParaRPr lang="en-GB" sz="923" noProof="0" dirty="0">
              <a:latin typeface="Arial Unicode MS"/>
              <a:cs typeface="Arial Unicode MS"/>
            </a:endParaRPr>
          </a:p>
        </p:txBody>
      </p:sp>
      <p:sp>
        <p:nvSpPr>
          <p:cNvPr id="13" name="Text Placeholder 11"/>
          <p:cNvSpPr>
            <a:spLocks noGrp="1"/>
          </p:cNvSpPr>
          <p:nvPr>
            <p:ph type="body" sz="quarter" idx="12" hasCustomPrompt="1"/>
          </p:nvPr>
        </p:nvSpPr>
        <p:spPr>
          <a:xfrm>
            <a:off x="1031631" y="269612"/>
            <a:ext cx="9666436" cy="643343"/>
          </a:xfrm>
          <a:prstGeom prst="rect">
            <a:avLst/>
          </a:prstGeom>
        </p:spPr>
        <p:txBody>
          <a:bodyPr anchor="ctr"/>
          <a:lstStyle>
            <a:lvl1pPr marL="0" indent="0">
              <a:buNone/>
              <a:defRPr sz="2000" kern="0" spc="0" baseline="0">
                <a:solidFill>
                  <a:schemeClr val="bg2"/>
                </a:solidFill>
                <a:latin typeface="Arial" panose="020B0604020202020204" pitchFamily="34" charset="0"/>
                <a:cs typeface="Arial" panose="020B0604020202020204" pitchFamily="34" charset="0"/>
              </a:defRPr>
            </a:lvl1pPr>
          </a:lstStyle>
          <a:p>
            <a:pPr lvl="0"/>
            <a:r>
              <a:rPr lang="en-GB" noProof="0" dirty="0"/>
              <a:t>Title here</a:t>
            </a:r>
          </a:p>
        </p:txBody>
      </p:sp>
      <p:sp>
        <p:nvSpPr>
          <p:cNvPr id="12" name="TextBox 11"/>
          <p:cNvSpPr txBox="1"/>
          <p:nvPr userDrawn="1"/>
        </p:nvSpPr>
        <p:spPr>
          <a:xfrm>
            <a:off x="11144015" y="6456841"/>
            <a:ext cx="356188" cy="261610"/>
          </a:xfrm>
          <a:prstGeom prst="rect">
            <a:avLst/>
          </a:prstGeom>
          <a:noFill/>
        </p:spPr>
        <p:txBody>
          <a:bodyPr wrap="none" rtlCol="0">
            <a:spAutoFit/>
          </a:bodyPr>
          <a:lstStyle/>
          <a:p>
            <a:fld id="{DCB9605B-05B2-4139-97EC-E5FED2E08089}" type="slidenum">
              <a:rPr lang="en-GB" sz="1100" b="0" noProof="0" smtClean="0">
                <a:latin typeface="+mj-lt"/>
              </a:rPr>
              <a:t>‹#›</a:t>
            </a:fld>
            <a:endParaRPr lang="en-GB" sz="1100" b="0" noProof="0" dirty="0">
              <a:latin typeface="+mj-lt"/>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28380" y="451556"/>
            <a:ext cx="617067" cy="269123"/>
          </a:xfrm>
          <a:prstGeom prst="rect">
            <a:avLst/>
          </a:prstGeom>
        </p:spPr>
      </p:pic>
    </p:spTree>
    <p:extLst>
      <p:ext uri="{BB962C8B-B14F-4D97-AF65-F5344CB8AC3E}">
        <p14:creationId xmlns:p14="http://schemas.microsoft.com/office/powerpoint/2010/main" val="31834221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x 2 + Content x 2">
    <p:bg>
      <p:bgPr>
        <a:solidFill>
          <a:schemeClr val="bg2"/>
        </a:solidFill>
        <a:effectLst/>
      </p:bgPr>
    </p:bg>
    <p:spTree>
      <p:nvGrpSpPr>
        <p:cNvPr id="1" name=""/>
        <p:cNvGrpSpPr/>
        <p:nvPr/>
      </p:nvGrpSpPr>
      <p:grpSpPr>
        <a:xfrm>
          <a:off x="0" y="0"/>
          <a:ext cx="0" cy="0"/>
          <a:chOff x="0" y="0"/>
          <a:chExt cx="0" cy="0"/>
        </a:xfrm>
      </p:grpSpPr>
      <p:sp>
        <p:nvSpPr>
          <p:cNvPr id="9" name="Rectangle 8"/>
          <p:cNvSpPr/>
          <p:nvPr userDrawn="1"/>
        </p:nvSpPr>
        <p:spPr>
          <a:xfrm>
            <a:off x="0" y="259268"/>
            <a:ext cx="12192000" cy="653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noProof="0" dirty="0"/>
          </a:p>
        </p:txBody>
      </p:sp>
      <p:sp>
        <p:nvSpPr>
          <p:cNvPr id="6" name="object 2"/>
          <p:cNvSpPr/>
          <p:nvPr userDrawn="1"/>
        </p:nvSpPr>
        <p:spPr>
          <a:xfrm>
            <a:off x="508002" y="56905"/>
            <a:ext cx="339817" cy="972746"/>
          </a:xfrm>
          <a:custGeom>
            <a:avLst/>
            <a:gdLst/>
            <a:ahLst/>
            <a:cxnLst/>
            <a:rect l="l" t="t" r="r" b="b"/>
            <a:pathLst>
              <a:path w="1053464" h="4020820">
                <a:moveTo>
                  <a:pt x="1052998" y="0"/>
                </a:moveTo>
                <a:lnTo>
                  <a:pt x="0" y="607916"/>
                </a:lnTo>
                <a:lnTo>
                  <a:pt x="0" y="4020820"/>
                </a:lnTo>
                <a:lnTo>
                  <a:pt x="1052998" y="4020820"/>
                </a:lnTo>
                <a:lnTo>
                  <a:pt x="1052998" y="0"/>
                </a:lnTo>
                <a:close/>
              </a:path>
            </a:pathLst>
          </a:custGeom>
          <a:solidFill>
            <a:srgbClr val="FFCB05"/>
          </a:solidFill>
        </p:spPr>
        <p:txBody>
          <a:bodyPr wrap="square" lIns="0" tIns="0" rIns="0" bIns="0" rtlCol="0"/>
          <a:lstStyle/>
          <a:p>
            <a:endParaRPr lang="en-GB" sz="1662" noProof="0" dirty="0"/>
          </a:p>
        </p:txBody>
      </p:sp>
      <p:sp>
        <p:nvSpPr>
          <p:cNvPr id="7" name="object 11"/>
          <p:cNvSpPr txBox="1"/>
          <p:nvPr userDrawn="1"/>
        </p:nvSpPr>
        <p:spPr>
          <a:xfrm>
            <a:off x="7065343" y="16934"/>
            <a:ext cx="4533054" cy="205184"/>
          </a:xfrm>
          <a:prstGeom prst="rect">
            <a:avLst/>
          </a:prstGeom>
        </p:spPr>
        <p:txBody>
          <a:bodyPr vert="horz" wrap="square" lIns="0" tIns="0" rIns="0" bIns="0" rtlCol="0">
            <a:spAutoFit/>
          </a:bodyPr>
          <a:lstStyle/>
          <a:p>
            <a:pPr marL="11723" algn="r">
              <a:lnSpc>
                <a:spcPts val="1605"/>
              </a:lnSpc>
            </a:pPr>
            <a:r>
              <a:rPr lang="en-GB" sz="923" spc="14"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69" noProof="0" dirty="0">
                <a:solidFill>
                  <a:srgbClr val="55565A"/>
                </a:solidFill>
                <a:latin typeface="Arial Unicode MS"/>
                <a:cs typeface="Arial Unicode MS"/>
              </a:rPr>
              <a:t>GIB </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The</a:t>
            </a:r>
            <a:r>
              <a:rPr lang="en-GB" sz="923" spc="-74" noProof="0" dirty="0">
                <a:solidFill>
                  <a:srgbClr val="55565A"/>
                </a:solidFill>
                <a:latin typeface="Arial Unicode MS"/>
                <a:cs typeface="Arial Unicode MS"/>
              </a:rPr>
              <a:t> </a:t>
            </a:r>
            <a:r>
              <a:rPr lang="en-GB" sz="923" spc="-14" noProof="0" dirty="0">
                <a:solidFill>
                  <a:srgbClr val="55565A"/>
                </a:solidFill>
                <a:latin typeface="Arial Unicode MS"/>
                <a:cs typeface="Arial Unicode MS"/>
              </a:rPr>
              <a:t>Gulf’s</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International</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Bank</a:t>
            </a:r>
            <a:endParaRPr lang="en-GB" sz="923" noProof="0" dirty="0">
              <a:latin typeface="Arial Unicode MS"/>
              <a:cs typeface="Arial Unicode MS"/>
            </a:endParaRPr>
          </a:p>
        </p:txBody>
      </p:sp>
      <p:sp>
        <p:nvSpPr>
          <p:cNvPr id="16" name="Text Placeholder 2"/>
          <p:cNvSpPr>
            <a:spLocks noGrp="1"/>
          </p:cNvSpPr>
          <p:nvPr>
            <p:ph type="body" sz="quarter" idx="15" hasCustomPrompt="1"/>
          </p:nvPr>
        </p:nvSpPr>
        <p:spPr>
          <a:xfrm>
            <a:off x="1031631" y="610160"/>
            <a:ext cx="9666436" cy="280246"/>
          </a:xfrm>
          <a:prstGeom prst="rect">
            <a:avLst/>
          </a:prstGeom>
        </p:spPr>
        <p:txBody>
          <a:bodyPr/>
          <a:lstStyle>
            <a:lvl1pPr marL="0" indent="0">
              <a:buNone/>
              <a:defRPr sz="1400" b="1" spc="0" baseline="0">
                <a:solidFill>
                  <a:srgbClr val="FFCB05"/>
                </a:solidFill>
                <a:latin typeface="Arial" panose="020B0604020202020204" pitchFamily="34" charset="0"/>
                <a:cs typeface="Arial" panose="020B0604020202020204" pitchFamily="34" charset="0"/>
              </a:defRPr>
            </a:lvl1pPr>
          </a:lstStyle>
          <a:p>
            <a:pPr lvl="0"/>
            <a:r>
              <a:rPr lang="en-GB" noProof="0" dirty="0"/>
              <a:t>Sub title here</a:t>
            </a:r>
          </a:p>
        </p:txBody>
      </p:sp>
      <p:sp>
        <p:nvSpPr>
          <p:cNvPr id="12" name="Text Placeholder 11"/>
          <p:cNvSpPr>
            <a:spLocks noGrp="1"/>
          </p:cNvSpPr>
          <p:nvPr>
            <p:ph type="body" sz="quarter" idx="12" hasCustomPrompt="1"/>
          </p:nvPr>
        </p:nvSpPr>
        <p:spPr>
          <a:xfrm>
            <a:off x="1031631" y="299420"/>
            <a:ext cx="9666437" cy="318325"/>
          </a:xfrm>
          <a:prstGeom prst="rect">
            <a:avLst/>
          </a:prstGeom>
        </p:spPr>
        <p:txBody>
          <a:bodyPr/>
          <a:lstStyle>
            <a:lvl1pPr marL="0" indent="0">
              <a:buNone/>
              <a:defRPr sz="2000" kern="0" spc="0" baseline="0">
                <a:solidFill>
                  <a:schemeClr val="bg2"/>
                </a:solidFill>
                <a:latin typeface="Arial" panose="020B0604020202020204" pitchFamily="34" charset="0"/>
                <a:cs typeface="Arial" panose="020B0604020202020204" pitchFamily="34" charset="0"/>
              </a:defRPr>
            </a:lvl1pPr>
          </a:lstStyle>
          <a:p>
            <a:pPr lvl="0"/>
            <a:r>
              <a:rPr lang="en-GB" noProof="0" dirty="0"/>
              <a:t>Title here</a:t>
            </a:r>
          </a:p>
        </p:txBody>
      </p:sp>
      <p:sp>
        <p:nvSpPr>
          <p:cNvPr id="14" name="TextBox 13"/>
          <p:cNvSpPr txBox="1"/>
          <p:nvPr userDrawn="1"/>
        </p:nvSpPr>
        <p:spPr>
          <a:xfrm>
            <a:off x="11144015" y="6456841"/>
            <a:ext cx="356188" cy="261610"/>
          </a:xfrm>
          <a:prstGeom prst="rect">
            <a:avLst/>
          </a:prstGeom>
          <a:noFill/>
        </p:spPr>
        <p:txBody>
          <a:bodyPr wrap="none" rtlCol="0">
            <a:spAutoFit/>
          </a:bodyPr>
          <a:lstStyle/>
          <a:p>
            <a:fld id="{DCB9605B-05B2-4139-97EC-E5FED2E08089}" type="slidenum">
              <a:rPr lang="en-GB" sz="1100" b="0" noProof="0" smtClean="0">
                <a:latin typeface="+mj-lt"/>
              </a:rPr>
              <a:t>‹#›</a:t>
            </a:fld>
            <a:endParaRPr lang="en-GB" sz="1100" b="0" noProof="0" dirty="0">
              <a:latin typeface="+mj-lt"/>
            </a:endParaRPr>
          </a:p>
        </p:txBody>
      </p:sp>
      <p:sp>
        <p:nvSpPr>
          <p:cNvPr id="10" name="Text Placeholder 2"/>
          <p:cNvSpPr>
            <a:spLocks noGrp="1"/>
          </p:cNvSpPr>
          <p:nvPr>
            <p:ph type="body" sz="quarter" idx="16"/>
          </p:nvPr>
        </p:nvSpPr>
        <p:spPr>
          <a:xfrm>
            <a:off x="1031629" y="1257301"/>
            <a:ext cx="5176911" cy="5067299"/>
          </a:xfrm>
          <a:prstGeom prst="rect">
            <a:avLst/>
          </a:prstGeom>
        </p:spPr>
        <p:txBody>
          <a:bodyPr/>
          <a:lstStyle>
            <a:lvl1pPr marL="171450" indent="-171450">
              <a:lnSpc>
                <a:spcPct val="100000"/>
              </a:lnSpc>
              <a:spcBef>
                <a:spcPts val="600"/>
              </a:spcBef>
              <a:buClr>
                <a:srgbClr val="FFCB05"/>
              </a:buClr>
              <a:buFont typeface="Wingdings" panose="05000000000000000000" pitchFamily="2" charset="2"/>
              <a:buChar char="§"/>
              <a:defRPr sz="1100">
                <a:latin typeface="Arial" panose="020B0604020202020204" pitchFamily="34" charset="0"/>
                <a:cs typeface="Arial" panose="020B0604020202020204" pitchFamily="34" charset="0"/>
              </a:defRPr>
            </a:lvl1pPr>
            <a:lvl2pPr marL="341313" indent="-169863">
              <a:lnSpc>
                <a:spcPct val="100000"/>
              </a:lnSpc>
              <a:spcBef>
                <a:spcPts val="600"/>
              </a:spcBef>
              <a:buClr>
                <a:srgbClr val="5A5A5A"/>
              </a:buClr>
              <a:buFont typeface="Wingdings" panose="05000000000000000000" pitchFamily="2" charset="2"/>
              <a:buChar char="§"/>
              <a:defRPr sz="1100">
                <a:latin typeface="Arial" panose="020B0604020202020204" pitchFamily="34" charset="0"/>
                <a:cs typeface="Arial" panose="020B0604020202020204" pitchFamily="34" charset="0"/>
              </a:defRPr>
            </a:lvl2pPr>
            <a:lvl3pPr marL="512763" indent="-171450">
              <a:lnSpc>
                <a:spcPct val="100000"/>
              </a:lnSpc>
              <a:spcBef>
                <a:spcPts val="600"/>
              </a:spcBef>
              <a:buClr>
                <a:schemeClr val="accent1"/>
              </a:buClr>
              <a:buFont typeface="Wingdings" panose="05000000000000000000" pitchFamily="2" charset="2"/>
              <a:buChar char="§"/>
              <a:defRPr sz="1100">
                <a:latin typeface="Arial" panose="020B0604020202020204" pitchFamily="34" charset="0"/>
                <a:cs typeface="Arial" panose="020B0604020202020204" pitchFamily="34" charset="0"/>
              </a:defRPr>
            </a:lvl3pPr>
          </a:lstStyle>
          <a:p>
            <a:pPr lvl="0"/>
            <a:r>
              <a:rPr lang="en-GB" noProof="0" dirty="0"/>
              <a:t>Click to edit Master text styles</a:t>
            </a:r>
          </a:p>
          <a:p>
            <a:pPr lvl="1"/>
            <a:r>
              <a:rPr lang="en-GB" noProof="0" dirty="0"/>
              <a:t>Second level</a:t>
            </a:r>
          </a:p>
          <a:p>
            <a:pPr lvl="2"/>
            <a:r>
              <a:rPr lang="en-GB" noProof="0" dirty="0"/>
              <a:t>Third level</a:t>
            </a:r>
          </a:p>
        </p:txBody>
      </p:sp>
      <p:sp>
        <p:nvSpPr>
          <p:cNvPr id="13" name="Text Placeholder 2"/>
          <p:cNvSpPr>
            <a:spLocks noGrp="1"/>
          </p:cNvSpPr>
          <p:nvPr>
            <p:ph type="body" sz="quarter" idx="17"/>
          </p:nvPr>
        </p:nvSpPr>
        <p:spPr>
          <a:xfrm>
            <a:off x="6405489" y="1257301"/>
            <a:ext cx="5176911" cy="5067299"/>
          </a:xfrm>
          <a:prstGeom prst="rect">
            <a:avLst/>
          </a:prstGeom>
        </p:spPr>
        <p:txBody>
          <a:bodyPr/>
          <a:lstStyle>
            <a:lvl1pPr marL="171450" indent="-171450">
              <a:lnSpc>
                <a:spcPct val="100000"/>
              </a:lnSpc>
              <a:spcBef>
                <a:spcPts val="600"/>
              </a:spcBef>
              <a:buClr>
                <a:srgbClr val="FFCB05"/>
              </a:buClr>
              <a:buFont typeface="Wingdings" panose="05000000000000000000" pitchFamily="2" charset="2"/>
              <a:buChar char="§"/>
              <a:defRPr sz="1100">
                <a:latin typeface="Arial" panose="020B0604020202020204" pitchFamily="34" charset="0"/>
                <a:cs typeface="Arial" panose="020B0604020202020204" pitchFamily="34" charset="0"/>
              </a:defRPr>
            </a:lvl1pPr>
            <a:lvl2pPr marL="341313" indent="-169863">
              <a:lnSpc>
                <a:spcPct val="100000"/>
              </a:lnSpc>
              <a:spcBef>
                <a:spcPts val="600"/>
              </a:spcBef>
              <a:buClr>
                <a:srgbClr val="5A5A5A"/>
              </a:buClr>
              <a:buFont typeface="Wingdings" panose="05000000000000000000" pitchFamily="2" charset="2"/>
              <a:buChar char="§"/>
              <a:defRPr sz="1100">
                <a:latin typeface="Arial" panose="020B0604020202020204" pitchFamily="34" charset="0"/>
                <a:cs typeface="Arial" panose="020B0604020202020204" pitchFamily="34" charset="0"/>
              </a:defRPr>
            </a:lvl2pPr>
            <a:lvl3pPr marL="512763" indent="-171450">
              <a:lnSpc>
                <a:spcPct val="100000"/>
              </a:lnSpc>
              <a:spcBef>
                <a:spcPts val="600"/>
              </a:spcBef>
              <a:buClr>
                <a:schemeClr val="accent1"/>
              </a:buClr>
              <a:buFont typeface="Wingdings" panose="05000000000000000000" pitchFamily="2" charset="2"/>
              <a:buChar char="§"/>
              <a:defRPr sz="1100">
                <a:latin typeface="Arial" panose="020B0604020202020204" pitchFamily="34" charset="0"/>
                <a:cs typeface="Arial" panose="020B0604020202020204" pitchFamily="34" charset="0"/>
              </a:defRPr>
            </a:lvl3pPr>
          </a:lstStyle>
          <a:p>
            <a:pPr lvl="0"/>
            <a:r>
              <a:rPr lang="en-GB" noProof="0" dirty="0"/>
              <a:t>Click to edit Master text styles</a:t>
            </a:r>
          </a:p>
          <a:p>
            <a:pPr lvl="1"/>
            <a:r>
              <a:rPr lang="en-GB" noProof="0" dirty="0"/>
              <a:t>Second level</a:t>
            </a:r>
          </a:p>
          <a:p>
            <a:pPr lvl="2"/>
            <a:r>
              <a:rPr lang="en-GB" noProof="0" dirty="0"/>
              <a:t>Third level</a:t>
            </a:r>
          </a:p>
        </p:txBody>
      </p:sp>
      <p:sp>
        <p:nvSpPr>
          <p:cNvPr id="15" name="Text Placeholder 11"/>
          <p:cNvSpPr>
            <a:spLocks noGrp="1"/>
          </p:cNvSpPr>
          <p:nvPr>
            <p:ph type="body" sz="quarter" idx="18" hasCustomPrompt="1"/>
          </p:nvPr>
        </p:nvSpPr>
        <p:spPr>
          <a:xfrm>
            <a:off x="1031629" y="1028700"/>
            <a:ext cx="5176911" cy="228600"/>
          </a:xfrm>
          <a:prstGeom prst="rect">
            <a:avLst/>
          </a:prstGeom>
          <a:solidFill>
            <a:schemeClr val="tx1"/>
          </a:solidFill>
        </p:spPr>
        <p:txBody>
          <a:bodyPr anchor="ctr"/>
          <a:lstStyle>
            <a:lvl1pPr marL="0" indent="0">
              <a:lnSpc>
                <a:spcPct val="100000"/>
              </a:lnSpc>
              <a:spcBef>
                <a:spcPts val="0"/>
              </a:spcBef>
              <a:buNone/>
              <a:defRPr sz="1100" b="1">
                <a:solidFill>
                  <a:srgbClr val="FFCB05"/>
                </a:solidFill>
                <a:latin typeface="Arial" panose="020B0604020202020204" pitchFamily="34" charset="0"/>
                <a:cs typeface="Arial" panose="020B0604020202020204" pitchFamily="34" charset="0"/>
              </a:defRPr>
            </a:lvl1pPr>
          </a:lstStyle>
          <a:p>
            <a:pPr lvl="0"/>
            <a:r>
              <a:rPr lang="en-GB" noProof="0" dirty="0"/>
              <a:t>Title</a:t>
            </a:r>
          </a:p>
        </p:txBody>
      </p:sp>
      <p:sp>
        <p:nvSpPr>
          <p:cNvPr id="17" name="Text Placeholder 11"/>
          <p:cNvSpPr>
            <a:spLocks noGrp="1"/>
          </p:cNvSpPr>
          <p:nvPr>
            <p:ph type="body" sz="quarter" idx="19" hasCustomPrompt="1"/>
          </p:nvPr>
        </p:nvSpPr>
        <p:spPr>
          <a:xfrm>
            <a:off x="6405489" y="1031676"/>
            <a:ext cx="5176911" cy="228600"/>
          </a:xfrm>
          <a:prstGeom prst="rect">
            <a:avLst/>
          </a:prstGeom>
          <a:solidFill>
            <a:schemeClr val="tx1"/>
          </a:solidFill>
        </p:spPr>
        <p:txBody>
          <a:bodyPr anchor="ctr"/>
          <a:lstStyle>
            <a:lvl1pPr marL="0" indent="0">
              <a:lnSpc>
                <a:spcPct val="100000"/>
              </a:lnSpc>
              <a:spcBef>
                <a:spcPts val="0"/>
              </a:spcBef>
              <a:buNone/>
              <a:defRPr sz="1100" b="1">
                <a:solidFill>
                  <a:srgbClr val="FFCB05"/>
                </a:solidFill>
                <a:latin typeface="Arial" panose="020B0604020202020204" pitchFamily="34" charset="0"/>
                <a:cs typeface="Arial" panose="020B0604020202020204" pitchFamily="34" charset="0"/>
              </a:defRPr>
            </a:lvl1pPr>
          </a:lstStyle>
          <a:p>
            <a:pPr lvl="0"/>
            <a:r>
              <a:rPr lang="en-GB" noProof="0" dirty="0"/>
              <a:t>Title</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28380" y="451556"/>
            <a:ext cx="617067" cy="269123"/>
          </a:xfrm>
          <a:prstGeom prst="rect">
            <a:avLst/>
          </a:prstGeom>
        </p:spPr>
      </p:pic>
    </p:spTree>
    <p:extLst>
      <p:ext uri="{BB962C8B-B14F-4D97-AF65-F5344CB8AC3E}">
        <p14:creationId xmlns:p14="http://schemas.microsoft.com/office/powerpoint/2010/main" val="3726984216"/>
      </p:ext>
    </p:extLst>
  </p:cSld>
  <p:clrMapOvr>
    <a:masterClrMapping/>
  </p:clrMapOvr>
  <p:extLst>
    <p:ext uri="{DCECCB84-F9BA-43D5-87BE-67443E8EF086}">
      <p15:sldGuideLst xmlns:p15="http://schemas.microsoft.com/office/powerpoint/2012/main">
        <p15:guide id="1" pos="729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 1">
    <p:spTree>
      <p:nvGrpSpPr>
        <p:cNvPr id="1" name=""/>
        <p:cNvGrpSpPr/>
        <p:nvPr/>
      </p:nvGrpSpPr>
      <p:grpSpPr>
        <a:xfrm>
          <a:off x="0" y="0"/>
          <a:ext cx="0" cy="0"/>
          <a:chOff x="0" y="0"/>
          <a:chExt cx="0" cy="0"/>
        </a:xfrm>
      </p:grpSpPr>
      <p:sp>
        <p:nvSpPr>
          <p:cNvPr id="3" name="object 2"/>
          <p:cNvSpPr/>
          <p:nvPr userDrawn="1"/>
        </p:nvSpPr>
        <p:spPr>
          <a:xfrm>
            <a:off x="610760" y="481240"/>
            <a:ext cx="6704188" cy="6375486"/>
          </a:xfrm>
          <a:custGeom>
            <a:avLst/>
            <a:gdLst/>
            <a:ahLst/>
            <a:cxnLst/>
            <a:rect l="l" t="t" r="r" b="b"/>
            <a:pathLst>
              <a:path w="11057255" h="14020165">
                <a:moveTo>
                  <a:pt x="11057255" y="0"/>
                </a:moveTo>
                <a:lnTo>
                  <a:pt x="0" y="6383563"/>
                </a:lnTo>
                <a:lnTo>
                  <a:pt x="0" y="14019794"/>
                </a:lnTo>
                <a:lnTo>
                  <a:pt x="11057255" y="14019794"/>
                </a:lnTo>
                <a:lnTo>
                  <a:pt x="11057255" y="0"/>
                </a:lnTo>
                <a:close/>
              </a:path>
            </a:pathLst>
          </a:custGeom>
          <a:solidFill>
            <a:srgbClr val="FFCB05"/>
          </a:solidFill>
        </p:spPr>
        <p:txBody>
          <a:bodyPr wrap="square" lIns="0" tIns="0" rIns="0" bIns="0" rtlCol="0"/>
          <a:lstStyle/>
          <a:p>
            <a:endParaRPr lang="en-GB" sz="343" noProof="0" dirty="0"/>
          </a:p>
        </p:txBody>
      </p:sp>
      <p:sp>
        <p:nvSpPr>
          <p:cNvPr id="6" name="Text Placeholder 5"/>
          <p:cNvSpPr>
            <a:spLocks noGrp="1"/>
          </p:cNvSpPr>
          <p:nvPr>
            <p:ph type="body" sz="quarter" idx="10" hasCustomPrompt="1"/>
          </p:nvPr>
        </p:nvSpPr>
        <p:spPr>
          <a:xfrm>
            <a:off x="1104879" y="3554595"/>
            <a:ext cx="5621867" cy="1458912"/>
          </a:xfrm>
          <a:prstGeom prst="rect">
            <a:avLst/>
          </a:prstGeom>
        </p:spPr>
        <p:txBody>
          <a:bodyPr/>
          <a:lstStyle>
            <a:lvl1pPr marL="0" indent="0">
              <a:buNone/>
              <a:defRPr sz="3600" baseline="0">
                <a:solidFill>
                  <a:srgbClr val="55565A"/>
                </a:solidFill>
                <a:latin typeface="Arial" panose="020B0604020202020204" pitchFamily="34" charset="0"/>
                <a:cs typeface="Arial" panose="020B0604020202020204" pitchFamily="34" charset="0"/>
              </a:defRPr>
            </a:lvl1pPr>
          </a:lstStyle>
          <a:p>
            <a:pPr lvl="0"/>
            <a:r>
              <a:rPr lang="en-GB" noProof="0" dirty="0"/>
              <a:t>Divider Title Goes Here</a:t>
            </a:r>
          </a:p>
        </p:txBody>
      </p:sp>
    </p:spTree>
    <p:extLst>
      <p:ext uri="{BB962C8B-B14F-4D97-AF65-F5344CB8AC3E}">
        <p14:creationId xmlns:p14="http://schemas.microsoft.com/office/powerpoint/2010/main" val="35763883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Content x 2">
    <p:bg>
      <p:bgPr>
        <a:solidFill>
          <a:schemeClr val="bg2"/>
        </a:solidFill>
        <a:effectLst/>
      </p:bgPr>
    </p:bg>
    <p:spTree>
      <p:nvGrpSpPr>
        <p:cNvPr id="1" name=""/>
        <p:cNvGrpSpPr/>
        <p:nvPr/>
      </p:nvGrpSpPr>
      <p:grpSpPr>
        <a:xfrm>
          <a:off x="0" y="0"/>
          <a:ext cx="0" cy="0"/>
          <a:chOff x="0" y="0"/>
          <a:chExt cx="0" cy="0"/>
        </a:xfrm>
      </p:grpSpPr>
      <p:sp>
        <p:nvSpPr>
          <p:cNvPr id="8" name="Rectangle 7"/>
          <p:cNvSpPr/>
          <p:nvPr userDrawn="1"/>
        </p:nvSpPr>
        <p:spPr>
          <a:xfrm>
            <a:off x="0" y="259268"/>
            <a:ext cx="12192000" cy="653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noProof="0" dirty="0"/>
          </a:p>
        </p:txBody>
      </p:sp>
      <p:sp>
        <p:nvSpPr>
          <p:cNvPr id="6" name="object 2"/>
          <p:cNvSpPr/>
          <p:nvPr userDrawn="1"/>
        </p:nvSpPr>
        <p:spPr>
          <a:xfrm>
            <a:off x="508002" y="56905"/>
            <a:ext cx="339817" cy="972746"/>
          </a:xfrm>
          <a:custGeom>
            <a:avLst/>
            <a:gdLst/>
            <a:ahLst/>
            <a:cxnLst/>
            <a:rect l="l" t="t" r="r" b="b"/>
            <a:pathLst>
              <a:path w="1053464" h="4020820">
                <a:moveTo>
                  <a:pt x="1052998" y="0"/>
                </a:moveTo>
                <a:lnTo>
                  <a:pt x="0" y="607916"/>
                </a:lnTo>
                <a:lnTo>
                  <a:pt x="0" y="4020820"/>
                </a:lnTo>
                <a:lnTo>
                  <a:pt x="1052998" y="4020820"/>
                </a:lnTo>
                <a:lnTo>
                  <a:pt x="1052998" y="0"/>
                </a:lnTo>
                <a:close/>
              </a:path>
            </a:pathLst>
          </a:custGeom>
          <a:solidFill>
            <a:srgbClr val="FFCB05"/>
          </a:solidFill>
        </p:spPr>
        <p:txBody>
          <a:bodyPr wrap="square" lIns="0" tIns="0" rIns="0" bIns="0" rtlCol="0"/>
          <a:lstStyle/>
          <a:p>
            <a:endParaRPr lang="en-GB" sz="1662" noProof="0" dirty="0"/>
          </a:p>
        </p:txBody>
      </p:sp>
      <p:sp>
        <p:nvSpPr>
          <p:cNvPr id="7" name="object 11"/>
          <p:cNvSpPr txBox="1"/>
          <p:nvPr userDrawn="1"/>
        </p:nvSpPr>
        <p:spPr>
          <a:xfrm>
            <a:off x="7065343" y="16934"/>
            <a:ext cx="4533054" cy="205184"/>
          </a:xfrm>
          <a:prstGeom prst="rect">
            <a:avLst/>
          </a:prstGeom>
        </p:spPr>
        <p:txBody>
          <a:bodyPr vert="horz" wrap="square" lIns="0" tIns="0" rIns="0" bIns="0" rtlCol="0">
            <a:spAutoFit/>
          </a:bodyPr>
          <a:lstStyle/>
          <a:p>
            <a:pPr marL="11723" algn="r">
              <a:lnSpc>
                <a:spcPts val="1605"/>
              </a:lnSpc>
            </a:pPr>
            <a:r>
              <a:rPr lang="en-GB" sz="923" spc="14"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69" noProof="0" dirty="0">
                <a:solidFill>
                  <a:srgbClr val="55565A"/>
                </a:solidFill>
                <a:latin typeface="Arial Unicode MS"/>
                <a:cs typeface="Arial Unicode MS"/>
              </a:rPr>
              <a:t>GIB </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The</a:t>
            </a:r>
            <a:r>
              <a:rPr lang="en-GB" sz="923" spc="-74" noProof="0" dirty="0">
                <a:solidFill>
                  <a:srgbClr val="55565A"/>
                </a:solidFill>
                <a:latin typeface="Arial Unicode MS"/>
                <a:cs typeface="Arial Unicode MS"/>
              </a:rPr>
              <a:t> </a:t>
            </a:r>
            <a:r>
              <a:rPr lang="en-GB" sz="923" spc="-14" noProof="0" dirty="0">
                <a:solidFill>
                  <a:srgbClr val="55565A"/>
                </a:solidFill>
                <a:latin typeface="Arial Unicode MS"/>
                <a:cs typeface="Arial Unicode MS"/>
              </a:rPr>
              <a:t>Gulf’s</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International</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Bank</a:t>
            </a:r>
            <a:endParaRPr lang="en-GB" sz="923" noProof="0" dirty="0">
              <a:latin typeface="Arial Unicode MS"/>
              <a:cs typeface="Arial Unicode MS"/>
            </a:endParaRPr>
          </a:p>
        </p:txBody>
      </p:sp>
      <p:sp>
        <p:nvSpPr>
          <p:cNvPr id="13" name="Text Placeholder 11"/>
          <p:cNvSpPr>
            <a:spLocks noGrp="1"/>
          </p:cNvSpPr>
          <p:nvPr>
            <p:ph type="body" sz="quarter" idx="12" hasCustomPrompt="1"/>
          </p:nvPr>
        </p:nvSpPr>
        <p:spPr>
          <a:xfrm>
            <a:off x="1031631" y="269612"/>
            <a:ext cx="9666436" cy="643343"/>
          </a:xfrm>
          <a:prstGeom prst="rect">
            <a:avLst/>
          </a:prstGeom>
        </p:spPr>
        <p:txBody>
          <a:bodyPr anchor="ctr"/>
          <a:lstStyle>
            <a:lvl1pPr marL="0" indent="0">
              <a:buNone/>
              <a:defRPr sz="2000" kern="0" spc="0" baseline="0">
                <a:solidFill>
                  <a:schemeClr val="bg2"/>
                </a:solidFill>
                <a:latin typeface="Arial" panose="020B0604020202020204" pitchFamily="34" charset="0"/>
                <a:cs typeface="Arial" panose="020B0604020202020204" pitchFamily="34" charset="0"/>
              </a:defRPr>
            </a:lvl1pPr>
          </a:lstStyle>
          <a:p>
            <a:pPr lvl="0"/>
            <a:r>
              <a:rPr lang="en-GB" noProof="0" dirty="0"/>
              <a:t>Title here</a:t>
            </a:r>
          </a:p>
        </p:txBody>
      </p:sp>
      <p:sp>
        <p:nvSpPr>
          <p:cNvPr id="12" name="TextBox 11"/>
          <p:cNvSpPr txBox="1"/>
          <p:nvPr userDrawn="1"/>
        </p:nvSpPr>
        <p:spPr>
          <a:xfrm>
            <a:off x="11144015" y="6456841"/>
            <a:ext cx="356188" cy="261610"/>
          </a:xfrm>
          <a:prstGeom prst="rect">
            <a:avLst/>
          </a:prstGeom>
          <a:noFill/>
        </p:spPr>
        <p:txBody>
          <a:bodyPr wrap="none" rtlCol="0">
            <a:spAutoFit/>
          </a:bodyPr>
          <a:lstStyle/>
          <a:p>
            <a:fld id="{DCB9605B-05B2-4139-97EC-E5FED2E08089}" type="slidenum">
              <a:rPr lang="en-GB" sz="1100" b="0" noProof="0" smtClean="0">
                <a:latin typeface="+mj-lt"/>
              </a:rPr>
              <a:t>‹#›</a:t>
            </a:fld>
            <a:endParaRPr lang="en-GB" sz="1100" b="0" noProof="0" dirty="0">
              <a:latin typeface="+mj-lt"/>
            </a:endParaRPr>
          </a:p>
        </p:txBody>
      </p:sp>
      <p:sp>
        <p:nvSpPr>
          <p:cNvPr id="10" name="Text Placeholder 2"/>
          <p:cNvSpPr>
            <a:spLocks noGrp="1"/>
          </p:cNvSpPr>
          <p:nvPr>
            <p:ph type="body" sz="quarter" idx="16"/>
          </p:nvPr>
        </p:nvSpPr>
        <p:spPr>
          <a:xfrm>
            <a:off x="1031629" y="1257301"/>
            <a:ext cx="5176911" cy="5067299"/>
          </a:xfrm>
          <a:prstGeom prst="rect">
            <a:avLst/>
          </a:prstGeom>
        </p:spPr>
        <p:txBody>
          <a:bodyPr/>
          <a:lstStyle>
            <a:lvl1pPr marL="171450" indent="-171450">
              <a:lnSpc>
                <a:spcPct val="100000"/>
              </a:lnSpc>
              <a:spcBef>
                <a:spcPts val="600"/>
              </a:spcBef>
              <a:buClr>
                <a:srgbClr val="FFCB05"/>
              </a:buClr>
              <a:buFont typeface="Wingdings" panose="05000000000000000000" pitchFamily="2" charset="2"/>
              <a:buChar char="§"/>
              <a:defRPr sz="1100">
                <a:latin typeface="Arial" panose="020B0604020202020204" pitchFamily="34" charset="0"/>
                <a:cs typeface="Arial" panose="020B0604020202020204" pitchFamily="34" charset="0"/>
              </a:defRPr>
            </a:lvl1pPr>
            <a:lvl2pPr marL="341313" indent="-169863">
              <a:lnSpc>
                <a:spcPct val="100000"/>
              </a:lnSpc>
              <a:spcBef>
                <a:spcPts val="600"/>
              </a:spcBef>
              <a:buClr>
                <a:srgbClr val="5A5A5A"/>
              </a:buClr>
              <a:buFont typeface="Wingdings" panose="05000000000000000000" pitchFamily="2" charset="2"/>
              <a:buChar char="§"/>
              <a:defRPr sz="1100">
                <a:latin typeface="Arial" panose="020B0604020202020204" pitchFamily="34" charset="0"/>
                <a:cs typeface="Arial" panose="020B0604020202020204" pitchFamily="34" charset="0"/>
              </a:defRPr>
            </a:lvl2pPr>
            <a:lvl3pPr marL="512763" indent="-171450">
              <a:lnSpc>
                <a:spcPct val="100000"/>
              </a:lnSpc>
              <a:spcBef>
                <a:spcPts val="600"/>
              </a:spcBef>
              <a:buClr>
                <a:schemeClr val="accent1"/>
              </a:buClr>
              <a:buFont typeface="Wingdings" panose="05000000000000000000" pitchFamily="2" charset="2"/>
              <a:buChar char="§"/>
              <a:defRPr sz="1100">
                <a:latin typeface="Arial" panose="020B0604020202020204" pitchFamily="34" charset="0"/>
                <a:cs typeface="Arial" panose="020B0604020202020204" pitchFamily="34" charset="0"/>
              </a:defRPr>
            </a:lvl3pPr>
          </a:lstStyle>
          <a:p>
            <a:pPr lvl="0"/>
            <a:r>
              <a:rPr lang="en-GB" noProof="0" dirty="0"/>
              <a:t>Click to edit Master text styles</a:t>
            </a:r>
          </a:p>
          <a:p>
            <a:pPr lvl="1"/>
            <a:r>
              <a:rPr lang="en-GB" noProof="0" dirty="0"/>
              <a:t>Second level</a:t>
            </a:r>
          </a:p>
          <a:p>
            <a:pPr lvl="2"/>
            <a:r>
              <a:rPr lang="en-GB" noProof="0" dirty="0"/>
              <a:t>Third level</a:t>
            </a:r>
          </a:p>
        </p:txBody>
      </p:sp>
      <p:sp>
        <p:nvSpPr>
          <p:cNvPr id="11" name="Text Placeholder 2"/>
          <p:cNvSpPr>
            <a:spLocks noGrp="1"/>
          </p:cNvSpPr>
          <p:nvPr>
            <p:ph type="body" sz="quarter" idx="17"/>
          </p:nvPr>
        </p:nvSpPr>
        <p:spPr>
          <a:xfrm>
            <a:off x="6405489" y="1257301"/>
            <a:ext cx="5176911" cy="5067299"/>
          </a:xfrm>
          <a:prstGeom prst="rect">
            <a:avLst/>
          </a:prstGeom>
        </p:spPr>
        <p:txBody>
          <a:bodyPr/>
          <a:lstStyle>
            <a:lvl1pPr marL="171450" indent="-171450">
              <a:lnSpc>
                <a:spcPct val="100000"/>
              </a:lnSpc>
              <a:spcBef>
                <a:spcPts val="600"/>
              </a:spcBef>
              <a:buClr>
                <a:srgbClr val="FFCB05"/>
              </a:buClr>
              <a:buFont typeface="Wingdings" panose="05000000000000000000" pitchFamily="2" charset="2"/>
              <a:buChar char="§"/>
              <a:defRPr sz="1100">
                <a:latin typeface="Arial" panose="020B0604020202020204" pitchFamily="34" charset="0"/>
                <a:cs typeface="Arial" panose="020B0604020202020204" pitchFamily="34" charset="0"/>
              </a:defRPr>
            </a:lvl1pPr>
            <a:lvl2pPr marL="341313" indent="-169863">
              <a:lnSpc>
                <a:spcPct val="100000"/>
              </a:lnSpc>
              <a:spcBef>
                <a:spcPts val="600"/>
              </a:spcBef>
              <a:buClr>
                <a:srgbClr val="5A5A5A"/>
              </a:buClr>
              <a:buFont typeface="Wingdings" panose="05000000000000000000" pitchFamily="2" charset="2"/>
              <a:buChar char="§"/>
              <a:defRPr sz="1100">
                <a:latin typeface="Arial" panose="020B0604020202020204" pitchFamily="34" charset="0"/>
                <a:cs typeface="Arial" panose="020B0604020202020204" pitchFamily="34" charset="0"/>
              </a:defRPr>
            </a:lvl2pPr>
            <a:lvl3pPr marL="512763" indent="-171450">
              <a:lnSpc>
                <a:spcPct val="100000"/>
              </a:lnSpc>
              <a:spcBef>
                <a:spcPts val="600"/>
              </a:spcBef>
              <a:buClr>
                <a:schemeClr val="accent1"/>
              </a:buClr>
              <a:buFont typeface="Wingdings" panose="05000000000000000000" pitchFamily="2" charset="2"/>
              <a:buChar char="§"/>
              <a:defRPr sz="1100">
                <a:latin typeface="Arial" panose="020B0604020202020204" pitchFamily="34" charset="0"/>
                <a:cs typeface="Arial" panose="020B0604020202020204" pitchFamily="34" charset="0"/>
              </a:defRPr>
            </a:lvl3pPr>
          </a:lstStyle>
          <a:p>
            <a:pPr lvl="0"/>
            <a:r>
              <a:rPr lang="en-GB" noProof="0" dirty="0"/>
              <a:t>Click to edit Master text styles</a:t>
            </a:r>
          </a:p>
          <a:p>
            <a:pPr lvl="1"/>
            <a:r>
              <a:rPr lang="en-GB" noProof="0" dirty="0"/>
              <a:t>Second level</a:t>
            </a:r>
          </a:p>
          <a:p>
            <a:pPr lvl="2"/>
            <a:r>
              <a:rPr lang="en-GB" noProof="0" dirty="0"/>
              <a:t>Third level</a:t>
            </a:r>
          </a:p>
        </p:txBody>
      </p:sp>
      <p:sp>
        <p:nvSpPr>
          <p:cNvPr id="14" name="Text Placeholder 11"/>
          <p:cNvSpPr>
            <a:spLocks noGrp="1"/>
          </p:cNvSpPr>
          <p:nvPr>
            <p:ph type="body" sz="quarter" idx="18" hasCustomPrompt="1"/>
          </p:nvPr>
        </p:nvSpPr>
        <p:spPr>
          <a:xfrm>
            <a:off x="1031629" y="1028700"/>
            <a:ext cx="5176911" cy="228600"/>
          </a:xfrm>
          <a:prstGeom prst="rect">
            <a:avLst/>
          </a:prstGeom>
          <a:solidFill>
            <a:schemeClr val="tx1"/>
          </a:solidFill>
        </p:spPr>
        <p:txBody>
          <a:bodyPr anchor="ctr"/>
          <a:lstStyle>
            <a:lvl1pPr marL="0" indent="0">
              <a:lnSpc>
                <a:spcPct val="100000"/>
              </a:lnSpc>
              <a:spcBef>
                <a:spcPts val="0"/>
              </a:spcBef>
              <a:buNone/>
              <a:defRPr sz="1100" b="1">
                <a:solidFill>
                  <a:srgbClr val="FFCB05"/>
                </a:solidFill>
                <a:latin typeface="Arial" panose="020B0604020202020204" pitchFamily="34" charset="0"/>
                <a:cs typeface="Arial" panose="020B0604020202020204" pitchFamily="34" charset="0"/>
              </a:defRPr>
            </a:lvl1pPr>
          </a:lstStyle>
          <a:p>
            <a:pPr lvl="0"/>
            <a:r>
              <a:rPr lang="en-GB" noProof="0" dirty="0"/>
              <a:t>Title</a:t>
            </a:r>
          </a:p>
        </p:txBody>
      </p:sp>
      <p:sp>
        <p:nvSpPr>
          <p:cNvPr id="15" name="Text Placeholder 11"/>
          <p:cNvSpPr>
            <a:spLocks noGrp="1"/>
          </p:cNvSpPr>
          <p:nvPr>
            <p:ph type="body" sz="quarter" idx="19" hasCustomPrompt="1"/>
          </p:nvPr>
        </p:nvSpPr>
        <p:spPr>
          <a:xfrm>
            <a:off x="6405489" y="1031676"/>
            <a:ext cx="5176911" cy="228600"/>
          </a:xfrm>
          <a:prstGeom prst="rect">
            <a:avLst/>
          </a:prstGeom>
          <a:solidFill>
            <a:schemeClr val="tx1"/>
          </a:solidFill>
        </p:spPr>
        <p:txBody>
          <a:bodyPr anchor="ctr"/>
          <a:lstStyle>
            <a:lvl1pPr marL="0" indent="0">
              <a:lnSpc>
                <a:spcPct val="100000"/>
              </a:lnSpc>
              <a:spcBef>
                <a:spcPts val="0"/>
              </a:spcBef>
              <a:buNone/>
              <a:defRPr sz="1100" b="1">
                <a:solidFill>
                  <a:srgbClr val="FFCB05"/>
                </a:solidFill>
                <a:latin typeface="Arial" panose="020B0604020202020204" pitchFamily="34" charset="0"/>
                <a:cs typeface="Arial" panose="020B0604020202020204" pitchFamily="34" charset="0"/>
              </a:defRPr>
            </a:lvl1pPr>
          </a:lstStyle>
          <a:p>
            <a:pPr lvl="0"/>
            <a:r>
              <a:rPr lang="en-GB" noProof="0" dirty="0"/>
              <a:t>Title</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28380" y="451556"/>
            <a:ext cx="617067" cy="269123"/>
          </a:xfrm>
          <a:prstGeom prst="rect">
            <a:avLst/>
          </a:prstGeom>
        </p:spPr>
      </p:pic>
    </p:spTree>
    <p:extLst>
      <p:ext uri="{BB962C8B-B14F-4D97-AF65-F5344CB8AC3E}">
        <p14:creationId xmlns:p14="http://schemas.microsoft.com/office/powerpoint/2010/main" val="28511610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ull-out Quote">
    <p:bg>
      <p:bgPr>
        <a:solidFill>
          <a:schemeClr val="tx1"/>
        </a:solidFill>
        <a:effectLst/>
      </p:bgPr>
    </p:bg>
    <p:spTree>
      <p:nvGrpSpPr>
        <p:cNvPr id="1" name=""/>
        <p:cNvGrpSpPr/>
        <p:nvPr/>
      </p:nvGrpSpPr>
      <p:grpSpPr>
        <a:xfrm>
          <a:off x="0" y="0"/>
          <a:ext cx="0" cy="0"/>
          <a:chOff x="0" y="0"/>
          <a:chExt cx="0" cy="0"/>
        </a:xfrm>
      </p:grpSpPr>
      <p:sp>
        <p:nvSpPr>
          <p:cNvPr id="3" name="object 2"/>
          <p:cNvSpPr txBox="1"/>
          <p:nvPr userDrawn="1"/>
        </p:nvSpPr>
        <p:spPr>
          <a:xfrm>
            <a:off x="2388383" y="1425339"/>
            <a:ext cx="5215738" cy="284245"/>
          </a:xfrm>
          <a:prstGeom prst="rect">
            <a:avLst/>
          </a:prstGeom>
        </p:spPr>
        <p:txBody>
          <a:bodyPr vert="horz" wrap="square" lIns="0" tIns="0" rIns="0" bIns="0" rtlCol="0">
            <a:spAutoFit/>
          </a:bodyPr>
          <a:lstStyle/>
          <a:p>
            <a:pPr marL="5331"/>
            <a:r>
              <a:rPr lang="en-GB" sz="1847" noProof="0" dirty="0">
                <a:solidFill>
                  <a:schemeClr val="bg2"/>
                </a:solidFill>
                <a:latin typeface="Arial" panose="020B0604020202020204" pitchFamily="34" charset="0"/>
                <a:cs typeface="Arial" panose="020B0604020202020204" pitchFamily="34" charset="0"/>
              </a:rPr>
              <a:t>Pull-out Quote</a:t>
            </a:r>
          </a:p>
        </p:txBody>
      </p:sp>
      <p:sp>
        <p:nvSpPr>
          <p:cNvPr id="5" name="object 4"/>
          <p:cNvSpPr/>
          <p:nvPr userDrawn="1"/>
        </p:nvSpPr>
        <p:spPr>
          <a:xfrm>
            <a:off x="603844" y="457204"/>
            <a:ext cx="666159" cy="2214611"/>
          </a:xfrm>
          <a:custGeom>
            <a:avLst/>
            <a:gdLst>
              <a:gd name="connsiteX0" fmla="*/ 1075849 w 1075848"/>
              <a:gd name="connsiteY0" fmla="*/ 0 h 5574646"/>
              <a:gd name="connsiteX1" fmla="*/ 22851 w 1075848"/>
              <a:gd name="connsiteY1" fmla="*/ 607916 h 5574646"/>
              <a:gd name="connsiteX2" fmla="*/ 0 w 1075848"/>
              <a:gd name="connsiteY2" fmla="*/ 5574646 h 5574646"/>
              <a:gd name="connsiteX3" fmla="*/ 1075849 w 1075848"/>
              <a:gd name="connsiteY3" fmla="*/ 4020820 h 5574646"/>
              <a:gd name="connsiteX4" fmla="*/ 1075849 w 1075848"/>
              <a:gd name="connsiteY4" fmla="*/ 0 h 5574646"/>
              <a:gd name="connsiteX0" fmla="*/ 1075849 w 1121549"/>
              <a:gd name="connsiteY0" fmla="*/ 0 h 5574646"/>
              <a:gd name="connsiteX1" fmla="*/ 22851 w 1121549"/>
              <a:gd name="connsiteY1" fmla="*/ 607916 h 5574646"/>
              <a:gd name="connsiteX2" fmla="*/ 0 w 1121549"/>
              <a:gd name="connsiteY2" fmla="*/ 5574646 h 5574646"/>
              <a:gd name="connsiteX3" fmla="*/ 1121549 w 1121549"/>
              <a:gd name="connsiteY3" fmla="*/ 4820584 h 5574646"/>
              <a:gd name="connsiteX4" fmla="*/ 1075849 w 1121549"/>
              <a:gd name="connsiteY4" fmla="*/ 0 h 5574646"/>
              <a:gd name="connsiteX0" fmla="*/ 1075849 w 1121549"/>
              <a:gd name="connsiteY0" fmla="*/ 0 h 4866282"/>
              <a:gd name="connsiteX1" fmla="*/ 22851 w 1121549"/>
              <a:gd name="connsiteY1" fmla="*/ 607916 h 4866282"/>
              <a:gd name="connsiteX2" fmla="*/ 0 w 1121549"/>
              <a:gd name="connsiteY2" fmla="*/ 4866282 h 4866282"/>
              <a:gd name="connsiteX3" fmla="*/ 1121549 w 1121549"/>
              <a:gd name="connsiteY3" fmla="*/ 4820584 h 4866282"/>
              <a:gd name="connsiteX4" fmla="*/ 1075849 w 1121549"/>
              <a:gd name="connsiteY4" fmla="*/ 0 h 4866282"/>
              <a:gd name="connsiteX0" fmla="*/ 1075849 w 1098698"/>
              <a:gd name="connsiteY0" fmla="*/ 0 h 4911985"/>
              <a:gd name="connsiteX1" fmla="*/ 22851 w 1098698"/>
              <a:gd name="connsiteY1" fmla="*/ 607916 h 4911985"/>
              <a:gd name="connsiteX2" fmla="*/ 0 w 1098698"/>
              <a:gd name="connsiteY2" fmla="*/ 4866282 h 4911985"/>
              <a:gd name="connsiteX3" fmla="*/ 1098698 w 1098698"/>
              <a:gd name="connsiteY3" fmla="*/ 4911985 h 4911985"/>
              <a:gd name="connsiteX4" fmla="*/ 1075849 w 1098698"/>
              <a:gd name="connsiteY4" fmla="*/ 0 h 4911985"/>
              <a:gd name="connsiteX0" fmla="*/ 1075849 w 1098698"/>
              <a:gd name="connsiteY0" fmla="*/ 0 h 4880565"/>
              <a:gd name="connsiteX1" fmla="*/ 22851 w 1098698"/>
              <a:gd name="connsiteY1" fmla="*/ 607916 h 4880565"/>
              <a:gd name="connsiteX2" fmla="*/ 0 w 1098698"/>
              <a:gd name="connsiteY2" fmla="*/ 4866282 h 4880565"/>
              <a:gd name="connsiteX3" fmla="*/ 1098698 w 1098698"/>
              <a:gd name="connsiteY3" fmla="*/ 4880565 h 4880565"/>
              <a:gd name="connsiteX4" fmla="*/ 1075849 w 1098698"/>
              <a:gd name="connsiteY4" fmla="*/ 0 h 4880565"/>
              <a:gd name="connsiteX0" fmla="*/ 1075849 w 1098698"/>
              <a:gd name="connsiteY0" fmla="*/ 0 h 4866282"/>
              <a:gd name="connsiteX1" fmla="*/ 22851 w 1098698"/>
              <a:gd name="connsiteY1" fmla="*/ 607916 h 4866282"/>
              <a:gd name="connsiteX2" fmla="*/ 0 w 1098698"/>
              <a:gd name="connsiteY2" fmla="*/ 4866282 h 4866282"/>
              <a:gd name="connsiteX3" fmla="*/ 1098698 w 1098698"/>
              <a:gd name="connsiteY3" fmla="*/ 4849147 h 4866282"/>
              <a:gd name="connsiteX4" fmla="*/ 1075849 w 1098698"/>
              <a:gd name="connsiteY4" fmla="*/ 0 h 4866282"/>
              <a:gd name="connsiteX0" fmla="*/ 1075849 w 1098698"/>
              <a:gd name="connsiteY0" fmla="*/ 0 h 4870093"/>
              <a:gd name="connsiteX1" fmla="*/ 22851 w 1098698"/>
              <a:gd name="connsiteY1" fmla="*/ 607916 h 4870093"/>
              <a:gd name="connsiteX2" fmla="*/ 0 w 1098698"/>
              <a:gd name="connsiteY2" fmla="*/ 4866282 h 4870093"/>
              <a:gd name="connsiteX3" fmla="*/ 1098698 w 1098698"/>
              <a:gd name="connsiteY3" fmla="*/ 4870093 h 4870093"/>
              <a:gd name="connsiteX4" fmla="*/ 1075849 w 1098698"/>
              <a:gd name="connsiteY4" fmla="*/ 0 h 487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8698" h="4870093">
                <a:moveTo>
                  <a:pt x="1075849" y="0"/>
                </a:moveTo>
                <a:lnTo>
                  <a:pt x="22851" y="607916"/>
                </a:lnTo>
                <a:lnTo>
                  <a:pt x="0" y="4866282"/>
                </a:lnTo>
                <a:lnTo>
                  <a:pt x="1098698" y="4870093"/>
                </a:lnTo>
                <a:lnTo>
                  <a:pt x="1075849" y="0"/>
                </a:lnTo>
                <a:close/>
              </a:path>
            </a:pathLst>
          </a:custGeom>
          <a:solidFill>
            <a:srgbClr val="FFCB05"/>
          </a:solidFill>
        </p:spPr>
        <p:txBody>
          <a:bodyPr wrap="square" lIns="0" tIns="0" rIns="0" bIns="0" rtlCol="0"/>
          <a:lstStyle/>
          <a:p>
            <a:endParaRPr lang="en-GB" sz="343" noProof="0" dirty="0"/>
          </a:p>
        </p:txBody>
      </p:sp>
      <p:sp>
        <p:nvSpPr>
          <p:cNvPr id="6" name="object 4"/>
          <p:cNvSpPr/>
          <p:nvPr userDrawn="1"/>
        </p:nvSpPr>
        <p:spPr>
          <a:xfrm>
            <a:off x="1408157" y="457203"/>
            <a:ext cx="666159" cy="2214611"/>
          </a:xfrm>
          <a:custGeom>
            <a:avLst/>
            <a:gdLst>
              <a:gd name="connsiteX0" fmla="*/ 1075849 w 1075848"/>
              <a:gd name="connsiteY0" fmla="*/ 0 h 5574646"/>
              <a:gd name="connsiteX1" fmla="*/ 22851 w 1075848"/>
              <a:gd name="connsiteY1" fmla="*/ 607916 h 5574646"/>
              <a:gd name="connsiteX2" fmla="*/ 0 w 1075848"/>
              <a:gd name="connsiteY2" fmla="*/ 5574646 h 5574646"/>
              <a:gd name="connsiteX3" fmla="*/ 1075849 w 1075848"/>
              <a:gd name="connsiteY3" fmla="*/ 4020820 h 5574646"/>
              <a:gd name="connsiteX4" fmla="*/ 1075849 w 1075848"/>
              <a:gd name="connsiteY4" fmla="*/ 0 h 5574646"/>
              <a:gd name="connsiteX0" fmla="*/ 1075849 w 1121549"/>
              <a:gd name="connsiteY0" fmla="*/ 0 h 5574646"/>
              <a:gd name="connsiteX1" fmla="*/ 22851 w 1121549"/>
              <a:gd name="connsiteY1" fmla="*/ 607916 h 5574646"/>
              <a:gd name="connsiteX2" fmla="*/ 0 w 1121549"/>
              <a:gd name="connsiteY2" fmla="*/ 5574646 h 5574646"/>
              <a:gd name="connsiteX3" fmla="*/ 1121549 w 1121549"/>
              <a:gd name="connsiteY3" fmla="*/ 4820584 h 5574646"/>
              <a:gd name="connsiteX4" fmla="*/ 1075849 w 1121549"/>
              <a:gd name="connsiteY4" fmla="*/ 0 h 5574646"/>
              <a:gd name="connsiteX0" fmla="*/ 1075849 w 1121549"/>
              <a:gd name="connsiteY0" fmla="*/ 0 h 4866282"/>
              <a:gd name="connsiteX1" fmla="*/ 22851 w 1121549"/>
              <a:gd name="connsiteY1" fmla="*/ 607916 h 4866282"/>
              <a:gd name="connsiteX2" fmla="*/ 0 w 1121549"/>
              <a:gd name="connsiteY2" fmla="*/ 4866282 h 4866282"/>
              <a:gd name="connsiteX3" fmla="*/ 1121549 w 1121549"/>
              <a:gd name="connsiteY3" fmla="*/ 4820584 h 4866282"/>
              <a:gd name="connsiteX4" fmla="*/ 1075849 w 1121549"/>
              <a:gd name="connsiteY4" fmla="*/ 0 h 4866282"/>
              <a:gd name="connsiteX0" fmla="*/ 1075849 w 1098698"/>
              <a:gd name="connsiteY0" fmla="*/ 0 h 4911985"/>
              <a:gd name="connsiteX1" fmla="*/ 22851 w 1098698"/>
              <a:gd name="connsiteY1" fmla="*/ 607916 h 4911985"/>
              <a:gd name="connsiteX2" fmla="*/ 0 w 1098698"/>
              <a:gd name="connsiteY2" fmla="*/ 4866282 h 4911985"/>
              <a:gd name="connsiteX3" fmla="*/ 1098698 w 1098698"/>
              <a:gd name="connsiteY3" fmla="*/ 4911985 h 4911985"/>
              <a:gd name="connsiteX4" fmla="*/ 1075849 w 1098698"/>
              <a:gd name="connsiteY4" fmla="*/ 0 h 4911985"/>
              <a:gd name="connsiteX0" fmla="*/ 1075849 w 1098698"/>
              <a:gd name="connsiteY0" fmla="*/ 0 h 4880565"/>
              <a:gd name="connsiteX1" fmla="*/ 22851 w 1098698"/>
              <a:gd name="connsiteY1" fmla="*/ 607916 h 4880565"/>
              <a:gd name="connsiteX2" fmla="*/ 0 w 1098698"/>
              <a:gd name="connsiteY2" fmla="*/ 4866282 h 4880565"/>
              <a:gd name="connsiteX3" fmla="*/ 1098698 w 1098698"/>
              <a:gd name="connsiteY3" fmla="*/ 4880565 h 4880565"/>
              <a:gd name="connsiteX4" fmla="*/ 1075849 w 1098698"/>
              <a:gd name="connsiteY4" fmla="*/ 0 h 4880565"/>
              <a:gd name="connsiteX0" fmla="*/ 1075849 w 1098698"/>
              <a:gd name="connsiteY0" fmla="*/ 0 h 4866282"/>
              <a:gd name="connsiteX1" fmla="*/ 22851 w 1098698"/>
              <a:gd name="connsiteY1" fmla="*/ 607916 h 4866282"/>
              <a:gd name="connsiteX2" fmla="*/ 0 w 1098698"/>
              <a:gd name="connsiteY2" fmla="*/ 4866282 h 4866282"/>
              <a:gd name="connsiteX3" fmla="*/ 1098698 w 1098698"/>
              <a:gd name="connsiteY3" fmla="*/ 4849147 h 4866282"/>
              <a:gd name="connsiteX4" fmla="*/ 1075849 w 1098698"/>
              <a:gd name="connsiteY4" fmla="*/ 0 h 4866282"/>
              <a:gd name="connsiteX0" fmla="*/ 1075849 w 1098698"/>
              <a:gd name="connsiteY0" fmla="*/ 0 h 4870093"/>
              <a:gd name="connsiteX1" fmla="*/ 22851 w 1098698"/>
              <a:gd name="connsiteY1" fmla="*/ 607916 h 4870093"/>
              <a:gd name="connsiteX2" fmla="*/ 0 w 1098698"/>
              <a:gd name="connsiteY2" fmla="*/ 4866282 h 4870093"/>
              <a:gd name="connsiteX3" fmla="*/ 1098698 w 1098698"/>
              <a:gd name="connsiteY3" fmla="*/ 4870093 h 4870093"/>
              <a:gd name="connsiteX4" fmla="*/ 1075849 w 1098698"/>
              <a:gd name="connsiteY4" fmla="*/ 0 h 487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8698" h="4870093">
                <a:moveTo>
                  <a:pt x="1075849" y="0"/>
                </a:moveTo>
                <a:lnTo>
                  <a:pt x="22851" y="607916"/>
                </a:lnTo>
                <a:lnTo>
                  <a:pt x="0" y="4866282"/>
                </a:lnTo>
                <a:lnTo>
                  <a:pt x="1098698" y="4870093"/>
                </a:lnTo>
                <a:lnTo>
                  <a:pt x="1075849" y="0"/>
                </a:lnTo>
                <a:close/>
              </a:path>
            </a:pathLst>
          </a:custGeom>
          <a:solidFill>
            <a:srgbClr val="FFCB05"/>
          </a:solidFill>
        </p:spPr>
        <p:txBody>
          <a:bodyPr wrap="square" lIns="0" tIns="0" rIns="0" bIns="0" rtlCol="0"/>
          <a:lstStyle/>
          <a:p>
            <a:endParaRPr lang="en-GB" sz="343" noProof="0" dirty="0"/>
          </a:p>
        </p:txBody>
      </p:sp>
      <p:sp>
        <p:nvSpPr>
          <p:cNvPr id="7" name="Text Placeholder 2"/>
          <p:cNvSpPr>
            <a:spLocks noGrp="1"/>
          </p:cNvSpPr>
          <p:nvPr>
            <p:ph type="body" sz="quarter" idx="13"/>
          </p:nvPr>
        </p:nvSpPr>
        <p:spPr>
          <a:xfrm>
            <a:off x="2391508" y="1866899"/>
            <a:ext cx="8956431" cy="3314701"/>
          </a:xfrm>
          <a:prstGeom prst="rect">
            <a:avLst/>
          </a:prstGeom>
        </p:spPr>
        <p:txBody>
          <a:bodyPr/>
          <a:lstStyle>
            <a:lvl1pPr marL="0" indent="0">
              <a:buFont typeface="Arial" panose="020B0604020202020204" pitchFamily="34" charset="0"/>
              <a:buNone/>
              <a:defRPr sz="2800">
                <a:solidFill>
                  <a:schemeClr val="bg2"/>
                </a:solidFill>
                <a:latin typeface="Arial" panose="020B0604020202020204" pitchFamily="34" charset="0"/>
                <a:cs typeface="Arial" panose="020B0604020202020204" pitchFamily="34" charset="0"/>
              </a:defRPr>
            </a:lvl1pPr>
            <a:lvl2pPr marL="285750" indent="0">
              <a:buNone/>
              <a:defRPr>
                <a:solidFill>
                  <a:schemeClr val="bg2"/>
                </a:solidFill>
                <a:latin typeface="Arial" panose="020B0604020202020204" pitchFamily="34" charset="0"/>
                <a:cs typeface="Arial" panose="020B0604020202020204" pitchFamily="34" charset="0"/>
              </a:defRPr>
            </a:lvl2pPr>
            <a:lvl3pPr marL="514350" indent="0">
              <a:buClr>
                <a:schemeClr val="accent1"/>
              </a:buClr>
              <a:buNone/>
              <a:defRPr>
                <a:solidFill>
                  <a:schemeClr val="bg2"/>
                </a:solidFill>
                <a:latin typeface="Arial" panose="020B0604020202020204" pitchFamily="34" charset="0"/>
                <a:cs typeface="Arial" panose="020B0604020202020204" pitchFamily="34" charset="0"/>
              </a:defRPr>
            </a:lvl3pPr>
          </a:lstStyle>
          <a:p>
            <a:pPr lvl="0"/>
            <a:r>
              <a:rPr lang="en-GB" noProof="0" dirty="0"/>
              <a:t>Click to edit Master text styles</a:t>
            </a:r>
          </a:p>
        </p:txBody>
      </p:sp>
    </p:spTree>
    <p:extLst>
      <p:ext uri="{BB962C8B-B14F-4D97-AF65-F5344CB8AC3E}">
        <p14:creationId xmlns:p14="http://schemas.microsoft.com/office/powerpoint/2010/main" val="358690102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ast Slide">
    <p:bg>
      <p:bgPr>
        <a:solidFill>
          <a:schemeClr val="tx1"/>
        </a:solidFill>
        <a:effectLst/>
      </p:bgPr>
    </p:bg>
    <p:spTree>
      <p:nvGrpSpPr>
        <p:cNvPr id="1" name=""/>
        <p:cNvGrpSpPr/>
        <p:nvPr/>
      </p:nvGrpSpPr>
      <p:grpSpPr>
        <a:xfrm>
          <a:off x="0" y="0"/>
          <a:ext cx="0" cy="0"/>
          <a:chOff x="0" y="0"/>
          <a:chExt cx="0" cy="0"/>
        </a:xfrm>
      </p:grpSpPr>
      <p:sp>
        <p:nvSpPr>
          <p:cNvPr id="2" name="object 4"/>
          <p:cNvSpPr/>
          <p:nvPr userDrawn="1"/>
        </p:nvSpPr>
        <p:spPr>
          <a:xfrm>
            <a:off x="603844" y="457204"/>
            <a:ext cx="666159" cy="2214611"/>
          </a:xfrm>
          <a:custGeom>
            <a:avLst/>
            <a:gdLst>
              <a:gd name="connsiteX0" fmla="*/ 1075849 w 1075848"/>
              <a:gd name="connsiteY0" fmla="*/ 0 h 5574646"/>
              <a:gd name="connsiteX1" fmla="*/ 22851 w 1075848"/>
              <a:gd name="connsiteY1" fmla="*/ 607916 h 5574646"/>
              <a:gd name="connsiteX2" fmla="*/ 0 w 1075848"/>
              <a:gd name="connsiteY2" fmla="*/ 5574646 h 5574646"/>
              <a:gd name="connsiteX3" fmla="*/ 1075849 w 1075848"/>
              <a:gd name="connsiteY3" fmla="*/ 4020820 h 5574646"/>
              <a:gd name="connsiteX4" fmla="*/ 1075849 w 1075848"/>
              <a:gd name="connsiteY4" fmla="*/ 0 h 5574646"/>
              <a:gd name="connsiteX0" fmla="*/ 1075849 w 1121549"/>
              <a:gd name="connsiteY0" fmla="*/ 0 h 5574646"/>
              <a:gd name="connsiteX1" fmla="*/ 22851 w 1121549"/>
              <a:gd name="connsiteY1" fmla="*/ 607916 h 5574646"/>
              <a:gd name="connsiteX2" fmla="*/ 0 w 1121549"/>
              <a:gd name="connsiteY2" fmla="*/ 5574646 h 5574646"/>
              <a:gd name="connsiteX3" fmla="*/ 1121549 w 1121549"/>
              <a:gd name="connsiteY3" fmla="*/ 4820584 h 5574646"/>
              <a:gd name="connsiteX4" fmla="*/ 1075849 w 1121549"/>
              <a:gd name="connsiteY4" fmla="*/ 0 h 5574646"/>
              <a:gd name="connsiteX0" fmla="*/ 1075849 w 1121549"/>
              <a:gd name="connsiteY0" fmla="*/ 0 h 4866282"/>
              <a:gd name="connsiteX1" fmla="*/ 22851 w 1121549"/>
              <a:gd name="connsiteY1" fmla="*/ 607916 h 4866282"/>
              <a:gd name="connsiteX2" fmla="*/ 0 w 1121549"/>
              <a:gd name="connsiteY2" fmla="*/ 4866282 h 4866282"/>
              <a:gd name="connsiteX3" fmla="*/ 1121549 w 1121549"/>
              <a:gd name="connsiteY3" fmla="*/ 4820584 h 4866282"/>
              <a:gd name="connsiteX4" fmla="*/ 1075849 w 1121549"/>
              <a:gd name="connsiteY4" fmla="*/ 0 h 4866282"/>
              <a:gd name="connsiteX0" fmla="*/ 1075849 w 1098698"/>
              <a:gd name="connsiteY0" fmla="*/ 0 h 4911985"/>
              <a:gd name="connsiteX1" fmla="*/ 22851 w 1098698"/>
              <a:gd name="connsiteY1" fmla="*/ 607916 h 4911985"/>
              <a:gd name="connsiteX2" fmla="*/ 0 w 1098698"/>
              <a:gd name="connsiteY2" fmla="*/ 4866282 h 4911985"/>
              <a:gd name="connsiteX3" fmla="*/ 1098698 w 1098698"/>
              <a:gd name="connsiteY3" fmla="*/ 4911985 h 4911985"/>
              <a:gd name="connsiteX4" fmla="*/ 1075849 w 1098698"/>
              <a:gd name="connsiteY4" fmla="*/ 0 h 4911985"/>
              <a:gd name="connsiteX0" fmla="*/ 1075849 w 1098698"/>
              <a:gd name="connsiteY0" fmla="*/ 0 h 4880565"/>
              <a:gd name="connsiteX1" fmla="*/ 22851 w 1098698"/>
              <a:gd name="connsiteY1" fmla="*/ 607916 h 4880565"/>
              <a:gd name="connsiteX2" fmla="*/ 0 w 1098698"/>
              <a:gd name="connsiteY2" fmla="*/ 4866282 h 4880565"/>
              <a:gd name="connsiteX3" fmla="*/ 1098698 w 1098698"/>
              <a:gd name="connsiteY3" fmla="*/ 4880565 h 4880565"/>
              <a:gd name="connsiteX4" fmla="*/ 1075849 w 1098698"/>
              <a:gd name="connsiteY4" fmla="*/ 0 h 4880565"/>
              <a:gd name="connsiteX0" fmla="*/ 1075849 w 1098698"/>
              <a:gd name="connsiteY0" fmla="*/ 0 h 4866282"/>
              <a:gd name="connsiteX1" fmla="*/ 22851 w 1098698"/>
              <a:gd name="connsiteY1" fmla="*/ 607916 h 4866282"/>
              <a:gd name="connsiteX2" fmla="*/ 0 w 1098698"/>
              <a:gd name="connsiteY2" fmla="*/ 4866282 h 4866282"/>
              <a:gd name="connsiteX3" fmla="*/ 1098698 w 1098698"/>
              <a:gd name="connsiteY3" fmla="*/ 4849147 h 4866282"/>
              <a:gd name="connsiteX4" fmla="*/ 1075849 w 1098698"/>
              <a:gd name="connsiteY4" fmla="*/ 0 h 4866282"/>
              <a:gd name="connsiteX0" fmla="*/ 1075849 w 1098698"/>
              <a:gd name="connsiteY0" fmla="*/ 0 h 4870093"/>
              <a:gd name="connsiteX1" fmla="*/ 22851 w 1098698"/>
              <a:gd name="connsiteY1" fmla="*/ 607916 h 4870093"/>
              <a:gd name="connsiteX2" fmla="*/ 0 w 1098698"/>
              <a:gd name="connsiteY2" fmla="*/ 4866282 h 4870093"/>
              <a:gd name="connsiteX3" fmla="*/ 1098698 w 1098698"/>
              <a:gd name="connsiteY3" fmla="*/ 4870093 h 4870093"/>
              <a:gd name="connsiteX4" fmla="*/ 1075849 w 1098698"/>
              <a:gd name="connsiteY4" fmla="*/ 0 h 487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8698" h="4870093">
                <a:moveTo>
                  <a:pt x="1075849" y="0"/>
                </a:moveTo>
                <a:lnTo>
                  <a:pt x="22851" y="607916"/>
                </a:lnTo>
                <a:lnTo>
                  <a:pt x="0" y="4866282"/>
                </a:lnTo>
                <a:lnTo>
                  <a:pt x="1098698" y="4870093"/>
                </a:lnTo>
                <a:lnTo>
                  <a:pt x="1075849" y="0"/>
                </a:lnTo>
                <a:close/>
              </a:path>
            </a:pathLst>
          </a:custGeom>
          <a:solidFill>
            <a:srgbClr val="FFCB05"/>
          </a:solidFill>
        </p:spPr>
        <p:txBody>
          <a:bodyPr wrap="square" lIns="0" tIns="0" rIns="0" bIns="0" rtlCol="0"/>
          <a:lstStyle/>
          <a:p>
            <a:endParaRPr lang="en-GB" sz="343" noProof="0" dirty="0"/>
          </a:p>
        </p:txBody>
      </p:sp>
      <p:grpSp>
        <p:nvGrpSpPr>
          <p:cNvPr id="5" name="Canvas 102">
            <a:extLst>
              <a:ext uri="{FF2B5EF4-FFF2-40B4-BE49-F238E27FC236}">
                <a16:creationId xmlns:a16="http://schemas.microsoft.com/office/drawing/2014/main" xmlns="" id="{4885CFF9-EC95-482C-A50A-4CE774F7BAD7}"/>
              </a:ext>
            </a:extLst>
          </p:cNvPr>
          <p:cNvGrpSpPr/>
          <p:nvPr userDrawn="1"/>
        </p:nvGrpSpPr>
        <p:grpSpPr>
          <a:xfrm>
            <a:off x="592423" y="4930553"/>
            <a:ext cx="2683966" cy="1510278"/>
            <a:chOff x="685800" y="207921"/>
            <a:chExt cx="5441950" cy="3097889"/>
          </a:xfrm>
        </p:grpSpPr>
        <p:sp>
          <p:nvSpPr>
            <p:cNvPr id="6" name="Rectangle 5">
              <a:extLst>
                <a:ext uri="{FF2B5EF4-FFF2-40B4-BE49-F238E27FC236}">
                  <a16:creationId xmlns:a16="http://schemas.microsoft.com/office/drawing/2014/main" xmlns="" id="{DC72ABCD-435A-420C-80CE-90B99220D087}"/>
                </a:ext>
              </a:extLst>
            </p:cNvPr>
            <p:cNvSpPr/>
            <p:nvPr userDrawn="1"/>
          </p:nvSpPr>
          <p:spPr>
            <a:xfrm>
              <a:off x="1263650" y="347980"/>
              <a:ext cx="4864100" cy="2957830"/>
            </a:xfrm>
            <a:prstGeom prst="rect">
              <a:avLst/>
            </a:prstGeom>
            <a:noFill/>
            <a:ln>
              <a:noFill/>
            </a:ln>
          </p:spPr>
        </p:sp>
        <p:sp>
          <p:nvSpPr>
            <p:cNvPr id="7" name="Freeform 6">
              <a:extLst>
                <a:ext uri="{FF2B5EF4-FFF2-40B4-BE49-F238E27FC236}">
                  <a16:creationId xmlns:a16="http://schemas.microsoft.com/office/drawing/2014/main" xmlns="" id="{7E4DDBD5-FBB9-4D2A-BB97-8FF33560C7CD}"/>
                </a:ext>
              </a:extLst>
            </p:cNvPr>
            <p:cNvSpPr>
              <a:spLocks/>
            </p:cNvSpPr>
            <p:nvPr userDrawn="1"/>
          </p:nvSpPr>
          <p:spPr bwMode="auto">
            <a:xfrm>
              <a:off x="2439670" y="266976"/>
              <a:ext cx="319405" cy="327660"/>
            </a:xfrm>
            <a:custGeom>
              <a:avLst/>
              <a:gdLst>
                <a:gd name="T0" fmla="*/ 0 w 503"/>
                <a:gd name="T1" fmla="*/ 0 h 516"/>
                <a:gd name="T2" fmla="*/ 503 w 503"/>
                <a:gd name="T3" fmla="*/ 0 h 516"/>
                <a:gd name="T4" fmla="*/ 503 w 503"/>
                <a:gd name="T5" fmla="*/ 227 h 516"/>
                <a:gd name="T6" fmla="*/ 0 w 503"/>
                <a:gd name="T7" fmla="*/ 516 h 516"/>
                <a:gd name="T8" fmla="*/ 0 w 503"/>
                <a:gd name="T9" fmla="*/ 0 h 516"/>
              </a:gdLst>
              <a:ahLst/>
              <a:cxnLst>
                <a:cxn ang="0">
                  <a:pos x="T0" y="T1"/>
                </a:cxn>
                <a:cxn ang="0">
                  <a:pos x="T2" y="T3"/>
                </a:cxn>
                <a:cxn ang="0">
                  <a:pos x="T4" y="T5"/>
                </a:cxn>
                <a:cxn ang="0">
                  <a:pos x="T6" y="T7"/>
                </a:cxn>
                <a:cxn ang="0">
                  <a:pos x="T8" y="T9"/>
                </a:cxn>
              </a:cxnLst>
              <a:rect l="0" t="0" r="r" b="b"/>
              <a:pathLst>
                <a:path w="503" h="516">
                  <a:moveTo>
                    <a:pt x="0" y="0"/>
                  </a:moveTo>
                  <a:lnTo>
                    <a:pt x="503" y="0"/>
                  </a:lnTo>
                  <a:lnTo>
                    <a:pt x="503" y="227"/>
                  </a:lnTo>
                  <a:lnTo>
                    <a:pt x="0" y="516"/>
                  </a:lnTo>
                  <a:lnTo>
                    <a:pt x="0" y="0"/>
                  </a:lnTo>
                  <a:close/>
                </a:path>
              </a:pathLst>
            </a:custGeom>
            <a:solidFill>
              <a:srgbClr val="FFCC00"/>
            </a:solidFill>
            <a:ln w="0">
              <a:solidFill>
                <a:srgbClr val="FFCC00"/>
              </a:solidFill>
              <a:prstDash val="solid"/>
              <a:round/>
              <a:headEnd/>
              <a:tailEnd/>
            </a:ln>
          </p:spPr>
          <p:txBody>
            <a:bodyPr rot="0" vert="horz" wrap="square" lIns="91440" tIns="45720" rIns="91440" bIns="45720" anchor="t" anchorCtr="0" upright="1">
              <a:noAutofit/>
            </a:bodyPr>
            <a:lstStyle/>
            <a:p>
              <a:endParaRPr lang="en-IN" dirty="0"/>
            </a:p>
          </p:txBody>
        </p:sp>
        <p:sp>
          <p:nvSpPr>
            <p:cNvPr id="8" name="Freeform 7">
              <a:extLst>
                <a:ext uri="{FF2B5EF4-FFF2-40B4-BE49-F238E27FC236}">
                  <a16:creationId xmlns:a16="http://schemas.microsoft.com/office/drawing/2014/main" xmlns="" id="{07520D8B-29B4-43E3-BD1C-D5C405266938}"/>
                </a:ext>
              </a:extLst>
            </p:cNvPr>
            <p:cNvSpPr>
              <a:spLocks noEditPoints="1"/>
            </p:cNvSpPr>
            <p:nvPr userDrawn="1"/>
          </p:nvSpPr>
          <p:spPr bwMode="auto">
            <a:xfrm>
              <a:off x="685800" y="207921"/>
              <a:ext cx="3603625" cy="1649095"/>
            </a:xfrm>
            <a:custGeom>
              <a:avLst/>
              <a:gdLst>
                <a:gd name="T0" fmla="*/ 4631 w 5675"/>
                <a:gd name="T1" fmla="*/ 2503 h 2597"/>
                <a:gd name="T2" fmla="*/ 4899 w 5675"/>
                <a:gd name="T3" fmla="*/ 2436 h 2597"/>
                <a:gd name="T4" fmla="*/ 4996 w 5675"/>
                <a:gd name="T5" fmla="*/ 2353 h 2597"/>
                <a:gd name="T6" fmla="*/ 5101 w 5675"/>
                <a:gd name="T7" fmla="*/ 2024 h 2597"/>
                <a:gd name="T8" fmla="*/ 5091 w 5675"/>
                <a:gd name="T9" fmla="*/ 1718 h 2597"/>
                <a:gd name="T10" fmla="*/ 5041 w 5675"/>
                <a:gd name="T11" fmla="*/ 1527 h 2597"/>
                <a:gd name="T12" fmla="*/ 4894 w 5675"/>
                <a:gd name="T13" fmla="*/ 1344 h 2597"/>
                <a:gd name="T14" fmla="*/ 4744 w 5675"/>
                <a:gd name="T15" fmla="*/ 1281 h 2597"/>
                <a:gd name="T16" fmla="*/ 4550 w 5675"/>
                <a:gd name="T17" fmla="*/ 1260 h 2597"/>
                <a:gd name="T18" fmla="*/ 4203 w 5675"/>
                <a:gd name="T19" fmla="*/ 136 h 2597"/>
                <a:gd name="T20" fmla="*/ 4784 w 5675"/>
                <a:gd name="T21" fmla="*/ 1172 h 2597"/>
                <a:gd name="T22" fmla="*/ 4930 w 5675"/>
                <a:gd name="T23" fmla="*/ 1054 h 2597"/>
                <a:gd name="T24" fmla="*/ 5001 w 5675"/>
                <a:gd name="T25" fmla="*/ 892 h 2597"/>
                <a:gd name="T26" fmla="*/ 5030 w 5675"/>
                <a:gd name="T27" fmla="*/ 603 h 2597"/>
                <a:gd name="T28" fmla="*/ 5015 w 5675"/>
                <a:gd name="T29" fmla="*/ 434 h 2597"/>
                <a:gd name="T30" fmla="*/ 4858 w 5675"/>
                <a:gd name="T31" fmla="*/ 215 h 2597"/>
                <a:gd name="T32" fmla="*/ 4658 w 5675"/>
                <a:gd name="T33" fmla="*/ 143 h 2597"/>
                <a:gd name="T34" fmla="*/ 4203 w 5675"/>
                <a:gd name="T35" fmla="*/ 136 h 2597"/>
                <a:gd name="T36" fmla="*/ 4794 w 5675"/>
                <a:gd name="T37" fmla="*/ 100 h 2597"/>
                <a:gd name="T38" fmla="*/ 5110 w 5675"/>
                <a:gd name="T39" fmla="*/ 159 h 2597"/>
                <a:gd name="T40" fmla="*/ 5408 w 5675"/>
                <a:gd name="T41" fmla="*/ 315 h 2597"/>
                <a:gd name="T42" fmla="*/ 5527 w 5675"/>
                <a:gd name="T43" fmla="*/ 513 h 2597"/>
                <a:gd name="T44" fmla="*/ 5540 w 5675"/>
                <a:gd name="T45" fmla="*/ 692 h 2597"/>
                <a:gd name="T46" fmla="*/ 5442 w 5675"/>
                <a:gd name="T47" fmla="*/ 955 h 2597"/>
                <a:gd name="T48" fmla="*/ 5092 w 5675"/>
                <a:gd name="T49" fmla="*/ 1174 h 2597"/>
                <a:gd name="T50" fmla="*/ 4860 w 5675"/>
                <a:gd name="T51" fmla="*/ 1229 h 2597"/>
                <a:gd name="T52" fmla="*/ 5237 w 5675"/>
                <a:gd name="T53" fmla="*/ 1310 h 2597"/>
                <a:gd name="T54" fmla="*/ 5435 w 5675"/>
                <a:gd name="T55" fmla="*/ 1410 h 2597"/>
                <a:gd name="T56" fmla="*/ 5616 w 5675"/>
                <a:gd name="T57" fmla="*/ 1620 h 2597"/>
                <a:gd name="T58" fmla="*/ 5673 w 5675"/>
                <a:gd name="T59" fmla="*/ 1911 h 2597"/>
                <a:gd name="T60" fmla="*/ 5645 w 5675"/>
                <a:gd name="T61" fmla="*/ 2069 h 2597"/>
                <a:gd name="T62" fmla="*/ 5458 w 5675"/>
                <a:gd name="T63" fmla="*/ 2332 h 2597"/>
                <a:gd name="T64" fmla="*/ 5125 w 5675"/>
                <a:gd name="T65" fmla="*/ 2494 h 2597"/>
                <a:gd name="T66" fmla="*/ 4813 w 5675"/>
                <a:gd name="T67" fmla="*/ 2548 h 2597"/>
                <a:gd name="T68" fmla="*/ 4675 w 5675"/>
                <a:gd name="T69" fmla="*/ 2553 h 2597"/>
                <a:gd name="T70" fmla="*/ 4634 w 5675"/>
                <a:gd name="T71" fmla="*/ 93 h 2597"/>
                <a:gd name="T72" fmla="*/ 1778 w 5675"/>
                <a:gd name="T73" fmla="*/ 50 h 2597"/>
                <a:gd name="T74" fmla="*/ 2097 w 5675"/>
                <a:gd name="T75" fmla="*/ 169 h 2597"/>
                <a:gd name="T76" fmla="*/ 2086 w 5675"/>
                <a:gd name="T77" fmla="*/ 369 h 2597"/>
                <a:gd name="T78" fmla="*/ 1718 w 5675"/>
                <a:gd name="T79" fmla="*/ 117 h 2597"/>
                <a:gd name="T80" fmla="*/ 1216 w 5675"/>
                <a:gd name="T81" fmla="*/ 78 h 2597"/>
                <a:gd name="T82" fmla="*/ 896 w 5675"/>
                <a:gd name="T83" fmla="*/ 229 h 2597"/>
                <a:gd name="T84" fmla="*/ 744 w 5675"/>
                <a:gd name="T85" fmla="*/ 381 h 2597"/>
                <a:gd name="T86" fmla="*/ 591 w 5675"/>
                <a:gd name="T87" fmla="*/ 682 h 2597"/>
                <a:gd name="T88" fmla="*/ 508 w 5675"/>
                <a:gd name="T89" fmla="*/ 1207 h 2597"/>
                <a:gd name="T90" fmla="*/ 579 w 5675"/>
                <a:gd name="T91" fmla="*/ 1868 h 2597"/>
                <a:gd name="T92" fmla="*/ 829 w 5675"/>
                <a:gd name="T93" fmla="*/ 2313 h 2597"/>
                <a:gd name="T94" fmla="*/ 1201 w 5675"/>
                <a:gd name="T95" fmla="*/ 2520 h 2597"/>
                <a:gd name="T96" fmla="*/ 1563 w 5675"/>
                <a:gd name="T97" fmla="*/ 2508 h 2597"/>
                <a:gd name="T98" fmla="*/ 1824 w 5675"/>
                <a:gd name="T99" fmla="*/ 2358 h 2597"/>
                <a:gd name="T100" fmla="*/ 2271 w 5675"/>
                <a:gd name="T101" fmla="*/ 2386 h 2597"/>
                <a:gd name="T102" fmla="*/ 1824 w 5675"/>
                <a:gd name="T103" fmla="*/ 2548 h 2597"/>
                <a:gd name="T104" fmla="*/ 1266 w 5675"/>
                <a:gd name="T105" fmla="*/ 2597 h 2597"/>
                <a:gd name="T106" fmla="*/ 870 w 5675"/>
                <a:gd name="T107" fmla="*/ 2522 h 2597"/>
                <a:gd name="T108" fmla="*/ 472 w 5675"/>
                <a:gd name="T109" fmla="*/ 2319 h 2597"/>
                <a:gd name="T110" fmla="*/ 155 w 5675"/>
                <a:gd name="T111" fmla="*/ 1964 h 2597"/>
                <a:gd name="T112" fmla="*/ 3 w 5675"/>
                <a:gd name="T113" fmla="*/ 1437 h 2597"/>
                <a:gd name="T114" fmla="*/ 84 w 5675"/>
                <a:gd name="T115" fmla="*/ 809 h 2597"/>
                <a:gd name="T116" fmla="*/ 367 w 5675"/>
                <a:gd name="T117" fmla="*/ 372 h 2597"/>
                <a:gd name="T118" fmla="*/ 777 w 5675"/>
                <a:gd name="T119" fmla="*/ 114 h 2597"/>
                <a:gd name="T120" fmla="*/ 1237 w 5675"/>
                <a:gd name="T121" fmla="*/ 7 h 2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75" h="2597">
                  <a:moveTo>
                    <a:pt x="4550" y="1260"/>
                  </a:moveTo>
                  <a:lnTo>
                    <a:pt x="4545" y="1260"/>
                  </a:lnTo>
                  <a:lnTo>
                    <a:pt x="4203" y="1260"/>
                  </a:lnTo>
                  <a:lnTo>
                    <a:pt x="4203" y="2505"/>
                  </a:lnTo>
                  <a:lnTo>
                    <a:pt x="4562" y="2505"/>
                  </a:lnTo>
                  <a:lnTo>
                    <a:pt x="4631" y="2503"/>
                  </a:lnTo>
                  <a:lnTo>
                    <a:pt x="4693" y="2496"/>
                  </a:lnTo>
                  <a:lnTo>
                    <a:pt x="4746" y="2487"/>
                  </a:lnTo>
                  <a:lnTo>
                    <a:pt x="4794" y="2477"/>
                  </a:lnTo>
                  <a:lnTo>
                    <a:pt x="4836" y="2463"/>
                  </a:lnTo>
                  <a:lnTo>
                    <a:pt x="4870" y="2449"/>
                  </a:lnTo>
                  <a:lnTo>
                    <a:pt x="4899" y="2436"/>
                  </a:lnTo>
                  <a:lnTo>
                    <a:pt x="4922" y="2424"/>
                  </a:lnTo>
                  <a:lnTo>
                    <a:pt x="4939" y="2412"/>
                  </a:lnTo>
                  <a:lnTo>
                    <a:pt x="4951" y="2403"/>
                  </a:lnTo>
                  <a:lnTo>
                    <a:pt x="4958" y="2396"/>
                  </a:lnTo>
                  <a:lnTo>
                    <a:pt x="4960" y="2394"/>
                  </a:lnTo>
                  <a:lnTo>
                    <a:pt x="4996" y="2353"/>
                  </a:lnTo>
                  <a:lnTo>
                    <a:pt x="5027" y="2307"/>
                  </a:lnTo>
                  <a:lnTo>
                    <a:pt x="5051" y="2255"/>
                  </a:lnTo>
                  <a:lnTo>
                    <a:pt x="5070" y="2200"/>
                  </a:lnTo>
                  <a:lnTo>
                    <a:pt x="5084" y="2143"/>
                  </a:lnTo>
                  <a:lnTo>
                    <a:pt x="5094" y="2083"/>
                  </a:lnTo>
                  <a:lnTo>
                    <a:pt x="5101" y="2024"/>
                  </a:lnTo>
                  <a:lnTo>
                    <a:pt x="5103" y="1966"/>
                  </a:lnTo>
                  <a:lnTo>
                    <a:pt x="5104" y="1907"/>
                  </a:lnTo>
                  <a:lnTo>
                    <a:pt x="5103" y="1854"/>
                  </a:lnTo>
                  <a:lnTo>
                    <a:pt x="5099" y="1802"/>
                  </a:lnTo>
                  <a:lnTo>
                    <a:pt x="5096" y="1758"/>
                  </a:lnTo>
                  <a:lnTo>
                    <a:pt x="5091" y="1718"/>
                  </a:lnTo>
                  <a:lnTo>
                    <a:pt x="5087" y="1685"/>
                  </a:lnTo>
                  <a:lnTo>
                    <a:pt x="5084" y="1659"/>
                  </a:lnTo>
                  <a:lnTo>
                    <a:pt x="5080" y="1644"/>
                  </a:lnTo>
                  <a:lnTo>
                    <a:pt x="5080" y="1639"/>
                  </a:lnTo>
                  <a:lnTo>
                    <a:pt x="5063" y="1580"/>
                  </a:lnTo>
                  <a:lnTo>
                    <a:pt x="5041" y="1527"/>
                  </a:lnTo>
                  <a:lnTo>
                    <a:pt x="5017" y="1482"/>
                  </a:lnTo>
                  <a:lnTo>
                    <a:pt x="4991" y="1443"/>
                  </a:lnTo>
                  <a:lnTo>
                    <a:pt x="4965" y="1410"/>
                  </a:lnTo>
                  <a:lnTo>
                    <a:pt x="4939" y="1382"/>
                  </a:lnTo>
                  <a:lnTo>
                    <a:pt x="4915" y="1360"/>
                  </a:lnTo>
                  <a:lnTo>
                    <a:pt x="4894" y="1344"/>
                  </a:lnTo>
                  <a:lnTo>
                    <a:pt x="4877" y="1332"/>
                  </a:lnTo>
                  <a:lnTo>
                    <a:pt x="4867" y="1325"/>
                  </a:lnTo>
                  <a:lnTo>
                    <a:pt x="4863" y="1324"/>
                  </a:lnTo>
                  <a:lnTo>
                    <a:pt x="4827" y="1307"/>
                  </a:lnTo>
                  <a:lnTo>
                    <a:pt x="4786" y="1291"/>
                  </a:lnTo>
                  <a:lnTo>
                    <a:pt x="4744" y="1281"/>
                  </a:lnTo>
                  <a:lnTo>
                    <a:pt x="4703" y="1272"/>
                  </a:lnTo>
                  <a:lnTo>
                    <a:pt x="4662" y="1267"/>
                  </a:lnTo>
                  <a:lnTo>
                    <a:pt x="4624" y="1264"/>
                  </a:lnTo>
                  <a:lnTo>
                    <a:pt x="4593" y="1262"/>
                  </a:lnTo>
                  <a:lnTo>
                    <a:pt x="4567" y="1260"/>
                  </a:lnTo>
                  <a:lnTo>
                    <a:pt x="4550" y="1260"/>
                  </a:lnTo>
                  <a:close/>
                  <a:moveTo>
                    <a:pt x="3265" y="634"/>
                  </a:moveTo>
                  <a:lnTo>
                    <a:pt x="3265" y="2553"/>
                  </a:lnTo>
                  <a:lnTo>
                    <a:pt x="2762" y="2553"/>
                  </a:lnTo>
                  <a:lnTo>
                    <a:pt x="2762" y="924"/>
                  </a:lnTo>
                  <a:lnTo>
                    <a:pt x="3265" y="634"/>
                  </a:lnTo>
                  <a:close/>
                  <a:moveTo>
                    <a:pt x="4203" y="136"/>
                  </a:moveTo>
                  <a:lnTo>
                    <a:pt x="4203" y="1214"/>
                  </a:lnTo>
                  <a:lnTo>
                    <a:pt x="4581" y="1214"/>
                  </a:lnTo>
                  <a:lnTo>
                    <a:pt x="4641" y="1210"/>
                  </a:lnTo>
                  <a:lnTo>
                    <a:pt x="4694" y="1202"/>
                  </a:lnTo>
                  <a:lnTo>
                    <a:pt x="4741" y="1190"/>
                  </a:lnTo>
                  <a:lnTo>
                    <a:pt x="4784" y="1172"/>
                  </a:lnTo>
                  <a:lnTo>
                    <a:pt x="4820" y="1153"/>
                  </a:lnTo>
                  <a:lnTo>
                    <a:pt x="4851" y="1133"/>
                  </a:lnTo>
                  <a:lnTo>
                    <a:pt x="4879" y="1110"/>
                  </a:lnTo>
                  <a:lnTo>
                    <a:pt x="4901" y="1090"/>
                  </a:lnTo>
                  <a:lnTo>
                    <a:pt x="4918" y="1071"/>
                  </a:lnTo>
                  <a:lnTo>
                    <a:pt x="4930" y="1054"/>
                  </a:lnTo>
                  <a:lnTo>
                    <a:pt x="4941" y="1041"/>
                  </a:lnTo>
                  <a:lnTo>
                    <a:pt x="4946" y="1033"/>
                  </a:lnTo>
                  <a:lnTo>
                    <a:pt x="4948" y="1029"/>
                  </a:lnTo>
                  <a:lnTo>
                    <a:pt x="4970" y="986"/>
                  </a:lnTo>
                  <a:lnTo>
                    <a:pt x="4987" y="940"/>
                  </a:lnTo>
                  <a:lnTo>
                    <a:pt x="5001" y="892"/>
                  </a:lnTo>
                  <a:lnTo>
                    <a:pt x="5011" y="842"/>
                  </a:lnTo>
                  <a:lnTo>
                    <a:pt x="5020" y="790"/>
                  </a:lnTo>
                  <a:lnTo>
                    <a:pt x="5025" y="739"/>
                  </a:lnTo>
                  <a:lnTo>
                    <a:pt x="5029" y="690"/>
                  </a:lnTo>
                  <a:lnTo>
                    <a:pt x="5030" y="644"/>
                  </a:lnTo>
                  <a:lnTo>
                    <a:pt x="5030" y="603"/>
                  </a:lnTo>
                  <a:lnTo>
                    <a:pt x="5029" y="565"/>
                  </a:lnTo>
                  <a:lnTo>
                    <a:pt x="5027" y="534"/>
                  </a:lnTo>
                  <a:lnTo>
                    <a:pt x="5027" y="511"/>
                  </a:lnTo>
                  <a:lnTo>
                    <a:pt x="5025" y="496"/>
                  </a:lnTo>
                  <a:lnTo>
                    <a:pt x="5025" y="491"/>
                  </a:lnTo>
                  <a:lnTo>
                    <a:pt x="5015" y="434"/>
                  </a:lnTo>
                  <a:lnTo>
                    <a:pt x="4999" y="384"/>
                  </a:lnTo>
                  <a:lnTo>
                    <a:pt x="4979" y="339"/>
                  </a:lnTo>
                  <a:lnTo>
                    <a:pt x="4953" y="301"/>
                  </a:lnTo>
                  <a:lnTo>
                    <a:pt x="4924" y="267"/>
                  </a:lnTo>
                  <a:lnTo>
                    <a:pt x="4893" y="239"/>
                  </a:lnTo>
                  <a:lnTo>
                    <a:pt x="4858" y="215"/>
                  </a:lnTo>
                  <a:lnTo>
                    <a:pt x="4824" y="195"/>
                  </a:lnTo>
                  <a:lnTo>
                    <a:pt x="4787" y="179"/>
                  </a:lnTo>
                  <a:lnTo>
                    <a:pt x="4753" y="165"/>
                  </a:lnTo>
                  <a:lnTo>
                    <a:pt x="4719" y="155"/>
                  </a:lnTo>
                  <a:lnTo>
                    <a:pt x="4688" y="148"/>
                  </a:lnTo>
                  <a:lnTo>
                    <a:pt x="4658" y="143"/>
                  </a:lnTo>
                  <a:lnTo>
                    <a:pt x="4632" y="140"/>
                  </a:lnTo>
                  <a:lnTo>
                    <a:pt x="4610" y="138"/>
                  </a:lnTo>
                  <a:lnTo>
                    <a:pt x="4595" y="138"/>
                  </a:lnTo>
                  <a:lnTo>
                    <a:pt x="4584" y="136"/>
                  </a:lnTo>
                  <a:lnTo>
                    <a:pt x="4581" y="136"/>
                  </a:lnTo>
                  <a:lnTo>
                    <a:pt x="4203" y="136"/>
                  </a:lnTo>
                  <a:close/>
                  <a:moveTo>
                    <a:pt x="4634" y="93"/>
                  </a:moveTo>
                  <a:lnTo>
                    <a:pt x="4655" y="93"/>
                  </a:lnTo>
                  <a:lnTo>
                    <a:pt x="4681" y="93"/>
                  </a:lnTo>
                  <a:lnTo>
                    <a:pt x="4713" y="95"/>
                  </a:lnTo>
                  <a:lnTo>
                    <a:pt x="4751" y="97"/>
                  </a:lnTo>
                  <a:lnTo>
                    <a:pt x="4794" y="100"/>
                  </a:lnTo>
                  <a:lnTo>
                    <a:pt x="4843" y="105"/>
                  </a:lnTo>
                  <a:lnTo>
                    <a:pt x="4893" y="112"/>
                  </a:lnTo>
                  <a:lnTo>
                    <a:pt x="4944" y="121"/>
                  </a:lnTo>
                  <a:lnTo>
                    <a:pt x="4998" y="131"/>
                  </a:lnTo>
                  <a:lnTo>
                    <a:pt x="5053" y="143"/>
                  </a:lnTo>
                  <a:lnTo>
                    <a:pt x="5110" y="159"/>
                  </a:lnTo>
                  <a:lnTo>
                    <a:pt x="5165" y="177"/>
                  </a:lnTo>
                  <a:lnTo>
                    <a:pt x="5218" y="198"/>
                  </a:lnTo>
                  <a:lnTo>
                    <a:pt x="5270" y="222"/>
                  </a:lnTo>
                  <a:lnTo>
                    <a:pt x="5320" y="250"/>
                  </a:lnTo>
                  <a:lnTo>
                    <a:pt x="5366" y="281"/>
                  </a:lnTo>
                  <a:lnTo>
                    <a:pt x="5408" y="315"/>
                  </a:lnTo>
                  <a:lnTo>
                    <a:pt x="5446" y="355"/>
                  </a:lnTo>
                  <a:lnTo>
                    <a:pt x="5477" y="398"/>
                  </a:lnTo>
                  <a:lnTo>
                    <a:pt x="5502" y="446"/>
                  </a:lnTo>
                  <a:lnTo>
                    <a:pt x="5521" y="499"/>
                  </a:lnTo>
                  <a:lnTo>
                    <a:pt x="5523" y="503"/>
                  </a:lnTo>
                  <a:lnTo>
                    <a:pt x="5527" y="513"/>
                  </a:lnTo>
                  <a:lnTo>
                    <a:pt x="5530" y="530"/>
                  </a:lnTo>
                  <a:lnTo>
                    <a:pt x="5533" y="554"/>
                  </a:lnTo>
                  <a:lnTo>
                    <a:pt x="5539" y="582"/>
                  </a:lnTo>
                  <a:lnTo>
                    <a:pt x="5540" y="615"/>
                  </a:lnTo>
                  <a:lnTo>
                    <a:pt x="5542" y="652"/>
                  </a:lnTo>
                  <a:lnTo>
                    <a:pt x="5540" y="692"/>
                  </a:lnTo>
                  <a:lnTo>
                    <a:pt x="5537" y="733"/>
                  </a:lnTo>
                  <a:lnTo>
                    <a:pt x="5528" y="776"/>
                  </a:lnTo>
                  <a:lnTo>
                    <a:pt x="5516" y="821"/>
                  </a:lnTo>
                  <a:lnTo>
                    <a:pt x="5497" y="868"/>
                  </a:lnTo>
                  <a:lnTo>
                    <a:pt x="5473" y="912"/>
                  </a:lnTo>
                  <a:lnTo>
                    <a:pt x="5442" y="955"/>
                  </a:lnTo>
                  <a:lnTo>
                    <a:pt x="5404" y="998"/>
                  </a:lnTo>
                  <a:lnTo>
                    <a:pt x="5359" y="1038"/>
                  </a:lnTo>
                  <a:lnTo>
                    <a:pt x="5304" y="1074"/>
                  </a:lnTo>
                  <a:lnTo>
                    <a:pt x="5228" y="1116"/>
                  </a:lnTo>
                  <a:lnTo>
                    <a:pt x="5158" y="1148"/>
                  </a:lnTo>
                  <a:lnTo>
                    <a:pt x="5092" y="1174"/>
                  </a:lnTo>
                  <a:lnTo>
                    <a:pt x="5034" y="1195"/>
                  </a:lnTo>
                  <a:lnTo>
                    <a:pt x="4982" y="1208"/>
                  </a:lnTo>
                  <a:lnTo>
                    <a:pt x="4937" y="1219"/>
                  </a:lnTo>
                  <a:lnTo>
                    <a:pt x="4903" y="1224"/>
                  </a:lnTo>
                  <a:lnTo>
                    <a:pt x="4875" y="1227"/>
                  </a:lnTo>
                  <a:lnTo>
                    <a:pt x="4860" y="1229"/>
                  </a:lnTo>
                  <a:lnTo>
                    <a:pt x="4853" y="1229"/>
                  </a:lnTo>
                  <a:lnTo>
                    <a:pt x="4948" y="1241"/>
                  </a:lnTo>
                  <a:lnTo>
                    <a:pt x="5034" y="1255"/>
                  </a:lnTo>
                  <a:lnTo>
                    <a:pt x="5110" y="1272"/>
                  </a:lnTo>
                  <a:lnTo>
                    <a:pt x="5179" y="1291"/>
                  </a:lnTo>
                  <a:lnTo>
                    <a:pt x="5237" y="1310"/>
                  </a:lnTo>
                  <a:lnTo>
                    <a:pt x="5289" y="1331"/>
                  </a:lnTo>
                  <a:lnTo>
                    <a:pt x="5334" y="1350"/>
                  </a:lnTo>
                  <a:lnTo>
                    <a:pt x="5370" y="1369"/>
                  </a:lnTo>
                  <a:lnTo>
                    <a:pt x="5397" y="1386"/>
                  </a:lnTo>
                  <a:lnTo>
                    <a:pt x="5420" y="1399"/>
                  </a:lnTo>
                  <a:lnTo>
                    <a:pt x="5435" y="1410"/>
                  </a:lnTo>
                  <a:lnTo>
                    <a:pt x="5444" y="1418"/>
                  </a:lnTo>
                  <a:lnTo>
                    <a:pt x="5447" y="1420"/>
                  </a:lnTo>
                  <a:lnTo>
                    <a:pt x="5502" y="1468"/>
                  </a:lnTo>
                  <a:lnTo>
                    <a:pt x="5549" y="1518"/>
                  </a:lnTo>
                  <a:lnTo>
                    <a:pt x="5587" y="1568"/>
                  </a:lnTo>
                  <a:lnTo>
                    <a:pt x="5616" y="1620"/>
                  </a:lnTo>
                  <a:lnTo>
                    <a:pt x="5638" y="1673"/>
                  </a:lnTo>
                  <a:lnTo>
                    <a:pt x="5654" y="1723"/>
                  </a:lnTo>
                  <a:lnTo>
                    <a:pt x="5666" y="1775"/>
                  </a:lnTo>
                  <a:lnTo>
                    <a:pt x="5671" y="1823"/>
                  </a:lnTo>
                  <a:lnTo>
                    <a:pt x="5675" y="1869"/>
                  </a:lnTo>
                  <a:lnTo>
                    <a:pt x="5673" y="1911"/>
                  </a:lnTo>
                  <a:lnTo>
                    <a:pt x="5669" y="1950"/>
                  </a:lnTo>
                  <a:lnTo>
                    <a:pt x="5666" y="1986"/>
                  </a:lnTo>
                  <a:lnTo>
                    <a:pt x="5659" y="2016"/>
                  </a:lnTo>
                  <a:lnTo>
                    <a:pt x="5654" y="2040"/>
                  </a:lnTo>
                  <a:lnTo>
                    <a:pt x="5649" y="2059"/>
                  </a:lnTo>
                  <a:lnTo>
                    <a:pt x="5645" y="2069"/>
                  </a:lnTo>
                  <a:lnTo>
                    <a:pt x="5644" y="2074"/>
                  </a:lnTo>
                  <a:lnTo>
                    <a:pt x="5618" y="2136"/>
                  </a:lnTo>
                  <a:lnTo>
                    <a:pt x="5585" y="2193"/>
                  </a:lnTo>
                  <a:lnTo>
                    <a:pt x="5547" y="2245"/>
                  </a:lnTo>
                  <a:lnTo>
                    <a:pt x="5504" y="2291"/>
                  </a:lnTo>
                  <a:lnTo>
                    <a:pt x="5458" y="2332"/>
                  </a:lnTo>
                  <a:lnTo>
                    <a:pt x="5408" y="2370"/>
                  </a:lnTo>
                  <a:lnTo>
                    <a:pt x="5354" y="2401"/>
                  </a:lnTo>
                  <a:lnTo>
                    <a:pt x="5297" y="2430"/>
                  </a:lnTo>
                  <a:lnTo>
                    <a:pt x="5241" y="2455"/>
                  </a:lnTo>
                  <a:lnTo>
                    <a:pt x="5182" y="2475"/>
                  </a:lnTo>
                  <a:lnTo>
                    <a:pt x="5125" y="2494"/>
                  </a:lnTo>
                  <a:lnTo>
                    <a:pt x="5067" y="2508"/>
                  </a:lnTo>
                  <a:lnTo>
                    <a:pt x="5011" y="2520"/>
                  </a:lnTo>
                  <a:lnTo>
                    <a:pt x="4956" y="2530"/>
                  </a:lnTo>
                  <a:lnTo>
                    <a:pt x="4905" y="2537"/>
                  </a:lnTo>
                  <a:lnTo>
                    <a:pt x="4856" y="2544"/>
                  </a:lnTo>
                  <a:lnTo>
                    <a:pt x="4813" y="2548"/>
                  </a:lnTo>
                  <a:lnTo>
                    <a:pt x="4774" y="2551"/>
                  </a:lnTo>
                  <a:lnTo>
                    <a:pt x="4741" y="2551"/>
                  </a:lnTo>
                  <a:lnTo>
                    <a:pt x="4713" y="2553"/>
                  </a:lnTo>
                  <a:lnTo>
                    <a:pt x="4693" y="2553"/>
                  </a:lnTo>
                  <a:lnTo>
                    <a:pt x="4681" y="2553"/>
                  </a:lnTo>
                  <a:lnTo>
                    <a:pt x="4675" y="2553"/>
                  </a:lnTo>
                  <a:lnTo>
                    <a:pt x="3700" y="2553"/>
                  </a:lnTo>
                  <a:lnTo>
                    <a:pt x="3700" y="382"/>
                  </a:lnTo>
                  <a:lnTo>
                    <a:pt x="4203" y="93"/>
                  </a:lnTo>
                  <a:lnTo>
                    <a:pt x="4617" y="93"/>
                  </a:lnTo>
                  <a:lnTo>
                    <a:pt x="4622" y="93"/>
                  </a:lnTo>
                  <a:lnTo>
                    <a:pt x="4634" y="93"/>
                  </a:lnTo>
                  <a:close/>
                  <a:moveTo>
                    <a:pt x="1390" y="0"/>
                  </a:moveTo>
                  <a:lnTo>
                    <a:pt x="1475" y="2"/>
                  </a:lnTo>
                  <a:lnTo>
                    <a:pt x="1556" y="9"/>
                  </a:lnTo>
                  <a:lnTo>
                    <a:pt x="1633" y="21"/>
                  </a:lnTo>
                  <a:lnTo>
                    <a:pt x="1709" y="35"/>
                  </a:lnTo>
                  <a:lnTo>
                    <a:pt x="1778" y="50"/>
                  </a:lnTo>
                  <a:lnTo>
                    <a:pt x="1845" y="69"/>
                  </a:lnTo>
                  <a:lnTo>
                    <a:pt x="1905" y="90"/>
                  </a:lnTo>
                  <a:lnTo>
                    <a:pt x="1962" y="110"/>
                  </a:lnTo>
                  <a:lnTo>
                    <a:pt x="2012" y="131"/>
                  </a:lnTo>
                  <a:lnTo>
                    <a:pt x="2057" y="150"/>
                  </a:lnTo>
                  <a:lnTo>
                    <a:pt x="2097" y="169"/>
                  </a:lnTo>
                  <a:lnTo>
                    <a:pt x="2129" y="186"/>
                  </a:lnTo>
                  <a:lnTo>
                    <a:pt x="2155" y="200"/>
                  </a:lnTo>
                  <a:lnTo>
                    <a:pt x="2172" y="210"/>
                  </a:lnTo>
                  <a:lnTo>
                    <a:pt x="2184" y="217"/>
                  </a:lnTo>
                  <a:lnTo>
                    <a:pt x="2134" y="425"/>
                  </a:lnTo>
                  <a:lnTo>
                    <a:pt x="2086" y="369"/>
                  </a:lnTo>
                  <a:lnTo>
                    <a:pt x="2036" y="315"/>
                  </a:lnTo>
                  <a:lnTo>
                    <a:pt x="1981" y="265"/>
                  </a:lnTo>
                  <a:lnTo>
                    <a:pt x="1923" y="220"/>
                  </a:lnTo>
                  <a:lnTo>
                    <a:pt x="1859" y="181"/>
                  </a:lnTo>
                  <a:lnTo>
                    <a:pt x="1790" y="146"/>
                  </a:lnTo>
                  <a:lnTo>
                    <a:pt x="1718" y="117"/>
                  </a:lnTo>
                  <a:lnTo>
                    <a:pt x="1638" y="93"/>
                  </a:lnTo>
                  <a:lnTo>
                    <a:pt x="1556" y="76"/>
                  </a:lnTo>
                  <a:lnTo>
                    <a:pt x="1468" y="66"/>
                  </a:lnTo>
                  <a:lnTo>
                    <a:pt x="1373" y="62"/>
                  </a:lnTo>
                  <a:lnTo>
                    <a:pt x="1292" y="66"/>
                  </a:lnTo>
                  <a:lnTo>
                    <a:pt x="1216" y="78"/>
                  </a:lnTo>
                  <a:lnTo>
                    <a:pt x="1146" y="95"/>
                  </a:lnTo>
                  <a:lnTo>
                    <a:pt x="1080" y="119"/>
                  </a:lnTo>
                  <a:lnTo>
                    <a:pt x="1020" y="146"/>
                  </a:lnTo>
                  <a:lnTo>
                    <a:pt x="965" y="177"/>
                  </a:lnTo>
                  <a:lnTo>
                    <a:pt x="916" y="212"/>
                  </a:lnTo>
                  <a:lnTo>
                    <a:pt x="896" y="229"/>
                  </a:lnTo>
                  <a:lnTo>
                    <a:pt x="873" y="246"/>
                  </a:lnTo>
                  <a:lnTo>
                    <a:pt x="851" y="267"/>
                  </a:lnTo>
                  <a:lnTo>
                    <a:pt x="825" y="289"/>
                  </a:lnTo>
                  <a:lnTo>
                    <a:pt x="799" y="317"/>
                  </a:lnTo>
                  <a:lnTo>
                    <a:pt x="772" y="346"/>
                  </a:lnTo>
                  <a:lnTo>
                    <a:pt x="744" y="381"/>
                  </a:lnTo>
                  <a:lnTo>
                    <a:pt x="717" y="418"/>
                  </a:lnTo>
                  <a:lnTo>
                    <a:pt x="691" y="460"/>
                  </a:lnTo>
                  <a:lnTo>
                    <a:pt x="663" y="508"/>
                  </a:lnTo>
                  <a:lnTo>
                    <a:pt x="637" y="560"/>
                  </a:lnTo>
                  <a:lnTo>
                    <a:pt x="613" y="618"/>
                  </a:lnTo>
                  <a:lnTo>
                    <a:pt x="591" y="682"/>
                  </a:lnTo>
                  <a:lnTo>
                    <a:pt x="570" y="752"/>
                  </a:lnTo>
                  <a:lnTo>
                    <a:pt x="551" y="828"/>
                  </a:lnTo>
                  <a:lnTo>
                    <a:pt x="536" y="912"/>
                  </a:lnTo>
                  <a:lnTo>
                    <a:pt x="524" y="1002"/>
                  </a:lnTo>
                  <a:lnTo>
                    <a:pt x="513" y="1100"/>
                  </a:lnTo>
                  <a:lnTo>
                    <a:pt x="508" y="1207"/>
                  </a:lnTo>
                  <a:lnTo>
                    <a:pt x="506" y="1322"/>
                  </a:lnTo>
                  <a:lnTo>
                    <a:pt x="508" y="1443"/>
                  </a:lnTo>
                  <a:lnTo>
                    <a:pt x="519" y="1560"/>
                  </a:lnTo>
                  <a:lnTo>
                    <a:pt x="532" y="1668"/>
                  </a:lnTo>
                  <a:lnTo>
                    <a:pt x="553" y="1771"/>
                  </a:lnTo>
                  <a:lnTo>
                    <a:pt x="579" y="1868"/>
                  </a:lnTo>
                  <a:lnTo>
                    <a:pt x="610" y="1959"/>
                  </a:lnTo>
                  <a:lnTo>
                    <a:pt x="644" y="2043"/>
                  </a:lnTo>
                  <a:lnTo>
                    <a:pt x="684" y="2121"/>
                  </a:lnTo>
                  <a:lnTo>
                    <a:pt x="729" y="2191"/>
                  </a:lnTo>
                  <a:lnTo>
                    <a:pt x="777" y="2255"/>
                  </a:lnTo>
                  <a:lnTo>
                    <a:pt x="829" y="2313"/>
                  </a:lnTo>
                  <a:lnTo>
                    <a:pt x="884" y="2365"/>
                  </a:lnTo>
                  <a:lnTo>
                    <a:pt x="941" y="2410"/>
                  </a:lnTo>
                  <a:lnTo>
                    <a:pt x="1003" y="2448"/>
                  </a:lnTo>
                  <a:lnTo>
                    <a:pt x="1066" y="2479"/>
                  </a:lnTo>
                  <a:lnTo>
                    <a:pt x="1132" y="2503"/>
                  </a:lnTo>
                  <a:lnTo>
                    <a:pt x="1201" y="2520"/>
                  </a:lnTo>
                  <a:lnTo>
                    <a:pt x="1271" y="2530"/>
                  </a:lnTo>
                  <a:lnTo>
                    <a:pt x="1342" y="2534"/>
                  </a:lnTo>
                  <a:lnTo>
                    <a:pt x="1397" y="2532"/>
                  </a:lnTo>
                  <a:lnTo>
                    <a:pt x="1454" y="2527"/>
                  </a:lnTo>
                  <a:lnTo>
                    <a:pt x="1509" y="2520"/>
                  </a:lnTo>
                  <a:lnTo>
                    <a:pt x="1563" y="2508"/>
                  </a:lnTo>
                  <a:lnTo>
                    <a:pt x="1616" y="2494"/>
                  </a:lnTo>
                  <a:lnTo>
                    <a:pt x="1666" y="2475"/>
                  </a:lnTo>
                  <a:lnTo>
                    <a:pt x="1712" y="2453"/>
                  </a:lnTo>
                  <a:lnTo>
                    <a:pt x="1755" y="2425"/>
                  </a:lnTo>
                  <a:lnTo>
                    <a:pt x="1792" y="2394"/>
                  </a:lnTo>
                  <a:lnTo>
                    <a:pt x="1824" y="2358"/>
                  </a:lnTo>
                  <a:lnTo>
                    <a:pt x="1824" y="1640"/>
                  </a:lnTo>
                  <a:lnTo>
                    <a:pt x="1588" y="1776"/>
                  </a:lnTo>
                  <a:lnTo>
                    <a:pt x="1588" y="1601"/>
                  </a:lnTo>
                  <a:lnTo>
                    <a:pt x="2326" y="1176"/>
                  </a:lnTo>
                  <a:lnTo>
                    <a:pt x="2326" y="2346"/>
                  </a:lnTo>
                  <a:lnTo>
                    <a:pt x="2271" y="2386"/>
                  </a:lnTo>
                  <a:lnTo>
                    <a:pt x="2207" y="2420"/>
                  </a:lnTo>
                  <a:lnTo>
                    <a:pt x="2138" y="2453"/>
                  </a:lnTo>
                  <a:lnTo>
                    <a:pt x="2064" y="2482"/>
                  </a:lnTo>
                  <a:lnTo>
                    <a:pt x="1986" y="2506"/>
                  </a:lnTo>
                  <a:lnTo>
                    <a:pt x="1907" y="2529"/>
                  </a:lnTo>
                  <a:lnTo>
                    <a:pt x="1824" y="2548"/>
                  </a:lnTo>
                  <a:lnTo>
                    <a:pt x="1723" y="2566"/>
                  </a:lnTo>
                  <a:lnTo>
                    <a:pt x="1621" y="2580"/>
                  </a:lnTo>
                  <a:lnTo>
                    <a:pt x="1519" y="2591"/>
                  </a:lnTo>
                  <a:lnTo>
                    <a:pt x="1420" y="2596"/>
                  </a:lnTo>
                  <a:lnTo>
                    <a:pt x="1325" y="2597"/>
                  </a:lnTo>
                  <a:lnTo>
                    <a:pt x="1266" y="2597"/>
                  </a:lnTo>
                  <a:lnTo>
                    <a:pt x="1202" y="2592"/>
                  </a:lnTo>
                  <a:lnTo>
                    <a:pt x="1139" y="2585"/>
                  </a:lnTo>
                  <a:lnTo>
                    <a:pt x="1073" y="2573"/>
                  </a:lnTo>
                  <a:lnTo>
                    <a:pt x="1006" y="2560"/>
                  </a:lnTo>
                  <a:lnTo>
                    <a:pt x="939" y="2542"/>
                  </a:lnTo>
                  <a:lnTo>
                    <a:pt x="870" y="2522"/>
                  </a:lnTo>
                  <a:lnTo>
                    <a:pt x="801" y="2498"/>
                  </a:lnTo>
                  <a:lnTo>
                    <a:pt x="734" y="2470"/>
                  </a:lnTo>
                  <a:lnTo>
                    <a:pt x="667" y="2437"/>
                  </a:lnTo>
                  <a:lnTo>
                    <a:pt x="600" y="2401"/>
                  </a:lnTo>
                  <a:lnTo>
                    <a:pt x="536" y="2362"/>
                  </a:lnTo>
                  <a:lnTo>
                    <a:pt x="472" y="2319"/>
                  </a:lnTo>
                  <a:lnTo>
                    <a:pt x="412" y="2270"/>
                  </a:lnTo>
                  <a:lnTo>
                    <a:pt x="353" y="2217"/>
                  </a:lnTo>
                  <a:lnTo>
                    <a:pt x="298" y="2160"/>
                  </a:lnTo>
                  <a:lnTo>
                    <a:pt x="246" y="2100"/>
                  </a:lnTo>
                  <a:lnTo>
                    <a:pt x="200" y="2035"/>
                  </a:lnTo>
                  <a:lnTo>
                    <a:pt x="155" y="1964"/>
                  </a:lnTo>
                  <a:lnTo>
                    <a:pt x="117" y="1888"/>
                  </a:lnTo>
                  <a:lnTo>
                    <a:pt x="83" y="1809"/>
                  </a:lnTo>
                  <a:lnTo>
                    <a:pt x="53" y="1723"/>
                  </a:lnTo>
                  <a:lnTo>
                    <a:pt x="31" y="1634"/>
                  </a:lnTo>
                  <a:lnTo>
                    <a:pt x="14" y="1537"/>
                  </a:lnTo>
                  <a:lnTo>
                    <a:pt x="3" y="1437"/>
                  </a:lnTo>
                  <a:lnTo>
                    <a:pt x="0" y="1331"/>
                  </a:lnTo>
                  <a:lnTo>
                    <a:pt x="3" y="1214"/>
                  </a:lnTo>
                  <a:lnTo>
                    <a:pt x="14" y="1103"/>
                  </a:lnTo>
                  <a:lnTo>
                    <a:pt x="31" y="1000"/>
                  </a:lnTo>
                  <a:lnTo>
                    <a:pt x="55" y="902"/>
                  </a:lnTo>
                  <a:lnTo>
                    <a:pt x="84" y="809"/>
                  </a:lnTo>
                  <a:lnTo>
                    <a:pt x="121" y="723"/>
                  </a:lnTo>
                  <a:lnTo>
                    <a:pt x="160" y="642"/>
                  </a:lnTo>
                  <a:lnTo>
                    <a:pt x="205" y="566"/>
                  </a:lnTo>
                  <a:lnTo>
                    <a:pt x="255" y="496"/>
                  </a:lnTo>
                  <a:lnTo>
                    <a:pt x="310" y="432"/>
                  </a:lnTo>
                  <a:lnTo>
                    <a:pt x="367" y="372"/>
                  </a:lnTo>
                  <a:lnTo>
                    <a:pt x="429" y="317"/>
                  </a:lnTo>
                  <a:lnTo>
                    <a:pt x="493" y="267"/>
                  </a:lnTo>
                  <a:lnTo>
                    <a:pt x="562" y="222"/>
                  </a:lnTo>
                  <a:lnTo>
                    <a:pt x="631" y="181"/>
                  </a:lnTo>
                  <a:lnTo>
                    <a:pt x="703" y="145"/>
                  </a:lnTo>
                  <a:lnTo>
                    <a:pt x="777" y="114"/>
                  </a:lnTo>
                  <a:lnTo>
                    <a:pt x="853" y="86"/>
                  </a:lnTo>
                  <a:lnTo>
                    <a:pt x="929" y="62"/>
                  </a:lnTo>
                  <a:lnTo>
                    <a:pt x="1006" y="43"/>
                  </a:lnTo>
                  <a:lnTo>
                    <a:pt x="1084" y="26"/>
                  </a:lnTo>
                  <a:lnTo>
                    <a:pt x="1161" y="14"/>
                  </a:lnTo>
                  <a:lnTo>
                    <a:pt x="1237" y="7"/>
                  </a:lnTo>
                  <a:lnTo>
                    <a:pt x="1314" y="2"/>
                  </a:lnTo>
                  <a:lnTo>
                    <a:pt x="1390" y="0"/>
                  </a:lnTo>
                  <a:close/>
                </a:path>
              </a:pathLst>
            </a:custGeom>
            <a:solidFill>
              <a:schemeClr val="bg2"/>
            </a:solidFill>
            <a:ln w="0">
              <a:noFill/>
              <a:prstDash val="solid"/>
              <a:round/>
              <a:headEnd/>
              <a:tailEnd/>
            </a:ln>
          </p:spPr>
          <p:txBody>
            <a:bodyPr rot="0" vert="horz" wrap="square" lIns="91440" tIns="45720" rIns="91440" bIns="45720" anchor="t" anchorCtr="0" upright="1">
              <a:noAutofit/>
            </a:bodyPr>
            <a:lstStyle/>
            <a:p>
              <a:endParaRPr lang="en-IN" dirty="0"/>
            </a:p>
          </p:txBody>
        </p:sp>
        <p:sp>
          <p:nvSpPr>
            <p:cNvPr id="9" name="Rectangle 8">
              <a:extLst>
                <a:ext uri="{FF2B5EF4-FFF2-40B4-BE49-F238E27FC236}">
                  <a16:creationId xmlns:a16="http://schemas.microsoft.com/office/drawing/2014/main" xmlns="" id="{946A03D6-E0C4-4F3A-B0BF-C8BCC8B93E23}"/>
                </a:ext>
              </a:extLst>
            </p:cNvPr>
            <p:cNvSpPr>
              <a:spLocks noChangeArrowheads="1"/>
            </p:cNvSpPr>
            <p:nvPr userDrawn="1"/>
          </p:nvSpPr>
          <p:spPr bwMode="auto">
            <a:xfrm>
              <a:off x="711200" y="2074821"/>
              <a:ext cx="3552825" cy="24130"/>
            </a:xfrm>
            <a:prstGeom prst="rect">
              <a:avLst/>
            </a:prstGeom>
            <a:solidFill>
              <a:srgbClr val="FFCC00"/>
            </a:solidFill>
            <a:ln w="0">
              <a:solidFill>
                <a:srgbClr val="FFCC00"/>
              </a:solidFill>
              <a:prstDash val="solid"/>
              <a:miter lim="800000"/>
              <a:headEnd/>
              <a:tailEnd/>
            </a:ln>
          </p:spPr>
          <p:txBody>
            <a:bodyPr rot="0" vert="horz" wrap="square" lIns="91440" tIns="45720" rIns="91440" bIns="45720" anchor="t" anchorCtr="0" upright="1">
              <a:noAutofit/>
            </a:bodyPr>
            <a:lstStyle/>
            <a:p>
              <a:endParaRPr lang="en-IN" dirty="0"/>
            </a:p>
          </p:txBody>
        </p:sp>
        <p:grpSp>
          <p:nvGrpSpPr>
            <p:cNvPr id="10" name="Group 9">
              <a:extLst>
                <a:ext uri="{FF2B5EF4-FFF2-40B4-BE49-F238E27FC236}">
                  <a16:creationId xmlns:a16="http://schemas.microsoft.com/office/drawing/2014/main" xmlns="" id="{C5657F55-3009-4D01-BAE6-55B816FBCB99}"/>
                </a:ext>
              </a:extLst>
            </p:cNvPr>
            <p:cNvGrpSpPr/>
            <p:nvPr userDrawn="1"/>
          </p:nvGrpSpPr>
          <p:grpSpPr>
            <a:xfrm>
              <a:off x="711200" y="2293261"/>
              <a:ext cx="3552825" cy="463550"/>
              <a:chOff x="25400" y="2293261"/>
              <a:chExt cx="3552825" cy="463550"/>
            </a:xfrm>
            <a:solidFill>
              <a:schemeClr val="bg2"/>
            </a:solidFill>
          </p:grpSpPr>
          <p:sp>
            <p:nvSpPr>
              <p:cNvPr id="11" name="Freeform 9">
                <a:extLst>
                  <a:ext uri="{FF2B5EF4-FFF2-40B4-BE49-F238E27FC236}">
                    <a16:creationId xmlns:a16="http://schemas.microsoft.com/office/drawing/2014/main" xmlns="" id="{6CD8E857-D3CD-46EE-96C1-5FF9E30DBCEA}"/>
                  </a:ext>
                </a:extLst>
              </p:cNvPr>
              <p:cNvSpPr>
                <a:spLocks/>
              </p:cNvSpPr>
              <p:nvPr userDrawn="1"/>
            </p:nvSpPr>
            <p:spPr bwMode="auto">
              <a:xfrm>
                <a:off x="191135" y="2715536"/>
                <a:ext cx="40640" cy="40005"/>
              </a:xfrm>
              <a:custGeom>
                <a:avLst/>
                <a:gdLst>
                  <a:gd name="T0" fmla="*/ 31 w 64"/>
                  <a:gd name="T1" fmla="*/ 0 h 63"/>
                  <a:gd name="T2" fmla="*/ 40 w 64"/>
                  <a:gd name="T3" fmla="*/ 1 h 63"/>
                  <a:gd name="T4" fmla="*/ 47 w 64"/>
                  <a:gd name="T5" fmla="*/ 3 h 63"/>
                  <a:gd name="T6" fmla="*/ 54 w 64"/>
                  <a:gd name="T7" fmla="*/ 8 h 63"/>
                  <a:gd name="T8" fmla="*/ 59 w 64"/>
                  <a:gd name="T9" fmla="*/ 15 h 63"/>
                  <a:gd name="T10" fmla="*/ 62 w 64"/>
                  <a:gd name="T11" fmla="*/ 24 h 63"/>
                  <a:gd name="T12" fmla="*/ 64 w 64"/>
                  <a:gd name="T13" fmla="*/ 31 h 63"/>
                  <a:gd name="T14" fmla="*/ 62 w 64"/>
                  <a:gd name="T15" fmla="*/ 39 h 63"/>
                  <a:gd name="T16" fmla="*/ 59 w 64"/>
                  <a:gd name="T17" fmla="*/ 48 h 63"/>
                  <a:gd name="T18" fmla="*/ 54 w 64"/>
                  <a:gd name="T19" fmla="*/ 53 h 63"/>
                  <a:gd name="T20" fmla="*/ 47 w 64"/>
                  <a:gd name="T21" fmla="*/ 60 h 63"/>
                  <a:gd name="T22" fmla="*/ 40 w 64"/>
                  <a:gd name="T23" fmla="*/ 62 h 63"/>
                  <a:gd name="T24" fmla="*/ 31 w 64"/>
                  <a:gd name="T25" fmla="*/ 63 h 63"/>
                  <a:gd name="T26" fmla="*/ 25 w 64"/>
                  <a:gd name="T27" fmla="*/ 62 h 63"/>
                  <a:gd name="T28" fmla="*/ 16 w 64"/>
                  <a:gd name="T29" fmla="*/ 60 h 63"/>
                  <a:gd name="T30" fmla="*/ 9 w 64"/>
                  <a:gd name="T31" fmla="*/ 53 h 63"/>
                  <a:gd name="T32" fmla="*/ 4 w 64"/>
                  <a:gd name="T33" fmla="*/ 48 h 63"/>
                  <a:gd name="T34" fmla="*/ 2 w 64"/>
                  <a:gd name="T35" fmla="*/ 39 h 63"/>
                  <a:gd name="T36" fmla="*/ 0 w 64"/>
                  <a:gd name="T37" fmla="*/ 31 h 63"/>
                  <a:gd name="T38" fmla="*/ 2 w 64"/>
                  <a:gd name="T39" fmla="*/ 24 h 63"/>
                  <a:gd name="T40" fmla="*/ 4 w 64"/>
                  <a:gd name="T41" fmla="*/ 15 h 63"/>
                  <a:gd name="T42" fmla="*/ 9 w 64"/>
                  <a:gd name="T43" fmla="*/ 8 h 63"/>
                  <a:gd name="T44" fmla="*/ 16 w 64"/>
                  <a:gd name="T45" fmla="*/ 3 h 63"/>
                  <a:gd name="T46" fmla="*/ 25 w 64"/>
                  <a:gd name="T47" fmla="*/ 1 h 63"/>
                  <a:gd name="T48" fmla="*/ 31 w 64"/>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3">
                    <a:moveTo>
                      <a:pt x="31" y="0"/>
                    </a:moveTo>
                    <a:lnTo>
                      <a:pt x="40" y="1"/>
                    </a:lnTo>
                    <a:lnTo>
                      <a:pt x="47" y="3"/>
                    </a:lnTo>
                    <a:lnTo>
                      <a:pt x="54" y="8"/>
                    </a:lnTo>
                    <a:lnTo>
                      <a:pt x="59" y="15"/>
                    </a:lnTo>
                    <a:lnTo>
                      <a:pt x="62" y="24"/>
                    </a:lnTo>
                    <a:lnTo>
                      <a:pt x="64" y="31"/>
                    </a:lnTo>
                    <a:lnTo>
                      <a:pt x="62" y="39"/>
                    </a:lnTo>
                    <a:lnTo>
                      <a:pt x="59" y="48"/>
                    </a:lnTo>
                    <a:lnTo>
                      <a:pt x="54" y="53"/>
                    </a:lnTo>
                    <a:lnTo>
                      <a:pt x="47" y="60"/>
                    </a:lnTo>
                    <a:lnTo>
                      <a:pt x="40" y="62"/>
                    </a:lnTo>
                    <a:lnTo>
                      <a:pt x="31" y="63"/>
                    </a:lnTo>
                    <a:lnTo>
                      <a:pt x="25" y="62"/>
                    </a:lnTo>
                    <a:lnTo>
                      <a:pt x="16" y="60"/>
                    </a:lnTo>
                    <a:lnTo>
                      <a:pt x="9" y="53"/>
                    </a:lnTo>
                    <a:lnTo>
                      <a:pt x="4" y="48"/>
                    </a:lnTo>
                    <a:lnTo>
                      <a:pt x="2" y="39"/>
                    </a:lnTo>
                    <a:lnTo>
                      <a:pt x="0" y="31"/>
                    </a:lnTo>
                    <a:lnTo>
                      <a:pt x="2" y="24"/>
                    </a:lnTo>
                    <a:lnTo>
                      <a:pt x="4" y="15"/>
                    </a:lnTo>
                    <a:lnTo>
                      <a:pt x="9" y="8"/>
                    </a:lnTo>
                    <a:lnTo>
                      <a:pt x="16" y="3"/>
                    </a:lnTo>
                    <a:lnTo>
                      <a:pt x="25" y="1"/>
                    </a:lnTo>
                    <a:lnTo>
                      <a:pt x="31"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12" name="Freeform 10">
                <a:extLst>
                  <a:ext uri="{FF2B5EF4-FFF2-40B4-BE49-F238E27FC236}">
                    <a16:creationId xmlns:a16="http://schemas.microsoft.com/office/drawing/2014/main" xmlns="" id="{8ADE181D-660C-47C3-A616-DD2A7B1A98A3}"/>
                  </a:ext>
                </a:extLst>
              </p:cNvPr>
              <p:cNvSpPr>
                <a:spLocks/>
              </p:cNvSpPr>
              <p:nvPr userDrawn="1"/>
            </p:nvSpPr>
            <p:spPr bwMode="auto">
              <a:xfrm>
                <a:off x="130175" y="2715536"/>
                <a:ext cx="40640" cy="40005"/>
              </a:xfrm>
              <a:custGeom>
                <a:avLst/>
                <a:gdLst>
                  <a:gd name="T0" fmla="*/ 33 w 64"/>
                  <a:gd name="T1" fmla="*/ 0 h 63"/>
                  <a:gd name="T2" fmla="*/ 40 w 64"/>
                  <a:gd name="T3" fmla="*/ 1 h 63"/>
                  <a:gd name="T4" fmla="*/ 48 w 64"/>
                  <a:gd name="T5" fmla="*/ 3 h 63"/>
                  <a:gd name="T6" fmla="*/ 55 w 64"/>
                  <a:gd name="T7" fmla="*/ 8 h 63"/>
                  <a:gd name="T8" fmla="*/ 60 w 64"/>
                  <a:gd name="T9" fmla="*/ 15 h 63"/>
                  <a:gd name="T10" fmla="*/ 62 w 64"/>
                  <a:gd name="T11" fmla="*/ 24 h 63"/>
                  <a:gd name="T12" fmla="*/ 64 w 64"/>
                  <a:gd name="T13" fmla="*/ 31 h 63"/>
                  <a:gd name="T14" fmla="*/ 62 w 64"/>
                  <a:gd name="T15" fmla="*/ 39 h 63"/>
                  <a:gd name="T16" fmla="*/ 60 w 64"/>
                  <a:gd name="T17" fmla="*/ 48 h 63"/>
                  <a:gd name="T18" fmla="*/ 55 w 64"/>
                  <a:gd name="T19" fmla="*/ 53 h 63"/>
                  <a:gd name="T20" fmla="*/ 48 w 64"/>
                  <a:gd name="T21" fmla="*/ 60 h 63"/>
                  <a:gd name="T22" fmla="*/ 40 w 64"/>
                  <a:gd name="T23" fmla="*/ 62 h 63"/>
                  <a:gd name="T24" fmla="*/ 33 w 64"/>
                  <a:gd name="T25" fmla="*/ 63 h 63"/>
                  <a:gd name="T26" fmla="*/ 24 w 64"/>
                  <a:gd name="T27" fmla="*/ 62 h 63"/>
                  <a:gd name="T28" fmla="*/ 16 w 64"/>
                  <a:gd name="T29" fmla="*/ 60 h 63"/>
                  <a:gd name="T30" fmla="*/ 10 w 64"/>
                  <a:gd name="T31" fmla="*/ 53 h 63"/>
                  <a:gd name="T32" fmla="*/ 5 w 64"/>
                  <a:gd name="T33" fmla="*/ 48 h 63"/>
                  <a:gd name="T34" fmla="*/ 2 w 64"/>
                  <a:gd name="T35" fmla="*/ 39 h 63"/>
                  <a:gd name="T36" fmla="*/ 0 w 64"/>
                  <a:gd name="T37" fmla="*/ 31 h 63"/>
                  <a:gd name="T38" fmla="*/ 2 w 64"/>
                  <a:gd name="T39" fmla="*/ 24 h 63"/>
                  <a:gd name="T40" fmla="*/ 5 w 64"/>
                  <a:gd name="T41" fmla="*/ 15 h 63"/>
                  <a:gd name="T42" fmla="*/ 10 w 64"/>
                  <a:gd name="T43" fmla="*/ 8 h 63"/>
                  <a:gd name="T44" fmla="*/ 16 w 64"/>
                  <a:gd name="T45" fmla="*/ 3 h 63"/>
                  <a:gd name="T46" fmla="*/ 24 w 64"/>
                  <a:gd name="T47" fmla="*/ 1 h 63"/>
                  <a:gd name="T48" fmla="*/ 33 w 64"/>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3">
                    <a:moveTo>
                      <a:pt x="33" y="0"/>
                    </a:moveTo>
                    <a:lnTo>
                      <a:pt x="40" y="1"/>
                    </a:lnTo>
                    <a:lnTo>
                      <a:pt x="48" y="3"/>
                    </a:lnTo>
                    <a:lnTo>
                      <a:pt x="55" y="8"/>
                    </a:lnTo>
                    <a:lnTo>
                      <a:pt x="60" y="15"/>
                    </a:lnTo>
                    <a:lnTo>
                      <a:pt x="62" y="24"/>
                    </a:lnTo>
                    <a:lnTo>
                      <a:pt x="64" y="31"/>
                    </a:lnTo>
                    <a:lnTo>
                      <a:pt x="62" y="39"/>
                    </a:lnTo>
                    <a:lnTo>
                      <a:pt x="60" y="48"/>
                    </a:lnTo>
                    <a:lnTo>
                      <a:pt x="55" y="53"/>
                    </a:lnTo>
                    <a:lnTo>
                      <a:pt x="48" y="60"/>
                    </a:lnTo>
                    <a:lnTo>
                      <a:pt x="40" y="62"/>
                    </a:lnTo>
                    <a:lnTo>
                      <a:pt x="33" y="63"/>
                    </a:lnTo>
                    <a:lnTo>
                      <a:pt x="24" y="62"/>
                    </a:lnTo>
                    <a:lnTo>
                      <a:pt x="16" y="60"/>
                    </a:lnTo>
                    <a:lnTo>
                      <a:pt x="10" y="53"/>
                    </a:lnTo>
                    <a:lnTo>
                      <a:pt x="5" y="48"/>
                    </a:lnTo>
                    <a:lnTo>
                      <a:pt x="2" y="39"/>
                    </a:lnTo>
                    <a:lnTo>
                      <a:pt x="0" y="31"/>
                    </a:lnTo>
                    <a:lnTo>
                      <a:pt x="2" y="24"/>
                    </a:lnTo>
                    <a:lnTo>
                      <a:pt x="5" y="15"/>
                    </a:lnTo>
                    <a:lnTo>
                      <a:pt x="10" y="8"/>
                    </a:lnTo>
                    <a:lnTo>
                      <a:pt x="16" y="3"/>
                    </a:lnTo>
                    <a:lnTo>
                      <a:pt x="24" y="1"/>
                    </a:lnTo>
                    <a:lnTo>
                      <a:pt x="33"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13" name="Freeform 11">
                <a:extLst>
                  <a:ext uri="{FF2B5EF4-FFF2-40B4-BE49-F238E27FC236}">
                    <a16:creationId xmlns:a16="http://schemas.microsoft.com/office/drawing/2014/main" xmlns="" id="{4EEB24DD-AD50-466D-88EB-9C0EA9255D8D}"/>
                  </a:ext>
                </a:extLst>
              </p:cNvPr>
              <p:cNvSpPr>
                <a:spLocks/>
              </p:cNvSpPr>
              <p:nvPr userDrawn="1"/>
            </p:nvSpPr>
            <p:spPr bwMode="auto">
              <a:xfrm>
                <a:off x="25400" y="2316121"/>
                <a:ext cx="548005" cy="363220"/>
              </a:xfrm>
              <a:custGeom>
                <a:avLst/>
                <a:gdLst>
                  <a:gd name="T0" fmla="*/ 816 w 863"/>
                  <a:gd name="T1" fmla="*/ 0 h 572"/>
                  <a:gd name="T2" fmla="*/ 863 w 863"/>
                  <a:gd name="T3" fmla="*/ 0 h 572"/>
                  <a:gd name="T4" fmla="*/ 863 w 863"/>
                  <a:gd name="T5" fmla="*/ 396 h 572"/>
                  <a:gd name="T6" fmla="*/ 448 w 863"/>
                  <a:gd name="T7" fmla="*/ 396 h 572"/>
                  <a:gd name="T8" fmla="*/ 451 w 863"/>
                  <a:gd name="T9" fmla="*/ 400 h 572"/>
                  <a:gd name="T10" fmla="*/ 463 w 863"/>
                  <a:gd name="T11" fmla="*/ 413 h 572"/>
                  <a:gd name="T12" fmla="*/ 472 w 863"/>
                  <a:gd name="T13" fmla="*/ 429 h 572"/>
                  <a:gd name="T14" fmla="*/ 477 w 863"/>
                  <a:gd name="T15" fmla="*/ 446 h 572"/>
                  <a:gd name="T16" fmla="*/ 479 w 863"/>
                  <a:gd name="T17" fmla="*/ 460 h 572"/>
                  <a:gd name="T18" fmla="*/ 475 w 863"/>
                  <a:gd name="T19" fmla="*/ 481 h 572"/>
                  <a:gd name="T20" fmla="*/ 466 w 863"/>
                  <a:gd name="T21" fmla="*/ 501 h 572"/>
                  <a:gd name="T22" fmla="*/ 449 w 863"/>
                  <a:gd name="T23" fmla="*/ 520 h 572"/>
                  <a:gd name="T24" fmla="*/ 425 w 863"/>
                  <a:gd name="T25" fmla="*/ 537 h 572"/>
                  <a:gd name="T26" fmla="*/ 392 w 863"/>
                  <a:gd name="T27" fmla="*/ 551 h 572"/>
                  <a:gd name="T28" fmla="*/ 353 w 863"/>
                  <a:gd name="T29" fmla="*/ 561 h 572"/>
                  <a:gd name="T30" fmla="*/ 320 w 863"/>
                  <a:gd name="T31" fmla="*/ 567 h 572"/>
                  <a:gd name="T32" fmla="*/ 284 w 863"/>
                  <a:gd name="T33" fmla="*/ 570 h 572"/>
                  <a:gd name="T34" fmla="*/ 243 w 863"/>
                  <a:gd name="T35" fmla="*/ 572 h 572"/>
                  <a:gd name="T36" fmla="*/ 198 w 863"/>
                  <a:gd name="T37" fmla="*/ 570 h 572"/>
                  <a:gd name="T38" fmla="*/ 158 w 863"/>
                  <a:gd name="T39" fmla="*/ 565 h 572"/>
                  <a:gd name="T40" fmla="*/ 124 w 863"/>
                  <a:gd name="T41" fmla="*/ 558 h 572"/>
                  <a:gd name="T42" fmla="*/ 94 w 863"/>
                  <a:gd name="T43" fmla="*/ 548 h 572"/>
                  <a:gd name="T44" fmla="*/ 70 w 863"/>
                  <a:gd name="T45" fmla="*/ 536 h 572"/>
                  <a:gd name="T46" fmla="*/ 50 w 863"/>
                  <a:gd name="T47" fmla="*/ 522 h 572"/>
                  <a:gd name="T48" fmla="*/ 25 w 863"/>
                  <a:gd name="T49" fmla="*/ 498 h 572"/>
                  <a:gd name="T50" fmla="*/ 10 w 863"/>
                  <a:gd name="T51" fmla="*/ 469 h 572"/>
                  <a:gd name="T52" fmla="*/ 1 w 863"/>
                  <a:gd name="T53" fmla="*/ 436 h 572"/>
                  <a:gd name="T54" fmla="*/ 0 w 863"/>
                  <a:gd name="T55" fmla="*/ 401 h 572"/>
                  <a:gd name="T56" fmla="*/ 0 w 863"/>
                  <a:gd name="T57" fmla="*/ 295 h 572"/>
                  <a:gd name="T58" fmla="*/ 44 w 863"/>
                  <a:gd name="T59" fmla="*/ 295 h 572"/>
                  <a:gd name="T60" fmla="*/ 44 w 863"/>
                  <a:gd name="T61" fmla="*/ 391 h 572"/>
                  <a:gd name="T62" fmla="*/ 46 w 863"/>
                  <a:gd name="T63" fmla="*/ 422 h 572"/>
                  <a:gd name="T64" fmla="*/ 55 w 863"/>
                  <a:gd name="T65" fmla="*/ 451 h 572"/>
                  <a:gd name="T66" fmla="*/ 70 w 863"/>
                  <a:gd name="T67" fmla="*/ 474 h 572"/>
                  <a:gd name="T68" fmla="*/ 91 w 863"/>
                  <a:gd name="T69" fmla="*/ 493 h 572"/>
                  <a:gd name="T70" fmla="*/ 118 w 863"/>
                  <a:gd name="T71" fmla="*/ 506 h 572"/>
                  <a:gd name="T72" fmla="*/ 153 w 863"/>
                  <a:gd name="T73" fmla="*/ 517 h 572"/>
                  <a:gd name="T74" fmla="*/ 194 w 863"/>
                  <a:gd name="T75" fmla="*/ 522 h 572"/>
                  <a:gd name="T76" fmla="*/ 244 w 863"/>
                  <a:gd name="T77" fmla="*/ 524 h 572"/>
                  <a:gd name="T78" fmla="*/ 282 w 863"/>
                  <a:gd name="T79" fmla="*/ 524 h 572"/>
                  <a:gd name="T80" fmla="*/ 318 w 863"/>
                  <a:gd name="T81" fmla="*/ 520 h 572"/>
                  <a:gd name="T82" fmla="*/ 351 w 863"/>
                  <a:gd name="T83" fmla="*/ 515 h 572"/>
                  <a:gd name="T84" fmla="*/ 380 w 863"/>
                  <a:gd name="T85" fmla="*/ 506 h 572"/>
                  <a:gd name="T86" fmla="*/ 404 w 863"/>
                  <a:gd name="T87" fmla="*/ 498 h 572"/>
                  <a:gd name="T88" fmla="*/ 422 w 863"/>
                  <a:gd name="T89" fmla="*/ 486 h 572"/>
                  <a:gd name="T90" fmla="*/ 434 w 863"/>
                  <a:gd name="T91" fmla="*/ 470 h 572"/>
                  <a:gd name="T92" fmla="*/ 437 w 863"/>
                  <a:gd name="T93" fmla="*/ 455 h 572"/>
                  <a:gd name="T94" fmla="*/ 434 w 863"/>
                  <a:gd name="T95" fmla="*/ 439 h 572"/>
                  <a:gd name="T96" fmla="*/ 423 w 863"/>
                  <a:gd name="T97" fmla="*/ 425 h 572"/>
                  <a:gd name="T98" fmla="*/ 408 w 863"/>
                  <a:gd name="T99" fmla="*/ 413 h 572"/>
                  <a:gd name="T100" fmla="*/ 389 w 863"/>
                  <a:gd name="T101" fmla="*/ 403 h 572"/>
                  <a:gd name="T102" fmla="*/ 367 w 863"/>
                  <a:gd name="T103" fmla="*/ 393 h 572"/>
                  <a:gd name="T104" fmla="*/ 344 w 863"/>
                  <a:gd name="T105" fmla="*/ 384 h 572"/>
                  <a:gd name="T106" fmla="*/ 296 w 863"/>
                  <a:gd name="T107" fmla="*/ 369 h 572"/>
                  <a:gd name="T108" fmla="*/ 274 w 863"/>
                  <a:gd name="T109" fmla="*/ 364 h 572"/>
                  <a:gd name="T110" fmla="*/ 274 w 863"/>
                  <a:gd name="T111" fmla="*/ 317 h 572"/>
                  <a:gd name="T112" fmla="*/ 275 w 863"/>
                  <a:gd name="T113" fmla="*/ 317 h 572"/>
                  <a:gd name="T114" fmla="*/ 315 w 863"/>
                  <a:gd name="T115" fmla="*/ 329 h 572"/>
                  <a:gd name="T116" fmla="*/ 360 w 863"/>
                  <a:gd name="T117" fmla="*/ 339 h 572"/>
                  <a:gd name="T118" fmla="*/ 403 w 863"/>
                  <a:gd name="T119" fmla="*/ 348 h 572"/>
                  <a:gd name="T120" fmla="*/ 442 w 863"/>
                  <a:gd name="T121" fmla="*/ 350 h 572"/>
                  <a:gd name="T122" fmla="*/ 816 w 863"/>
                  <a:gd name="T123" fmla="*/ 350 h 572"/>
                  <a:gd name="T124" fmla="*/ 816 w 863"/>
                  <a:gd name="T125" fmla="*/ 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3" h="572">
                    <a:moveTo>
                      <a:pt x="816" y="0"/>
                    </a:moveTo>
                    <a:lnTo>
                      <a:pt x="863" y="0"/>
                    </a:lnTo>
                    <a:lnTo>
                      <a:pt x="863" y="396"/>
                    </a:lnTo>
                    <a:lnTo>
                      <a:pt x="448" y="396"/>
                    </a:lnTo>
                    <a:lnTo>
                      <a:pt x="451" y="400"/>
                    </a:lnTo>
                    <a:lnTo>
                      <a:pt x="463" y="413"/>
                    </a:lnTo>
                    <a:lnTo>
                      <a:pt x="472" y="429"/>
                    </a:lnTo>
                    <a:lnTo>
                      <a:pt x="477" y="446"/>
                    </a:lnTo>
                    <a:lnTo>
                      <a:pt x="479" y="460"/>
                    </a:lnTo>
                    <a:lnTo>
                      <a:pt x="475" y="481"/>
                    </a:lnTo>
                    <a:lnTo>
                      <a:pt x="466" y="501"/>
                    </a:lnTo>
                    <a:lnTo>
                      <a:pt x="449" y="520"/>
                    </a:lnTo>
                    <a:lnTo>
                      <a:pt x="425" y="537"/>
                    </a:lnTo>
                    <a:lnTo>
                      <a:pt x="392" y="551"/>
                    </a:lnTo>
                    <a:lnTo>
                      <a:pt x="353" y="561"/>
                    </a:lnTo>
                    <a:lnTo>
                      <a:pt x="320" y="567"/>
                    </a:lnTo>
                    <a:lnTo>
                      <a:pt x="284" y="570"/>
                    </a:lnTo>
                    <a:lnTo>
                      <a:pt x="243" y="572"/>
                    </a:lnTo>
                    <a:lnTo>
                      <a:pt x="198" y="570"/>
                    </a:lnTo>
                    <a:lnTo>
                      <a:pt x="158" y="565"/>
                    </a:lnTo>
                    <a:lnTo>
                      <a:pt x="124" y="558"/>
                    </a:lnTo>
                    <a:lnTo>
                      <a:pt x="94" y="548"/>
                    </a:lnTo>
                    <a:lnTo>
                      <a:pt x="70" y="536"/>
                    </a:lnTo>
                    <a:lnTo>
                      <a:pt x="50" y="522"/>
                    </a:lnTo>
                    <a:lnTo>
                      <a:pt x="25" y="498"/>
                    </a:lnTo>
                    <a:lnTo>
                      <a:pt x="10" y="469"/>
                    </a:lnTo>
                    <a:lnTo>
                      <a:pt x="1" y="436"/>
                    </a:lnTo>
                    <a:lnTo>
                      <a:pt x="0" y="401"/>
                    </a:lnTo>
                    <a:lnTo>
                      <a:pt x="0" y="295"/>
                    </a:lnTo>
                    <a:lnTo>
                      <a:pt x="44" y="295"/>
                    </a:lnTo>
                    <a:lnTo>
                      <a:pt x="44" y="391"/>
                    </a:lnTo>
                    <a:lnTo>
                      <a:pt x="46" y="422"/>
                    </a:lnTo>
                    <a:lnTo>
                      <a:pt x="55" y="451"/>
                    </a:lnTo>
                    <a:lnTo>
                      <a:pt x="70" y="474"/>
                    </a:lnTo>
                    <a:lnTo>
                      <a:pt x="91" y="493"/>
                    </a:lnTo>
                    <a:lnTo>
                      <a:pt x="118" y="506"/>
                    </a:lnTo>
                    <a:lnTo>
                      <a:pt x="153" y="517"/>
                    </a:lnTo>
                    <a:lnTo>
                      <a:pt x="194" y="522"/>
                    </a:lnTo>
                    <a:lnTo>
                      <a:pt x="244" y="524"/>
                    </a:lnTo>
                    <a:lnTo>
                      <a:pt x="282" y="524"/>
                    </a:lnTo>
                    <a:lnTo>
                      <a:pt x="318" y="520"/>
                    </a:lnTo>
                    <a:lnTo>
                      <a:pt x="351" y="515"/>
                    </a:lnTo>
                    <a:lnTo>
                      <a:pt x="380" y="506"/>
                    </a:lnTo>
                    <a:lnTo>
                      <a:pt x="404" y="498"/>
                    </a:lnTo>
                    <a:lnTo>
                      <a:pt x="422" y="486"/>
                    </a:lnTo>
                    <a:lnTo>
                      <a:pt x="434" y="470"/>
                    </a:lnTo>
                    <a:lnTo>
                      <a:pt x="437" y="455"/>
                    </a:lnTo>
                    <a:lnTo>
                      <a:pt x="434" y="439"/>
                    </a:lnTo>
                    <a:lnTo>
                      <a:pt x="423" y="425"/>
                    </a:lnTo>
                    <a:lnTo>
                      <a:pt x="408" y="413"/>
                    </a:lnTo>
                    <a:lnTo>
                      <a:pt x="389" y="403"/>
                    </a:lnTo>
                    <a:lnTo>
                      <a:pt x="367" y="393"/>
                    </a:lnTo>
                    <a:lnTo>
                      <a:pt x="344" y="384"/>
                    </a:lnTo>
                    <a:lnTo>
                      <a:pt x="296" y="369"/>
                    </a:lnTo>
                    <a:lnTo>
                      <a:pt x="274" y="364"/>
                    </a:lnTo>
                    <a:lnTo>
                      <a:pt x="274" y="317"/>
                    </a:lnTo>
                    <a:lnTo>
                      <a:pt x="275" y="317"/>
                    </a:lnTo>
                    <a:lnTo>
                      <a:pt x="315" y="329"/>
                    </a:lnTo>
                    <a:lnTo>
                      <a:pt x="360" y="339"/>
                    </a:lnTo>
                    <a:lnTo>
                      <a:pt x="403" y="348"/>
                    </a:lnTo>
                    <a:lnTo>
                      <a:pt x="442" y="350"/>
                    </a:lnTo>
                    <a:lnTo>
                      <a:pt x="816" y="350"/>
                    </a:lnTo>
                    <a:lnTo>
                      <a:pt x="816"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14" name="Freeform 12">
                <a:extLst>
                  <a:ext uri="{FF2B5EF4-FFF2-40B4-BE49-F238E27FC236}">
                    <a16:creationId xmlns:a16="http://schemas.microsoft.com/office/drawing/2014/main" xmlns="" id="{64965966-EDB9-4597-BAD3-E80E3B3B2813}"/>
                  </a:ext>
                </a:extLst>
              </p:cNvPr>
              <p:cNvSpPr>
                <a:spLocks noEditPoints="1"/>
              </p:cNvSpPr>
              <p:nvPr userDrawn="1"/>
            </p:nvSpPr>
            <p:spPr bwMode="auto">
              <a:xfrm>
                <a:off x="623570" y="2394226"/>
                <a:ext cx="171450" cy="273050"/>
              </a:xfrm>
              <a:custGeom>
                <a:avLst/>
                <a:gdLst>
                  <a:gd name="T0" fmla="*/ 114 w 270"/>
                  <a:gd name="T1" fmla="*/ 46 h 430"/>
                  <a:gd name="T2" fmla="*/ 79 w 270"/>
                  <a:gd name="T3" fmla="*/ 65 h 430"/>
                  <a:gd name="T4" fmla="*/ 57 w 270"/>
                  <a:gd name="T5" fmla="*/ 93 h 430"/>
                  <a:gd name="T6" fmla="*/ 45 w 270"/>
                  <a:gd name="T7" fmla="*/ 144 h 430"/>
                  <a:gd name="T8" fmla="*/ 57 w 270"/>
                  <a:gd name="T9" fmla="*/ 194 h 430"/>
                  <a:gd name="T10" fmla="*/ 88 w 270"/>
                  <a:gd name="T11" fmla="*/ 220 h 430"/>
                  <a:gd name="T12" fmla="*/ 134 w 270"/>
                  <a:gd name="T13" fmla="*/ 230 h 430"/>
                  <a:gd name="T14" fmla="*/ 189 w 270"/>
                  <a:gd name="T15" fmla="*/ 220 h 430"/>
                  <a:gd name="T16" fmla="*/ 224 w 270"/>
                  <a:gd name="T17" fmla="*/ 201 h 430"/>
                  <a:gd name="T18" fmla="*/ 224 w 270"/>
                  <a:gd name="T19" fmla="*/ 170 h 430"/>
                  <a:gd name="T20" fmla="*/ 220 w 270"/>
                  <a:gd name="T21" fmla="*/ 120 h 430"/>
                  <a:gd name="T22" fmla="*/ 205 w 270"/>
                  <a:gd name="T23" fmla="*/ 80 h 430"/>
                  <a:gd name="T24" fmla="*/ 188 w 270"/>
                  <a:gd name="T25" fmla="*/ 60 h 430"/>
                  <a:gd name="T26" fmla="*/ 158 w 270"/>
                  <a:gd name="T27" fmla="*/ 46 h 430"/>
                  <a:gd name="T28" fmla="*/ 139 w 270"/>
                  <a:gd name="T29" fmla="*/ 0 h 430"/>
                  <a:gd name="T30" fmla="*/ 202 w 270"/>
                  <a:gd name="T31" fmla="*/ 13 h 430"/>
                  <a:gd name="T32" fmla="*/ 243 w 270"/>
                  <a:gd name="T33" fmla="*/ 53 h 430"/>
                  <a:gd name="T34" fmla="*/ 265 w 270"/>
                  <a:gd name="T35" fmla="*/ 111 h 430"/>
                  <a:gd name="T36" fmla="*/ 270 w 270"/>
                  <a:gd name="T37" fmla="*/ 185 h 430"/>
                  <a:gd name="T38" fmla="*/ 270 w 270"/>
                  <a:gd name="T39" fmla="*/ 287 h 430"/>
                  <a:gd name="T40" fmla="*/ 257 w 270"/>
                  <a:gd name="T41" fmla="*/ 339 h 430"/>
                  <a:gd name="T42" fmla="*/ 215 w 270"/>
                  <a:gd name="T43" fmla="*/ 392 h 430"/>
                  <a:gd name="T44" fmla="*/ 150 w 270"/>
                  <a:gd name="T45" fmla="*/ 421 h 430"/>
                  <a:gd name="T46" fmla="*/ 59 w 270"/>
                  <a:gd name="T47" fmla="*/ 430 h 430"/>
                  <a:gd name="T48" fmla="*/ 43 w 270"/>
                  <a:gd name="T49" fmla="*/ 382 h 430"/>
                  <a:gd name="T50" fmla="*/ 93 w 270"/>
                  <a:gd name="T51" fmla="*/ 382 h 430"/>
                  <a:gd name="T52" fmla="*/ 153 w 270"/>
                  <a:gd name="T53" fmla="*/ 371 h 430"/>
                  <a:gd name="T54" fmla="*/ 198 w 270"/>
                  <a:gd name="T55" fmla="*/ 349 h 430"/>
                  <a:gd name="T56" fmla="*/ 222 w 270"/>
                  <a:gd name="T57" fmla="*/ 306 h 430"/>
                  <a:gd name="T58" fmla="*/ 224 w 270"/>
                  <a:gd name="T59" fmla="*/ 247 h 430"/>
                  <a:gd name="T60" fmla="*/ 205 w 270"/>
                  <a:gd name="T61" fmla="*/ 258 h 430"/>
                  <a:gd name="T62" fmla="*/ 158 w 270"/>
                  <a:gd name="T63" fmla="*/ 272 h 430"/>
                  <a:gd name="T64" fmla="*/ 103 w 270"/>
                  <a:gd name="T65" fmla="*/ 273 h 430"/>
                  <a:gd name="T66" fmla="*/ 57 w 270"/>
                  <a:gd name="T67" fmla="*/ 259 h 430"/>
                  <a:gd name="T68" fmla="*/ 22 w 270"/>
                  <a:gd name="T69" fmla="*/ 230 h 430"/>
                  <a:gd name="T70" fmla="*/ 3 w 270"/>
                  <a:gd name="T71" fmla="*/ 182 h 430"/>
                  <a:gd name="T72" fmla="*/ 3 w 270"/>
                  <a:gd name="T73" fmla="*/ 123 h 430"/>
                  <a:gd name="T74" fmla="*/ 21 w 270"/>
                  <a:gd name="T75" fmla="*/ 70 h 430"/>
                  <a:gd name="T76" fmla="*/ 57 w 270"/>
                  <a:gd name="T77" fmla="*/ 27 h 430"/>
                  <a:gd name="T78" fmla="*/ 108 w 270"/>
                  <a:gd name="T79" fmla="*/ 3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0" h="430">
                    <a:moveTo>
                      <a:pt x="136" y="44"/>
                    </a:moveTo>
                    <a:lnTo>
                      <a:pt x="114" y="46"/>
                    </a:lnTo>
                    <a:lnTo>
                      <a:pt x="95" y="53"/>
                    </a:lnTo>
                    <a:lnTo>
                      <a:pt x="79" y="65"/>
                    </a:lnTo>
                    <a:lnTo>
                      <a:pt x="65" y="77"/>
                    </a:lnTo>
                    <a:lnTo>
                      <a:pt x="57" y="93"/>
                    </a:lnTo>
                    <a:lnTo>
                      <a:pt x="50" y="110"/>
                    </a:lnTo>
                    <a:lnTo>
                      <a:pt x="45" y="144"/>
                    </a:lnTo>
                    <a:lnTo>
                      <a:pt x="48" y="172"/>
                    </a:lnTo>
                    <a:lnTo>
                      <a:pt x="57" y="194"/>
                    </a:lnTo>
                    <a:lnTo>
                      <a:pt x="71" y="210"/>
                    </a:lnTo>
                    <a:lnTo>
                      <a:pt x="88" y="220"/>
                    </a:lnTo>
                    <a:lnTo>
                      <a:pt x="110" y="227"/>
                    </a:lnTo>
                    <a:lnTo>
                      <a:pt x="134" y="230"/>
                    </a:lnTo>
                    <a:lnTo>
                      <a:pt x="164" y="227"/>
                    </a:lnTo>
                    <a:lnTo>
                      <a:pt x="189" y="220"/>
                    </a:lnTo>
                    <a:lnTo>
                      <a:pt x="208" y="211"/>
                    </a:lnTo>
                    <a:lnTo>
                      <a:pt x="224" y="201"/>
                    </a:lnTo>
                    <a:lnTo>
                      <a:pt x="224" y="201"/>
                    </a:lnTo>
                    <a:lnTo>
                      <a:pt x="224" y="170"/>
                    </a:lnTo>
                    <a:lnTo>
                      <a:pt x="224" y="144"/>
                    </a:lnTo>
                    <a:lnTo>
                      <a:pt x="220" y="120"/>
                    </a:lnTo>
                    <a:lnTo>
                      <a:pt x="214" y="98"/>
                    </a:lnTo>
                    <a:lnTo>
                      <a:pt x="205" y="80"/>
                    </a:lnTo>
                    <a:lnTo>
                      <a:pt x="198" y="70"/>
                    </a:lnTo>
                    <a:lnTo>
                      <a:pt x="188" y="60"/>
                    </a:lnTo>
                    <a:lnTo>
                      <a:pt x="177" y="53"/>
                    </a:lnTo>
                    <a:lnTo>
                      <a:pt x="158" y="46"/>
                    </a:lnTo>
                    <a:lnTo>
                      <a:pt x="136" y="44"/>
                    </a:lnTo>
                    <a:close/>
                    <a:moveTo>
                      <a:pt x="139" y="0"/>
                    </a:moveTo>
                    <a:lnTo>
                      <a:pt x="174" y="3"/>
                    </a:lnTo>
                    <a:lnTo>
                      <a:pt x="202" y="13"/>
                    </a:lnTo>
                    <a:lnTo>
                      <a:pt x="224" y="31"/>
                    </a:lnTo>
                    <a:lnTo>
                      <a:pt x="243" y="53"/>
                    </a:lnTo>
                    <a:lnTo>
                      <a:pt x="255" y="79"/>
                    </a:lnTo>
                    <a:lnTo>
                      <a:pt x="265" y="111"/>
                    </a:lnTo>
                    <a:lnTo>
                      <a:pt x="270" y="148"/>
                    </a:lnTo>
                    <a:lnTo>
                      <a:pt x="270" y="185"/>
                    </a:lnTo>
                    <a:lnTo>
                      <a:pt x="270" y="254"/>
                    </a:lnTo>
                    <a:lnTo>
                      <a:pt x="270" y="287"/>
                    </a:lnTo>
                    <a:lnTo>
                      <a:pt x="265" y="315"/>
                    </a:lnTo>
                    <a:lnTo>
                      <a:pt x="257" y="339"/>
                    </a:lnTo>
                    <a:lnTo>
                      <a:pt x="239" y="370"/>
                    </a:lnTo>
                    <a:lnTo>
                      <a:pt x="215" y="392"/>
                    </a:lnTo>
                    <a:lnTo>
                      <a:pt x="186" y="409"/>
                    </a:lnTo>
                    <a:lnTo>
                      <a:pt x="150" y="421"/>
                    </a:lnTo>
                    <a:lnTo>
                      <a:pt x="107" y="426"/>
                    </a:lnTo>
                    <a:lnTo>
                      <a:pt x="59" y="430"/>
                    </a:lnTo>
                    <a:lnTo>
                      <a:pt x="43" y="430"/>
                    </a:lnTo>
                    <a:lnTo>
                      <a:pt x="43" y="382"/>
                    </a:lnTo>
                    <a:lnTo>
                      <a:pt x="57" y="382"/>
                    </a:lnTo>
                    <a:lnTo>
                      <a:pt x="93" y="382"/>
                    </a:lnTo>
                    <a:lnTo>
                      <a:pt x="126" y="378"/>
                    </a:lnTo>
                    <a:lnTo>
                      <a:pt x="153" y="371"/>
                    </a:lnTo>
                    <a:lnTo>
                      <a:pt x="177" y="363"/>
                    </a:lnTo>
                    <a:lnTo>
                      <a:pt x="198" y="349"/>
                    </a:lnTo>
                    <a:lnTo>
                      <a:pt x="212" y="330"/>
                    </a:lnTo>
                    <a:lnTo>
                      <a:pt x="222" y="306"/>
                    </a:lnTo>
                    <a:lnTo>
                      <a:pt x="224" y="273"/>
                    </a:lnTo>
                    <a:lnTo>
                      <a:pt x="224" y="247"/>
                    </a:lnTo>
                    <a:lnTo>
                      <a:pt x="222" y="249"/>
                    </a:lnTo>
                    <a:lnTo>
                      <a:pt x="205" y="258"/>
                    </a:lnTo>
                    <a:lnTo>
                      <a:pt x="184" y="266"/>
                    </a:lnTo>
                    <a:lnTo>
                      <a:pt x="158" y="272"/>
                    </a:lnTo>
                    <a:lnTo>
                      <a:pt x="129" y="273"/>
                    </a:lnTo>
                    <a:lnTo>
                      <a:pt x="103" y="273"/>
                    </a:lnTo>
                    <a:lnTo>
                      <a:pt x="79" y="268"/>
                    </a:lnTo>
                    <a:lnTo>
                      <a:pt x="57" y="259"/>
                    </a:lnTo>
                    <a:lnTo>
                      <a:pt x="38" y="247"/>
                    </a:lnTo>
                    <a:lnTo>
                      <a:pt x="22" y="230"/>
                    </a:lnTo>
                    <a:lnTo>
                      <a:pt x="10" y="208"/>
                    </a:lnTo>
                    <a:lnTo>
                      <a:pt x="3" y="182"/>
                    </a:lnTo>
                    <a:lnTo>
                      <a:pt x="0" y="151"/>
                    </a:lnTo>
                    <a:lnTo>
                      <a:pt x="3" y="123"/>
                    </a:lnTo>
                    <a:lnTo>
                      <a:pt x="10" y="96"/>
                    </a:lnTo>
                    <a:lnTo>
                      <a:pt x="21" y="70"/>
                    </a:lnTo>
                    <a:lnTo>
                      <a:pt x="36" y="48"/>
                    </a:lnTo>
                    <a:lnTo>
                      <a:pt x="57" y="27"/>
                    </a:lnTo>
                    <a:lnTo>
                      <a:pt x="79" y="13"/>
                    </a:lnTo>
                    <a:lnTo>
                      <a:pt x="108" y="3"/>
                    </a:lnTo>
                    <a:lnTo>
                      <a:pt x="139"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15" name="Freeform 13">
                <a:extLst>
                  <a:ext uri="{FF2B5EF4-FFF2-40B4-BE49-F238E27FC236}">
                    <a16:creationId xmlns:a16="http://schemas.microsoft.com/office/drawing/2014/main" xmlns="" id="{6A58B361-6D54-490D-B69C-A4218325A22B}"/>
                  </a:ext>
                </a:extLst>
              </p:cNvPr>
              <p:cNvSpPr>
                <a:spLocks/>
              </p:cNvSpPr>
              <p:nvPr userDrawn="1"/>
            </p:nvSpPr>
            <p:spPr bwMode="auto">
              <a:xfrm>
                <a:off x="835660" y="2316121"/>
                <a:ext cx="305435" cy="251460"/>
              </a:xfrm>
              <a:custGeom>
                <a:avLst/>
                <a:gdLst>
                  <a:gd name="T0" fmla="*/ 436 w 481"/>
                  <a:gd name="T1" fmla="*/ 0 h 396"/>
                  <a:gd name="T2" fmla="*/ 481 w 481"/>
                  <a:gd name="T3" fmla="*/ 0 h 396"/>
                  <a:gd name="T4" fmla="*/ 481 w 481"/>
                  <a:gd name="T5" fmla="*/ 396 h 396"/>
                  <a:gd name="T6" fmla="*/ 312 w 481"/>
                  <a:gd name="T7" fmla="*/ 396 h 396"/>
                  <a:gd name="T8" fmla="*/ 286 w 481"/>
                  <a:gd name="T9" fmla="*/ 393 h 396"/>
                  <a:gd name="T10" fmla="*/ 264 w 481"/>
                  <a:gd name="T11" fmla="*/ 381 h 396"/>
                  <a:gd name="T12" fmla="*/ 245 w 481"/>
                  <a:gd name="T13" fmla="*/ 362 h 396"/>
                  <a:gd name="T14" fmla="*/ 224 w 481"/>
                  <a:gd name="T15" fmla="*/ 334 h 396"/>
                  <a:gd name="T16" fmla="*/ 222 w 481"/>
                  <a:gd name="T17" fmla="*/ 331 h 396"/>
                  <a:gd name="T18" fmla="*/ 222 w 481"/>
                  <a:gd name="T19" fmla="*/ 334 h 396"/>
                  <a:gd name="T20" fmla="*/ 217 w 481"/>
                  <a:gd name="T21" fmla="*/ 353 h 396"/>
                  <a:gd name="T22" fmla="*/ 209 w 481"/>
                  <a:gd name="T23" fmla="*/ 367 h 396"/>
                  <a:gd name="T24" fmla="*/ 200 w 481"/>
                  <a:gd name="T25" fmla="*/ 376 h 396"/>
                  <a:gd name="T26" fmla="*/ 191 w 481"/>
                  <a:gd name="T27" fmla="*/ 382 h 396"/>
                  <a:gd name="T28" fmla="*/ 181 w 481"/>
                  <a:gd name="T29" fmla="*/ 388 h 396"/>
                  <a:gd name="T30" fmla="*/ 164 w 481"/>
                  <a:gd name="T31" fmla="*/ 393 h 396"/>
                  <a:gd name="T32" fmla="*/ 147 w 481"/>
                  <a:gd name="T33" fmla="*/ 396 h 396"/>
                  <a:gd name="T34" fmla="*/ 104 w 481"/>
                  <a:gd name="T35" fmla="*/ 396 h 396"/>
                  <a:gd name="T36" fmla="*/ 0 w 481"/>
                  <a:gd name="T37" fmla="*/ 396 h 396"/>
                  <a:gd name="T38" fmla="*/ 0 w 481"/>
                  <a:gd name="T39" fmla="*/ 350 h 396"/>
                  <a:gd name="T40" fmla="*/ 124 w 481"/>
                  <a:gd name="T41" fmla="*/ 350 h 396"/>
                  <a:gd name="T42" fmla="*/ 145 w 481"/>
                  <a:gd name="T43" fmla="*/ 350 h 396"/>
                  <a:gd name="T44" fmla="*/ 162 w 481"/>
                  <a:gd name="T45" fmla="*/ 345 h 396"/>
                  <a:gd name="T46" fmla="*/ 174 w 481"/>
                  <a:gd name="T47" fmla="*/ 339 h 396"/>
                  <a:gd name="T48" fmla="*/ 184 w 481"/>
                  <a:gd name="T49" fmla="*/ 326 h 396"/>
                  <a:gd name="T50" fmla="*/ 190 w 481"/>
                  <a:gd name="T51" fmla="*/ 310 h 396"/>
                  <a:gd name="T52" fmla="*/ 188 w 481"/>
                  <a:gd name="T53" fmla="*/ 295 h 396"/>
                  <a:gd name="T54" fmla="*/ 183 w 481"/>
                  <a:gd name="T55" fmla="*/ 277 h 396"/>
                  <a:gd name="T56" fmla="*/ 174 w 481"/>
                  <a:gd name="T57" fmla="*/ 260 h 396"/>
                  <a:gd name="T58" fmla="*/ 162 w 481"/>
                  <a:gd name="T59" fmla="*/ 243 h 396"/>
                  <a:gd name="T60" fmla="*/ 93 w 481"/>
                  <a:gd name="T61" fmla="*/ 141 h 396"/>
                  <a:gd name="T62" fmla="*/ 138 w 481"/>
                  <a:gd name="T63" fmla="*/ 112 h 396"/>
                  <a:gd name="T64" fmla="*/ 224 w 481"/>
                  <a:gd name="T65" fmla="*/ 253 h 396"/>
                  <a:gd name="T66" fmla="*/ 248 w 481"/>
                  <a:gd name="T67" fmla="*/ 293 h 396"/>
                  <a:gd name="T68" fmla="*/ 271 w 481"/>
                  <a:gd name="T69" fmla="*/ 324 h 396"/>
                  <a:gd name="T70" fmla="*/ 283 w 481"/>
                  <a:gd name="T71" fmla="*/ 338 h 396"/>
                  <a:gd name="T72" fmla="*/ 298 w 481"/>
                  <a:gd name="T73" fmla="*/ 348 h 396"/>
                  <a:gd name="T74" fmla="*/ 312 w 481"/>
                  <a:gd name="T75" fmla="*/ 350 h 396"/>
                  <a:gd name="T76" fmla="*/ 436 w 481"/>
                  <a:gd name="T77" fmla="*/ 350 h 396"/>
                  <a:gd name="T78" fmla="*/ 436 w 481"/>
                  <a:gd name="T79"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1" h="396">
                    <a:moveTo>
                      <a:pt x="436" y="0"/>
                    </a:moveTo>
                    <a:lnTo>
                      <a:pt x="481" y="0"/>
                    </a:lnTo>
                    <a:lnTo>
                      <a:pt x="481" y="396"/>
                    </a:lnTo>
                    <a:lnTo>
                      <a:pt x="312" y="396"/>
                    </a:lnTo>
                    <a:lnTo>
                      <a:pt x="286" y="393"/>
                    </a:lnTo>
                    <a:lnTo>
                      <a:pt x="264" y="381"/>
                    </a:lnTo>
                    <a:lnTo>
                      <a:pt x="245" y="362"/>
                    </a:lnTo>
                    <a:lnTo>
                      <a:pt x="224" y="334"/>
                    </a:lnTo>
                    <a:lnTo>
                      <a:pt x="222" y="331"/>
                    </a:lnTo>
                    <a:lnTo>
                      <a:pt x="222" y="334"/>
                    </a:lnTo>
                    <a:lnTo>
                      <a:pt x="217" y="353"/>
                    </a:lnTo>
                    <a:lnTo>
                      <a:pt x="209" y="367"/>
                    </a:lnTo>
                    <a:lnTo>
                      <a:pt x="200" y="376"/>
                    </a:lnTo>
                    <a:lnTo>
                      <a:pt x="191" y="382"/>
                    </a:lnTo>
                    <a:lnTo>
                      <a:pt x="181" y="388"/>
                    </a:lnTo>
                    <a:lnTo>
                      <a:pt x="164" y="393"/>
                    </a:lnTo>
                    <a:lnTo>
                      <a:pt x="147" y="396"/>
                    </a:lnTo>
                    <a:lnTo>
                      <a:pt x="104" y="396"/>
                    </a:lnTo>
                    <a:lnTo>
                      <a:pt x="0" y="396"/>
                    </a:lnTo>
                    <a:lnTo>
                      <a:pt x="0" y="350"/>
                    </a:lnTo>
                    <a:lnTo>
                      <a:pt x="124" y="350"/>
                    </a:lnTo>
                    <a:lnTo>
                      <a:pt x="145" y="350"/>
                    </a:lnTo>
                    <a:lnTo>
                      <a:pt x="162" y="345"/>
                    </a:lnTo>
                    <a:lnTo>
                      <a:pt x="174" y="339"/>
                    </a:lnTo>
                    <a:lnTo>
                      <a:pt x="184" y="326"/>
                    </a:lnTo>
                    <a:lnTo>
                      <a:pt x="190" y="310"/>
                    </a:lnTo>
                    <a:lnTo>
                      <a:pt x="188" y="295"/>
                    </a:lnTo>
                    <a:lnTo>
                      <a:pt x="183" y="277"/>
                    </a:lnTo>
                    <a:lnTo>
                      <a:pt x="174" y="260"/>
                    </a:lnTo>
                    <a:lnTo>
                      <a:pt x="162" y="243"/>
                    </a:lnTo>
                    <a:lnTo>
                      <a:pt x="93" y="141"/>
                    </a:lnTo>
                    <a:lnTo>
                      <a:pt x="138" y="112"/>
                    </a:lnTo>
                    <a:lnTo>
                      <a:pt x="224" y="253"/>
                    </a:lnTo>
                    <a:lnTo>
                      <a:pt x="248" y="293"/>
                    </a:lnTo>
                    <a:lnTo>
                      <a:pt x="271" y="324"/>
                    </a:lnTo>
                    <a:lnTo>
                      <a:pt x="283" y="338"/>
                    </a:lnTo>
                    <a:lnTo>
                      <a:pt x="298" y="348"/>
                    </a:lnTo>
                    <a:lnTo>
                      <a:pt x="312" y="350"/>
                    </a:lnTo>
                    <a:lnTo>
                      <a:pt x="436" y="350"/>
                    </a:lnTo>
                    <a:lnTo>
                      <a:pt x="436"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16" name="Rectangle 15">
                <a:extLst>
                  <a:ext uri="{FF2B5EF4-FFF2-40B4-BE49-F238E27FC236}">
                    <a16:creationId xmlns:a16="http://schemas.microsoft.com/office/drawing/2014/main" xmlns="" id="{AA17152B-A11C-437D-994C-7FA27C4AD2E2}"/>
                  </a:ext>
                </a:extLst>
              </p:cNvPr>
              <p:cNvSpPr>
                <a:spLocks noChangeArrowheads="1"/>
              </p:cNvSpPr>
              <p:nvPr userDrawn="1"/>
            </p:nvSpPr>
            <p:spPr bwMode="auto">
              <a:xfrm>
                <a:off x="1203325" y="2316121"/>
                <a:ext cx="29845" cy="251460"/>
              </a:xfrm>
              <a:prstGeom prst="rect">
                <a:avLst/>
              </a:prstGeom>
              <a:grpFill/>
              <a:ln w="0">
                <a:noFill/>
                <a:prstDash val="solid"/>
                <a:miter lim="800000"/>
                <a:headEnd/>
                <a:tailEnd/>
              </a:ln>
            </p:spPr>
            <p:txBody>
              <a:bodyPr rot="0" vert="horz" wrap="square" lIns="91440" tIns="45720" rIns="91440" bIns="45720" anchor="t" anchorCtr="0" upright="1">
                <a:noAutofit/>
              </a:bodyPr>
              <a:lstStyle/>
              <a:p>
                <a:endParaRPr lang="en-IN" dirty="0"/>
              </a:p>
            </p:txBody>
          </p:sp>
          <p:sp>
            <p:nvSpPr>
              <p:cNvPr id="17" name="Freeform 15">
                <a:extLst>
                  <a:ext uri="{FF2B5EF4-FFF2-40B4-BE49-F238E27FC236}">
                    <a16:creationId xmlns:a16="http://schemas.microsoft.com/office/drawing/2014/main" xmlns="" id="{7C1A5775-7E35-4C7F-9F6A-4C0EBDC4FD81}"/>
                  </a:ext>
                </a:extLst>
              </p:cNvPr>
              <p:cNvSpPr>
                <a:spLocks/>
              </p:cNvSpPr>
              <p:nvPr userDrawn="1"/>
            </p:nvSpPr>
            <p:spPr bwMode="auto">
              <a:xfrm>
                <a:off x="1435100" y="2627906"/>
                <a:ext cx="40640" cy="40640"/>
              </a:xfrm>
              <a:custGeom>
                <a:avLst/>
                <a:gdLst>
                  <a:gd name="T0" fmla="*/ 33 w 64"/>
                  <a:gd name="T1" fmla="*/ 0 h 64"/>
                  <a:gd name="T2" fmla="*/ 42 w 64"/>
                  <a:gd name="T3" fmla="*/ 2 h 64"/>
                  <a:gd name="T4" fmla="*/ 48 w 64"/>
                  <a:gd name="T5" fmla="*/ 5 h 64"/>
                  <a:gd name="T6" fmla="*/ 55 w 64"/>
                  <a:gd name="T7" fmla="*/ 10 h 64"/>
                  <a:gd name="T8" fmla="*/ 61 w 64"/>
                  <a:gd name="T9" fmla="*/ 17 h 64"/>
                  <a:gd name="T10" fmla="*/ 64 w 64"/>
                  <a:gd name="T11" fmla="*/ 24 h 64"/>
                  <a:gd name="T12" fmla="*/ 64 w 64"/>
                  <a:gd name="T13" fmla="*/ 33 h 64"/>
                  <a:gd name="T14" fmla="*/ 64 w 64"/>
                  <a:gd name="T15" fmla="*/ 39 h 64"/>
                  <a:gd name="T16" fmla="*/ 61 w 64"/>
                  <a:gd name="T17" fmla="*/ 48 h 64"/>
                  <a:gd name="T18" fmla="*/ 55 w 64"/>
                  <a:gd name="T19" fmla="*/ 55 h 64"/>
                  <a:gd name="T20" fmla="*/ 48 w 64"/>
                  <a:gd name="T21" fmla="*/ 60 h 64"/>
                  <a:gd name="T22" fmla="*/ 42 w 64"/>
                  <a:gd name="T23" fmla="*/ 64 h 64"/>
                  <a:gd name="T24" fmla="*/ 33 w 64"/>
                  <a:gd name="T25" fmla="*/ 64 h 64"/>
                  <a:gd name="T26" fmla="*/ 24 w 64"/>
                  <a:gd name="T27" fmla="*/ 64 h 64"/>
                  <a:gd name="T28" fmla="*/ 17 w 64"/>
                  <a:gd name="T29" fmla="*/ 60 h 64"/>
                  <a:gd name="T30" fmla="*/ 11 w 64"/>
                  <a:gd name="T31" fmla="*/ 55 h 64"/>
                  <a:gd name="T32" fmla="*/ 5 w 64"/>
                  <a:gd name="T33" fmla="*/ 48 h 64"/>
                  <a:gd name="T34" fmla="*/ 2 w 64"/>
                  <a:gd name="T35" fmla="*/ 39 h 64"/>
                  <a:gd name="T36" fmla="*/ 0 w 64"/>
                  <a:gd name="T37" fmla="*/ 33 h 64"/>
                  <a:gd name="T38" fmla="*/ 2 w 64"/>
                  <a:gd name="T39" fmla="*/ 24 h 64"/>
                  <a:gd name="T40" fmla="*/ 5 w 64"/>
                  <a:gd name="T41" fmla="*/ 17 h 64"/>
                  <a:gd name="T42" fmla="*/ 11 w 64"/>
                  <a:gd name="T43" fmla="*/ 10 h 64"/>
                  <a:gd name="T44" fmla="*/ 17 w 64"/>
                  <a:gd name="T45" fmla="*/ 5 h 64"/>
                  <a:gd name="T46" fmla="*/ 24 w 64"/>
                  <a:gd name="T47" fmla="*/ 2 h 64"/>
                  <a:gd name="T48" fmla="*/ 33 w 64"/>
                  <a:gd name="T4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3" y="0"/>
                    </a:moveTo>
                    <a:lnTo>
                      <a:pt x="42" y="2"/>
                    </a:lnTo>
                    <a:lnTo>
                      <a:pt x="48" y="5"/>
                    </a:lnTo>
                    <a:lnTo>
                      <a:pt x="55" y="10"/>
                    </a:lnTo>
                    <a:lnTo>
                      <a:pt x="61" y="17"/>
                    </a:lnTo>
                    <a:lnTo>
                      <a:pt x="64" y="24"/>
                    </a:lnTo>
                    <a:lnTo>
                      <a:pt x="64" y="33"/>
                    </a:lnTo>
                    <a:lnTo>
                      <a:pt x="64" y="39"/>
                    </a:lnTo>
                    <a:lnTo>
                      <a:pt x="61" y="48"/>
                    </a:lnTo>
                    <a:lnTo>
                      <a:pt x="55" y="55"/>
                    </a:lnTo>
                    <a:lnTo>
                      <a:pt x="48" y="60"/>
                    </a:lnTo>
                    <a:lnTo>
                      <a:pt x="42" y="64"/>
                    </a:lnTo>
                    <a:lnTo>
                      <a:pt x="33" y="64"/>
                    </a:lnTo>
                    <a:lnTo>
                      <a:pt x="24" y="64"/>
                    </a:lnTo>
                    <a:lnTo>
                      <a:pt x="17" y="60"/>
                    </a:lnTo>
                    <a:lnTo>
                      <a:pt x="11" y="55"/>
                    </a:lnTo>
                    <a:lnTo>
                      <a:pt x="5" y="48"/>
                    </a:lnTo>
                    <a:lnTo>
                      <a:pt x="2" y="39"/>
                    </a:lnTo>
                    <a:lnTo>
                      <a:pt x="0" y="33"/>
                    </a:lnTo>
                    <a:lnTo>
                      <a:pt x="2" y="24"/>
                    </a:lnTo>
                    <a:lnTo>
                      <a:pt x="5" y="17"/>
                    </a:lnTo>
                    <a:lnTo>
                      <a:pt x="11" y="10"/>
                    </a:lnTo>
                    <a:lnTo>
                      <a:pt x="17" y="5"/>
                    </a:lnTo>
                    <a:lnTo>
                      <a:pt x="24" y="2"/>
                    </a:lnTo>
                    <a:lnTo>
                      <a:pt x="33"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18" name="Freeform 16">
                <a:extLst>
                  <a:ext uri="{FF2B5EF4-FFF2-40B4-BE49-F238E27FC236}">
                    <a16:creationId xmlns:a16="http://schemas.microsoft.com/office/drawing/2014/main" xmlns="" id="{03C778E5-58B8-4DE6-BDEE-388E3C1EC06B}"/>
                  </a:ext>
                </a:extLst>
              </p:cNvPr>
              <p:cNvSpPr>
                <a:spLocks/>
              </p:cNvSpPr>
              <p:nvPr userDrawn="1"/>
            </p:nvSpPr>
            <p:spPr bwMode="auto">
              <a:xfrm>
                <a:off x="1907540" y="2608221"/>
                <a:ext cx="39370" cy="40640"/>
              </a:xfrm>
              <a:custGeom>
                <a:avLst/>
                <a:gdLst>
                  <a:gd name="T0" fmla="*/ 31 w 62"/>
                  <a:gd name="T1" fmla="*/ 0 h 64"/>
                  <a:gd name="T2" fmla="*/ 40 w 62"/>
                  <a:gd name="T3" fmla="*/ 2 h 64"/>
                  <a:gd name="T4" fmla="*/ 47 w 62"/>
                  <a:gd name="T5" fmla="*/ 5 h 64"/>
                  <a:gd name="T6" fmla="*/ 54 w 62"/>
                  <a:gd name="T7" fmla="*/ 10 h 64"/>
                  <a:gd name="T8" fmla="*/ 59 w 62"/>
                  <a:gd name="T9" fmla="*/ 15 h 64"/>
                  <a:gd name="T10" fmla="*/ 62 w 62"/>
                  <a:gd name="T11" fmla="*/ 24 h 64"/>
                  <a:gd name="T12" fmla="*/ 62 w 62"/>
                  <a:gd name="T13" fmla="*/ 33 h 64"/>
                  <a:gd name="T14" fmla="*/ 62 w 62"/>
                  <a:gd name="T15" fmla="*/ 40 h 64"/>
                  <a:gd name="T16" fmla="*/ 59 w 62"/>
                  <a:gd name="T17" fmla="*/ 48 h 64"/>
                  <a:gd name="T18" fmla="*/ 54 w 62"/>
                  <a:gd name="T19" fmla="*/ 55 h 64"/>
                  <a:gd name="T20" fmla="*/ 47 w 62"/>
                  <a:gd name="T21" fmla="*/ 60 h 64"/>
                  <a:gd name="T22" fmla="*/ 40 w 62"/>
                  <a:gd name="T23" fmla="*/ 62 h 64"/>
                  <a:gd name="T24" fmla="*/ 31 w 62"/>
                  <a:gd name="T25" fmla="*/ 64 h 64"/>
                  <a:gd name="T26" fmla="*/ 23 w 62"/>
                  <a:gd name="T27" fmla="*/ 62 h 64"/>
                  <a:gd name="T28" fmla="*/ 16 w 62"/>
                  <a:gd name="T29" fmla="*/ 60 h 64"/>
                  <a:gd name="T30" fmla="*/ 9 w 62"/>
                  <a:gd name="T31" fmla="*/ 55 h 64"/>
                  <a:gd name="T32" fmla="*/ 4 w 62"/>
                  <a:gd name="T33" fmla="*/ 48 h 64"/>
                  <a:gd name="T34" fmla="*/ 0 w 62"/>
                  <a:gd name="T35" fmla="*/ 40 h 64"/>
                  <a:gd name="T36" fmla="*/ 0 w 62"/>
                  <a:gd name="T37" fmla="*/ 33 h 64"/>
                  <a:gd name="T38" fmla="*/ 0 w 62"/>
                  <a:gd name="T39" fmla="*/ 24 h 64"/>
                  <a:gd name="T40" fmla="*/ 4 w 62"/>
                  <a:gd name="T41" fmla="*/ 15 h 64"/>
                  <a:gd name="T42" fmla="*/ 9 w 62"/>
                  <a:gd name="T43" fmla="*/ 10 h 64"/>
                  <a:gd name="T44" fmla="*/ 16 w 62"/>
                  <a:gd name="T45" fmla="*/ 5 h 64"/>
                  <a:gd name="T46" fmla="*/ 23 w 62"/>
                  <a:gd name="T47" fmla="*/ 2 h 64"/>
                  <a:gd name="T48" fmla="*/ 31 w 62"/>
                  <a:gd name="T4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64">
                    <a:moveTo>
                      <a:pt x="31" y="0"/>
                    </a:moveTo>
                    <a:lnTo>
                      <a:pt x="40" y="2"/>
                    </a:lnTo>
                    <a:lnTo>
                      <a:pt x="47" y="5"/>
                    </a:lnTo>
                    <a:lnTo>
                      <a:pt x="54" y="10"/>
                    </a:lnTo>
                    <a:lnTo>
                      <a:pt x="59" y="15"/>
                    </a:lnTo>
                    <a:lnTo>
                      <a:pt x="62" y="24"/>
                    </a:lnTo>
                    <a:lnTo>
                      <a:pt x="62" y="33"/>
                    </a:lnTo>
                    <a:lnTo>
                      <a:pt x="62" y="40"/>
                    </a:lnTo>
                    <a:lnTo>
                      <a:pt x="59" y="48"/>
                    </a:lnTo>
                    <a:lnTo>
                      <a:pt x="54" y="55"/>
                    </a:lnTo>
                    <a:lnTo>
                      <a:pt x="47" y="60"/>
                    </a:lnTo>
                    <a:lnTo>
                      <a:pt x="40" y="62"/>
                    </a:lnTo>
                    <a:lnTo>
                      <a:pt x="31" y="64"/>
                    </a:lnTo>
                    <a:lnTo>
                      <a:pt x="23" y="62"/>
                    </a:lnTo>
                    <a:lnTo>
                      <a:pt x="16" y="60"/>
                    </a:lnTo>
                    <a:lnTo>
                      <a:pt x="9" y="55"/>
                    </a:lnTo>
                    <a:lnTo>
                      <a:pt x="4" y="48"/>
                    </a:lnTo>
                    <a:lnTo>
                      <a:pt x="0" y="40"/>
                    </a:lnTo>
                    <a:lnTo>
                      <a:pt x="0" y="33"/>
                    </a:lnTo>
                    <a:lnTo>
                      <a:pt x="0" y="24"/>
                    </a:lnTo>
                    <a:lnTo>
                      <a:pt x="4" y="15"/>
                    </a:lnTo>
                    <a:lnTo>
                      <a:pt x="9" y="10"/>
                    </a:lnTo>
                    <a:lnTo>
                      <a:pt x="16" y="5"/>
                    </a:lnTo>
                    <a:lnTo>
                      <a:pt x="23" y="2"/>
                    </a:lnTo>
                    <a:lnTo>
                      <a:pt x="31"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19" name="Freeform 17">
                <a:extLst>
                  <a:ext uri="{FF2B5EF4-FFF2-40B4-BE49-F238E27FC236}">
                    <a16:creationId xmlns:a16="http://schemas.microsoft.com/office/drawing/2014/main" xmlns="" id="{FF5F059C-1234-4162-9D4B-62D614253282}"/>
                  </a:ext>
                </a:extLst>
              </p:cNvPr>
              <p:cNvSpPr>
                <a:spLocks/>
              </p:cNvSpPr>
              <p:nvPr userDrawn="1"/>
            </p:nvSpPr>
            <p:spPr bwMode="auto">
              <a:xfrm>
                <a:off x="1846580" y="2608221"/>
                <a:ext cx="40640" cy="40640"/>
              </a:xfrm>
              <a:custGeom>
                <a:avLst/>
                <a:gdLst>
                  <a:gd name="T0" fmla="*/ 31 w 64"/>
                  <a:gd name="T1" fmla="*/ 0 h 64"/>
                  <a:gd name="T2" fmla="*/ 40 w 64"/>
                  <a:gd name="T3" fmla="*/ 2 h 64"/>
                  <a:gd name="T4" fmla="*/ 46 w 64"/>
                  <a:gd name="T5" fmla="*/ 5 h 64"/>
                  <a:gd name="T6" fmla="*/ 53 w 64"/>
                  <a:gd name="T7" fmla="*/ 10 h 64"/>
                  <a:gd name="T8" fmla="*/ 59 w 64"/>
                  <a:gd name="T9" fmla="*/ 15 h 64"/>
                  <a:gd name="T10" fmla="*/ 62 w 64"/>
                  <a:gd name="T11" fmla="*/ 24 h 64"/>
                  <a:gd name="T12" fmla="*/ 64 w 64"/>
                  <a:gd name="T13" fmla="*/ 33 h 64"/>
                  <a:gd name="T14" fmla="*/ 62 w 64"/>
                  <a:gd name="T15" fmla="*/ 40 h 64"/>
                  <a:gd name="T16" fmla="*/ 59 w 64"/>
                  <a:gd name="T17" fmla="*/ 48 h 64"/>
                  <a:gd name="T18" fmla="*/ 53 w 64"/>
                  <a:gd name="T19" fmla="*/ 55 h 64"/>
                  <a:gd name="T20" fmla="*/ 46 w 64"/>
                  <a:gd name="T21" fmla="*/ 60 h 64"/>
                  <a:gd name="T22" fmla="*/ 40 w 64"/>
                  <a:gd name="T23" fmla="*/ 62 h 64"/>
                  <a:gd name="T24" fmla="*/ 31 w 64"/>
                  <a:gd name="T25" fmla="*/ 64 h 64"/>
                  <a:gd name="T26" fmla="*/ 22 w 64"/>
                  <a:gd name="T27" fmla="*/ 62 h 64"/>
                  <a:gd name="T28" fmla="*/ 15 w 64"/>
                  <a:gd name="T29" fmla="*/ 60 h 64"/>
                  <a:gd name="T30" fmla="*/ 9 w 64"/>
                  <a:gd name="T31" fmla="*/ 55 h 64"/>
                  <a:gd name="T32" fmla="*/ 3 w 64"/>
                  <a:gd name="T33" fmla="*/ 48 h 64"/>
                  <a:gd name="T34" fmla="*/ 0 w 64"/>
                  <a:gd name="T35" fmla="*/ 40 h 64"/>
                  <a:gd name="T36" fmla="*/ 0 w 64"/>
                  <a:gd name="T37" fmla="*/ 33 h 64"/>
                  <a:gd name="T38" fmla="*/ 0 w 64"/>
                  <a:gd name="T39" fmla="*/ 24 h 64"/>
                  <a:gd name="T40" fmla="*/ 3 w 64"/>
                  <a:gd name="T41" fmla="*/ 15 h 64"/>
                  <a:gd name="T42" fmla="*/ 9 w 64"/>
                  <a:gd name="T43" fmla="*/ 10 h 64"/>
                  <a:gd name="T44" fmla="*/ 15 w 64"/>
                  <a:gd name="T45" fmla="*/ 5 h 64"/>
                  <a:gd name="T46" fmla="*/ 22 w 64"/>
                  <a:gd name="T47" fmla="*/ 2 h 64"/>
                  <a:gd name="T48" fmla="*/ 31 w 64"/>
                  <a:gd name="T4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1" y="0"/>
                    </a:moveTo>
                    <a:lnTo>
                      <a:pt x="40" y="2"/>
                    </a:lnTo>
                    <a:lnTo>
                      <a:pt x="46" y="5"/>
                    </a:lnTo>
                    <a:lnTo>
                      <a:pt x="53" y="10"/>
                    </a:lnTo>
                    <a:lnTo>
                      <a:pt x="59" y="15"/>
                    </a:lnTo>
                    <a:lnTo>
                      <a:pt x="62" y="24"/>
                    </a:lnTo>
                    <a:lnTo>
                      <a:pt x="64" y="33"/>
                    </a:lnTo>
                    <a:lnTo>
                      <a:pt x="62" y="40"/>
                    </a:lnTo>
                    <a:lnTo>
                      <a:pt x="59" y="48"/>
                    </a:lnTo>
                    <a:lnTo>
                      <a:pt x="53" y="55"/>
                    </a:lnTo>
                    <a:lnTo>
                      <a:pt x="46" y="60"/>
                    </a:lnTo>
                    <a:lnTo>
                      <a:pt x="40" y="62"/>
                    </a:lnTo>
                    <a:lnTo>
                      <a:pt x="31" y="64"/>
                    </a:lnTo>
                    <a:lnTo>
                      <a:pt x="22" y="62"/>
                    </a:lnTo>
                    <a:lnTo>
                      <a:pt x="15" y="60"/>
                    </a:lnTo>
                    <a:lnTo>
                      <a:pt x="9" y="55"/>
                    </a:lnTo>
                    <a:lnTo>
                      <a:pt x="3" y="48"/>
                    </a:lnTo>
                    <a:lnTo>
                      <a:pt x="0" y="40"/>
                    </a:lnTo>
                    <a:lnTo>
                      <a:pt x="0" y="33"/>
                    </a:lnTo>
                    <a:lnTo>
                      <a:pt x="0" y="24"/>
                    </a:lnTo>
                    <a:lnTo>
                      <a:pt x="3" y="15"/>
                    </a:lnTo>
                    <a:lnTo>
                      <a:pt x="9" y="10"/>
                    </a:lnTo>
                    <a:lnTo>
                      <a:pt x="15" y="5"/>
                    </a:lnTo>
                    <a:lnTo>
                      <a:pt x="22" y="2"/>
                    </a:lnTo>
                    <a:lnTo>
                      <a:pt x="31"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20" name="Freeform 18">
                <a:extLst>
                  <a:ext uri="{FF2B5EF4-FFF2-40B4-BE49-F238E27FC236}">
                    <a16:creationId xmlns:a16="http://schemas.microsoft.com/office/drawing/2014/main" xmlns="" id="{6D92BE17-DA4F-406D-9E3F-62C9C0C34DEE}"/>
                  </a:ext>
                </a:extLst>
              </p:cNvPr>
              <p:cNvSpPr>
                <a:spLocks/>
              </p:cNvSpPr>
              <p:nvPr userDrawn="1"/>
            </p:nvSpPr>
            <p:spPr bwMode="auto">
              <a:xfrm>
                <a:off x="2233930" y="2293261"/>
                <a:ext cx="40640" cy="40640"/>
              </a:xfrm>
              <a:custGeom>
                <a:avLst/>
                <a:gdLst>
                  <a:gd name="T0" fmla="*/ 31 w 64"/>
                  <a:gd name="T1" fmla="*/ 0 h 64"/>
                  <a:gd name="T2" fmla="*/ 39 w 64"/>
                  <a:gd name="T3" fmla="*/ 2 h 64"/>
                  <a:gd name="T4" fmla="*/ 46 w 64"/>
                  <a:gd name="T5" fmla="*/ 5 h 64"/>
                  <a:gd name="T6" fmla="*/ 53 w 64"/>
                  <a:gd name="T7" fmla="*/ 9 h 64"/>
                  <a:gd name="T8" fmla="*/ 58 w 64"/>
                  <a:gd name="T9" fmla="*/ 16 h 64"/>
                  <a:gd name="T10" fmla="*/ 62 w 64"/>
                  <a:gd name="T11" fmla="*/ 24 h 64"/>
                  <a:gd name="T12" fmla="*/ 64 w 64"/>
                  <a:gd name="T13" fmla="*/ 31 h 64"/>
                  <a:gd name="T14" fmla="*/ 62 w 64"/>
                  <a:gd name="T15" fmla="*/ 40 h 64"/>
                  <a:gd name="T16" fmla="*/ 58 w 64"/>
                  <a:gd name="T17" fmla="*/ 47 h 64"/>
                  <a:gd name="T18" fmla="*/ 53 w 64"/>
                  <a:gd name="T19" fmla="*/ 54 h 64"/>
                  <a:gd name="T20" fmla="*/ 46 w 64"/>
                  <a:gd name="T21" fmla="*/ 59 h 64"/>
                  <a:gd name="T22" fmla="*/ 39 w 64"/>
                  <a:gd name="T23" fmla="*/ 62 h 64"/>
                  <a:gd name="T24" fmla="*/ 31 w 64"/>
                  <a:gd name="T25" fmla="*/ 64 h 64"/>
                  <a:gd name="T26" fmla="*/ 22 w 64"/>
                  <a:gd name="T27" fmla="*/ 62 h 64"/>
                  <a:gd name="T28" fmla="*/ 15 w 64"/>
                  <a:gd name="T29" fmla="*/ 59 h 64"/>
                  <a:gd name="T30" fmla="*/ 8 w 64"/>
                  <a:gd name="T31" fmla="*/ 54 h 64"/>
                  <a:gd name="T32" fmla="*/ 3 w 64"/>
                  <a:gd name="T33" fmla="*/ 47 h 64"/>
                  <a:gd name="T34" fmla="*/ 0 w 64"/>
                  <a:gd name="T35" fmla="*/ 40 h 64"/>
                  <a:gd name="T36" fmla="*/ 0 w 64"/>
                  <a:gd name="T37" fmla="*/ 31 h 64"/>
                  <a:gd name="T38" fmla="*/ 0 w 64"/>
                  <a:gd name="T39" fmla="*/ 24 h 64"/>
                  <a:gd name="T40" fmla="*/ 3 w 64"/>
                  <a:gd name="T41" fmla="*/ 16 h 64"/>
                  <a:gd name="T42" fmla="*/ 8 w 64"/>
                  <a:gd name="T43" fmla="*/ 9 h 64"/>
                  <a:gd name="T44" fmla="*/ 15 w 64"/>
                  <a:gd name="T45" fmla="*/ 5 h 64"/>
                  <a:gd name="T46" fmla="*/ 22 w 64"/>
                  <a:gd name="T47" fmla="*/ 2 h 64"/>
                  <a:gd name="T48" fmla="*/ 31 w 64"/>
                  <a:gd name="T4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1" y="0"/>
                    </a:moveTo>
                    <a:lnTo>
                      <a:pt x="39" y="2"/>
                    </a:lnTo>
                    <a:lnTo>
                      <a:pt x="46" y="5"/>
                    </a:lnTo>
                    <a:lnTo>
                      <a:pt x="53" y="9"/>
                    </a:lnTo>
                    <a:lnTo>
                      <a:pt x="58" y="16"/>
                    </a:lnTo>
                    <a:lnTo>
                      <a:pt x="62" y="24"/>
                    </a:lnTo>
                    <a:lnTo>
                      <a:pt x="64" y="31"/>
                    </a:lnTo>
                    <a:lnTo>
                      <a:pt x="62" y="40"/>
                    </a:lnTo>
                    <a:lnTo>
                      <a:pt x="58" y="47"/>
                    </a:lnTo>
                    <a:lnTo>
                      <a:pt x="53" y="54"/>
                    </a:lnTo>
                    <a:lnTo>
                      <a:pt x="46" y="59"/>
                    </a:lnTo>
                    <a:lnTo>
                      <a:pt x="39" y="62"/>
                    </a:lnTo>
                    <a:lnTo>
                      <a:pt x="31" y="64"/>
                    </a:lnTo>
                    <a:lnTo>
                      <a:pt x="22" y="62"/>
                    </a:lnTo>
                    <a:lnTo>
                      <a:pt x="15" y="59"/>
                    </a:lnTo>
                    <a:lnTo>
                      <a:pt x="8" y="54"/>
                    </a:lnTo>
                    <a:lnTo>
                      <a:pt x="3" y="47"/>
                    </a:lnTo>
                    <a:lnTo>
                      <a:pt x="0" y="40"/>
                    </a:lnTo>
                    <a:lnTo>
                      <a:pt x="0" y="31"/>
                    </a:lnTo>
                    <a:lnTo>
                      <a:pt x="0" y="24"/>
                    </a:lnTo>
                    <a:lnTo>
                      <a:pt x="3" y="16"/>
                    </a:lnTo>
                    <a:lnTo>
                      <a:pt x="8" y="9"/>
                    </a:lnTo>
                    <a:lnTo>
                      <a:pt x="15" y="5"/>
                    </a:lnTo>
                    <a:lnTo>
                      <a:pt x="22" y="2"/>
                    </a:lnTo>
                    <a:lnTo>
                      <a:pt x="31"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21" name="Freeform 19">
                <a:extLst>
                  <a:ext uri="{FF2B5EF4-FFF2-40B4-BE49-F238E27FC236}">
                    <a16:creationId xmlns:a16="http://schemas.microsoft.com/office/drawing/2014/main" xmlns="" id="{D19AB42A-4E95-4316-8F17-6D9C278288D0}"/>
                  </a:ext>
                </a:extLst>
              </p:cNvPr>
              <p:cNvSpPr>
                <a:spLocks/>
              </p:cNvSpPr>
              <p:nvPr userDrawn="1"/>
            </p:nvSpPr>
            <p:spPr bwMode="auto">
              <a:xfrm>
                <a:off x="1320165" y="2316121"/>
                <a:ext cx="1195070" cy="440690"/>
              </a:xfrm>
              <a:custGeom>
                <a:avLst/>
                <a:gdLst>
                  <a:gd name="T0" fmla="*/ 1165 w 1882"/>
                  <a:gd name="T1" fmla="*/ 262 h 694"/>
                  <a:gd name="T2" fmla="*/ 1179 w 1882"/>
                  <a:gd name="T3" fmla="*/ 327 h 694"/>
                  <a:gd name="T4" fmla="*/ 1229 w 1882"/>
                  <a:gd name="T5" fmla="*/ 350 h 694"/>
                  <a:gd name="T6" fmla="*/ 1621 w 1882"/>
                  <a:gd name="T7" fmla="*/ 317 h 694"/>
                  <a:gd name="T8" fmla="*/ 1594 w 1882"/>
                  <a:gd name="T9" fmla="*/ 231 h 694"/>
                  <a:gd name="T10" fmla="*/ 1522 w 1882"/>
                  <a:gd name="T11" fmla="*/ 174 h 694"/>
                  <a:gd name="T12" fmla="*/ 1418 w 1882"/>
                  <a:gd name="T13" fmla="*/ 167 h 694"/>
                  <a:gd name="T14" fmla="*/ 1380 w 1882"/>
                  <a:gd name="T15" fmla="*/ 129 h 694"/>
                  <a:gd name="T16" fmla="*/ 1418 w 1882"/>
                  <a:gd name="T17" fmla="*/ 121 h 694"/>
                  <a:gd name="T18" fmla="*/ 1499 w 1882"/>
                  <a:gd name="T19" fmla="*/ 117 h 694"/>
                  <a:gd name="T20" fmla="*/ 1594 w 1882"/>
                  <a:gd name="T21" fmla="*/ 157 h 694"/>
                  <a:gd name="T22" fmla="*/ 1659 w 1882"/>
                  <a:gd name="T23" fmla="*/ 260 h 694"/>
                  <a:gd name="T24" fmla="*/ 1671 w 1882"/>
                  <a:gd name="T25" fmla="*/ 350 h 694"/>
                  <a:gd name="T26" fmla="*/ 1882 w 1882"/>
                  <a:gd name="T27" fmla="*/ 0 h 694"/>
                  <a:gd name="T28" fmla="*/ 1205 w 1882"/>
                  <a:gd name="T29" fmla="*/ 395 h 694"/>
                  <a:gd name="T30" fmla="*/ 1155 w 1882"/>
                  <a:gd name="T31" fmla="*/ 358 h 694"/>
                  <a:gd name="T32" fmla="*/ 1144 w 1882"/>
                  <a:gd name="T33" fmla="*/ 369 h 694"/>
                  <a:gd name="T34" fmla="*/ 1113 w 1882"/>
                  <a:gd name="T35" fmla="*/ 389 h 694"/>
                  <a:gd name="T36" fmla="*/ 996 w 1882"/>
                  <a:gd name="T37" fmla="*/ 396 h 694"/>
                  <a:gd name="T38" fmla="*/ 953 w 1882"/>
                  <a:gd name="T39" fmla="*/ 388 h 694"/>
                  <a:gd name="T40" fmla="*/ 922 w 1882"/>
                  <a:gd name="T41" fmla="*/ 357 h 694"/>
                  <a:gd name="T42" fmla="*/ 905 w 1882"/>
                  <a:gd name="T43" fmla="*/ 376 h 694"/>
                  <a:gd name="T44" fmla="*/ 855 w 1882"/>
                  <a:gd name="T45" fmla="*/ 395 h 694"/>
                  <a:gd name="T46" fmla="*/ 173 w 1882"/>
                  <a:gd name="T47" fmla="*/ 398 h 694"/>
                  <a:gd name="T48" fmla="*/ 100 w 1882"/>
                  <a:gd name="T49" fmla="*/ 420 h 694"/>
                  <a:gd name="T50" fmla="*/ 57 w 1882"/>
                  <a:gd name="T51" fmla="*/ 474 h 694"/>
                  <a:gd name="T52" fmla="*/ 54 w 1882"/>
                  <a:gd name="T53" fmla="*/ 548 h 694"/>
                  <a:gd name="T54" fmla="*/ 95 w 1882"/>
                  <a:gd name="T55" fmla="*/ 615 h 694"/>
                  <a:gd name="T56" fmla="*/ 179 w 1882"/>
                  <a:gd name="T57" fmla="*/ 644 h 694"/>
                  <a:gd name="T58" fmla="*/ 298 w 1882"/>
                  <a:gd name="T59" fmla="*/ 632 h 694"/>
                  <a:gd name="T60" fmla="*/ 355 w 1882"/>
                  <a:gd name="T61" fmla="*/ 654 h 694"/>
                  <a:gd name="T62" fmla="*/ 314 w 1882"/>
                  <a:gd name="T63" fmla="*/ 673 h 694"/>
                  <a:gd name="T64" fmla="*/ 217 w 1882"/>
                  <a:gd name="T65" fmla="*/ 694 h 694"/>
                  <a:gd name="T66" fmla="*/ 123 w 1882"/>
                  <a:gd name="T67" fmla="*/ 682 h 694"/>
                  <a:gd name="T68" fmla="*/ 35 w 1882"/>
                  <a:gd name="T69" fmla="*/ 627 h 694"/>
                  <a:gd name="T70" fmla="*/ 0 w 1882"/>
                  <a:gd name="T71" fmla="*/ 524 h 694"/>
                  <a:gd name="T72" fmla="*/ 19 w 1882"/>
                  <a:gd name="T73" fmla="*/ 439 h 694"/>
                  <a:gd name="T74" fmla="*/ 95 w 1882"/>
                  <a:gd name="T75" fmla="*/ 369 h 694"/>
                  <a:gd name="T76" fmla="*/ 197 w 1882"/>
                  <a:gd name="T77" fmla="*/ 350 h 694"/>
                  <a:gd name="T78" fmla="*/ 360 w 1882"/>
                  <a:gd name="T79" fmla="*/ 317 h 694"/>
                  <a:gd name="T80" fmla="*/ 335 w 1882"/>
                  <a:gd name="T81" fmla="*/ 231 h 694"/>
                  <a:gd name="T82" fmla="*/ 262 w 1882"/>
                  <a:gd name="T83" fmla="*/ 174 h 694"/>
                  <a:gd name="T84" fmla="*/ 157 w 1882"/>
                  <a:gd name="T85" fmla="*/ 167 h 694"/>
                  <a:gd name="T86" fmla="*/ 119 w 1882"/>
                  <a:gd name="T87" fmla="*/ 129 h 694"/>
                  <a:gd name="T88" fmla="*/ 157 w 1882"/>
                  <a:gd name="T89" fmla="*/ 121 h 694"/>
                  <a:gd name="T90" fmla="*/ 240 w 1882"/>
                  <a:gd name="T91" fmla="*/ 117 h 694"/>
                  <a:gd name="T92" fmla="*/ 335 w 1882"/>
                  <a:gd name="T93" fmla="*/ 157 h 694"/>
                  <a:gd name="T94" fmla="*/ 400 w 1882"/>
                  <a:gd name="T95" fmla="*/ 260 h 694"/>
                  <a:gd name="T96" fmla="*/ 412 w 1882"/>
                  <a:gd name="T97" fmla="*/ 350 h 694"/>
                  <a:gd name="T98" fmla="*/ 850 w 1882"/>
                  <a:gd name="T99" fmla="*/ 348 h 694"/>
                  <a:gd name="T100" fmla="*/ 872 w 1882"/>
                  <a:gd name="T101" fmla="*/ 339 h 694"/>
                  <a:gd name="T102" fmla="*/ 886 w 1882"/>
                  <a:gd name="T103" fmla="*/ 312 h 694"/>
                  <a:gd name="T104" fmla="*/ 934 w 1882"/>
                  <a:gd name="T105" fmla="*/ 126 h 694"/>
                  <a:gd name="T106" fmla="*/ 939 w 1882"/>
                  <a:gd name="T107" fmla="*/ 308 h 694"/>
                  <a:gd name="T108" fmla="*/ 975 w 1882"/>
                  <a:gd name="T109" fmla="*/ 348 h 694"/>
                  <a:gd name="T110" fmla="*/ 1072 w 1882"/>
                  <a:gd name="T111" fmla="*/ 350 h 694"/>
                  <a:gd name="T112" fmla="*/ 1096 w 1882"/>
                  <a:gd name="T113" fmla="*/ 343 h 694"/>
                  <a:gd name="T114" fmla="*/ 1113 w 1882"/>
                  <a:gd name="T115" fmla="*/ 326 h 694"/>
                  <a:gd name="T116" fmla="*/ 1118 w 1882"/>
                  <a:gd name="T117"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82" h="694">
                    <a:moveTo>
                      <a:pt x="1118" y="0"/>
                    </a:moveTo>
                    <a:lnTo>
                      <a:pt x="1165" y="0"/>
                    </a:lnTo>
                    <a:lnTo>
                      <a:pt x="1165" y="262"/>
                    </a:lnTo>
                    <a:lnTo>
                      <a:pt x="1167" y="286"/>
                    </a:lnTo>
                    <a:lnTo>
                      <a:pt x="1170" y="308"/>
                    </a:lnTo>
                    <a:lnTo>
                      <a:pt x="1179" y="327"/>
                    </a:lnTo>
                    <a:lnTo>
                      <a:pt x="1189" y="339"/>
                    </a:lnTo>
                    <a:lnTo>
                      <a:pt x="1206" y="348"/>
                    </a:lnTo>
                    <a:lnTo>
                      <a:pt x="1229" y="350"/>
                    </a:lnTo>
                    <a:lnTo>
                      <a:pt x="1621" y="350"/>
                    </a:lnTo>
                    <a:lnTo>
                      <a:pt x="1621" y="350"/>
                    </a:lnTo>
                    <a:lnTo>
                      <a:pt x="1621" y="317"/>
                    </a:lnTo>
                    <a:lnTo>
                      <a:pt x="1616" y="290"/>
                    </a:lnTo>
                    <a:lnTo>
                      <a:pt x="1609" y="264"/>
                    </a:lnTo>
                    <a:lnTo>
                      <a:pt x="1594" y="231"/>
                    </a:lnTo>
                    <a:lnTo>
                      <a:pt x="1573" y="207"/>
                    </a:lnTo>
                    <a:lnTo>
                      <a:pt x="1549" y="186"/>
                    </a:lnTo>
                    <a:lnTo>
                      <a:pt x="1522" y="174"/>
                    </a:lnTo>
                    <a:lnTo>
                      <a:pt x="1489" y="167"/>
                    </a:lnTo>
                    <a:lnTo>
                      <a:pt x="1456" y="164"/>
                    </a:lnTo>
                    <a:lnTo>
                      <a:pt x="1418" y="167"/>
                    </a:lnTo>
                    <a:lnTo>
                      <a:pt x="1382" y="174"/>
                    </a:lnTo>
                    <a:lnTo>
                      <a:pt x="1380" y="174"/>
                    </a:lnTo>
                    <a:lnTo>
                      <a:pt x="1380" y="129"/>
                    </a:lnTo>
                    <a:lnTo>
                      <a:pt x="1380" y="129"/>
                    </a:lnTo>
                    <a:lnTo>
                      <a:pt x="1397" y="126"/>
                    </a:lnTo>
                    <a:lnTo>
                      <a:pt x="1418" y="121"/>
                    </a:lnTo>
                    <a:lnTo>
                      <a:pt x="1441" y="117"/>
                    </a:lnTo>
                    <a:lnTo>
                      <a:pt x="1465" y="116"/>
                    </a:lnTo>
                    <a:lnTo>
                      <a:pt x="1499" y="117"/>
                    </a:lnTo>
                    <a:lnTo>
                      <a:pt x="1532" y="124"/>
                    </a:lnTo>
                    <a:lnTo>
                      <a:pt x="1559" y="135"/>
                    </a:lnTo>
                    <a:lnTo>
                      <a:pt x="1594" y="157"/>
                    </a:lnTo>
                    <a:lnTo>
                      <a:pt x="1623" y="186"/>
                    </a:lnTo>
                    <a:lnTo>
                      <a:pt x="1644" y="221"/>
                    </a:lnTo>
                    <a:lnTo>
                      <a:pt x="1659" y="260"/>
                    </a:lnTo>
                    <a:lnTo>
                      <a:pt x="1668" y="303"/>
                    </a:lnTo>
                    <a:lnTo>
                      <a:pt x="1671" y="350"/>
                    </a:lnTo>
                    <a:lnTo>
                      <a:pt x="1671" y="350"/>
                    </a:lnTo>
                    <a:lnTo>
                      <a:pt x="1837" y="350"/>
                    </a:lnTo>
                    <a:lnTo>
                      <a:pt x="1837" y="0"/>
                    </a:lnTo>
                    <a:lnTo>
                      <a:pt x="1882" y="0"/>
                    </a:lnTo>
                    <a:lnTo>
                      <a:pt x="1882" y="396"/>
                    </a:lnTo>
                    <a:lnTo>
                      <a:pt x="1229" y="396"/>
                    </a:lnTo>
                    <a:lnTo>
                      <a:pt x="1205" y="395"/>
                    </a:lnTo>
                    <a:lnTo>
                      <a:pt x="1184" y="388"/>
                    </a:lnTo>
                    <a:lnTo>
                      <a:pt x="1167" y="376"/>
                    </a:lnTo>
                    <a:lnTo>
                      <a:pt x="1155" y="358"/>
                    </a:lnTo>
                    <a:lnTo>
                      <a:pt x="1153" y="357"/>
                    </a:lnTo>
                    <a:lnTo>
                      <a:pt x="1153" y="358"/>
                    </a:lnTo>
                    <a:lnTo>
                      <a:pt x="1144" y="369"/>
                    </a:lnTo>
                    <a:lnTo>
                      <a:pt x="1136" y="376"/>
                    </a:lnTo>
                    <a:lnTo>
                      <a:pt x="1125" y="384"/>
                    </a:lnTo>
                    <a:lnTo>
                      <a:pt x="1113" y="389"/>
                    </a:lnTo>
                    <a:lnTo>
                      <a:pt x="1086" y="395"/>
                    </a:lnTo>
                    <a:lnTo>
                      <a:pt x="1049" y="396"/>
                    </a:lnTo>
                    <a:lnTo>
                      <a:pt x="996" y="396"/>
                    </a:lnTo>
                    <a:lnTo>
                      <a:pt x="996" y="396"/>
                    </a:lnTo>
                    <a:lnTo>
                      <a:pt x="974" y="395"/>
                    </a:lnTo>
                    <a:lnTo>
                      <a:pt x="953" y="388"/>
                    </a:lnTo>
                    <a:lnTo>
                      <a:pt x="936" y="376"/>
                    </a:lnTo>
                    <a:lnTo>
                      <a:pt x="924" y="358"/>
                    </a:lnTo>
                    <a:lnTo>
                      <a:pt x="922" y="357"/>
                    </a:lnTo>
                    <a:lnTo>
                      <a:pt x="920" y="358"/>
                    </a:lnTo>
                    <a:lnTo>
                      <a:pt x="913" y="369"/>
                    </a:lnTo>
                    <a:lnTo>
                      <a:pt x="905" y="376"/>
                    </a:lnTo>
                    <a:lnTo>
                      <a:pt x="894" y="384"/>
                    </a:lnTo>
                    <a:lnTo>
                      <a:pt x="882" y="389"/>
                    </a:lnTo>
                    <a:lnTo>
                      <a:pt x="855" y="395"/>
                    </a:lnTo>
                    <a:lnTo>
                      <a:pt x="819" y="396"/>
                    </a:lnTo>
                    <a:lnTo>
                      <a:pt x="197" y="396"/>
                    </a:lnTo>
                    <a:lnTo>
                      <a:pt x="173" y="398"/>
                    </a:lnTo>
                    <a:lnTo>
                      <a:pt x="147" y="401"/>
                    </a:lnTo>
                    <a:lnTo>
                      <a:pt x="123" y="408"/>
                    </a:lnTo>
                    <a:lnTo>
                      <a:pt x="100" y="420"/>
                    </a:lnTo>
                    <a:lnTo>
                      <a:pt x="80" y="436"/>
                    </a:lnTo>
                    <a:lnTo>
                      <a:pt x="64" y="456"/>
                    </a:lnTo>
                    <a:lnTo>
                      <a:pt x="57" y="474"/>
                    </a:lnTo>
                    <a:lnTo>
                      <a:pt x="52" y="494"/>
                    </a:lnTo>
                    <a:lnTo>
                      <a:pt x="50" y="517"/>
                    </a:lnTo>
                    <a:lnTo>
                      <a:pt x="54" y="548"/>
                    </a:lnTo>
                    <a:lnTo>
                      <a:pt x="62" y="575"/>
                    </a:lnTo>
                    <a:lnTo>
                      <a:pt x="78" y="598"/>
                    </a:lnTo>
                    <a:lnTo>
                      <a:pt x="95" y="615"/>
                    </a:lnTo>
                    <a:lnTo>
                      <a:pt x="119" y="629"/>
                    </a:lnTo>
                    <a:lnTo>
                      <a:pt x="145" y="637"/>
                    </a:lnTo>
                    <a:lnTo>
                      <a:pt x="179" y="644"/>
                    </a:lnTo>
                    <a:lnTo>
                      <a:pt x="219" y="644"/>
                    </a:lnTo>
                    <a:lnTo>
                      <a:pt x="264" y="641"/>
                    </a:lnTo>
                    <a:lnTo>
                      <a:pt x="298" y="632"/>
                    </a:lnTo>
                    <a:lnTo>
                      <a:pt x="336" y="617"/>
                    </a:lnTo>
                    <a:lnTo>
                      <a:pt x="336" y="617"/>
                    </a:lnTo>
                    <a:lnTo>
                      <a:pt x="355" y="654"/>
                    </a:lnTo>
                    <a:lnTo>
                      <a:pt x="355" y="654"/>
                    </a:lnTo>
                    <a:lnTo>
                      <a:pt x="335" y="665"/>
                    </a:lnTo>
                    <a:lnTo>
                      <a:pt x="314" y="673"/>
                    </a:lnTo>
                    <a:lnTo>
                      <a:pt x="271" y="685"/>
                    </a:lnTo>
                    <a:lnTo>
                      <a:pt x="233" y="692"/>
                    </a:lnTo>
                    <a:lnTo>
                      <a:pt x="217" y="694"/>
                    </a:lnTo>
                    <a:lnTo>
                      <a:pt x="205" y="694"/>
                    </a:lnTo>
                    <a:lnTo>
                      <a:pt x="162" y="691"/>
                    </a:lnTo>
                    <a:lnTo>
                      <a:pt x="123" y="682"/>
                    </a:lnTo>
                    <a:lnTo>
                      <a:pt x="88" y="668"/>
                    </a:lnTo>
                    <a:lnTo>
                      <a:pt x="57" y="651"/>
                    </a:lnTo>
                    <a:lnTo>
                      <a:pt x="35" y="627"/>
                    </a:lnTo>
                    <a:lnTo>
                      <a:pt x="16" y="598"/>
                    </a:lnTo>
                    <a:lnTo>
                      <a:pt x="6" y="563"/>
                    </a:lnTo>
                    <a:lnTo>
                      <a:pt x="0" y="524"/>
                    </a:lnTo>
                    <a:lnTo>
                      <a:pt x="4" y="491"/>
                    </a:lnTo>
                    <a:lnTo>
                      <a:pt x="9" y="463"/>
                    </a:lnTo>
                    <a:lnTo>
                      <a:pt x="19" y="439"/>
                    </a:lnTo>
                    <a:lnTo>
                      <a:pt x="40" y="408"/>
                    </a:lnTo>
                    <a:lnTo>
                      <a:pt x="64" y="386"/>
                    </a:lnTo>
                    <a:lnTo>
                      <a:pt x="95" y="369"/>
                    </a:lnTo>
                    <a:lnTo>
                      <a:pt x="128" y="358"/>
                    </a:lnTo>
                    <a:lnTo>
                      <a:pt x="162" y="351"/>
                    </a:lnTo>
                    <a:lnTo>
                      <a:pt x="197" y="350"/>
                    </a:lnTo>
                    <a:lnTo>
                      <a:pt x="362" y="350"/>
                    </a:lnTo>
                    <a:lnTo>
                      <a:pt x="362" y="350"/>
                    </a:lnTo>
                    <a:lnTo>
                      <a:pt x="360" y="317"/>
                    </a:lnTo>
                    <a:lnTo>
                      <a:pt x="357" y="290"/>
                    </a:lnTo>
                    <a:lnTo>
                      <a:pt x="350" y="264"/>
                    </a:lnTo>
                    <a:lnTo>
                      <a:pt x="335" y="231"/>
                    </a:lnTo>
                    <a:lnTo>
                      <a:pt x="314" y="207"/>
                    </a:lnTo>
                    <a:lnTo>
                      <a:pt x="290" y="186"/>
                    </a:lnTo>
                    <a:lnTo>
                      <a:pt x="262" y="174"/>
                    </a:lnTo>
                    <a:lnTo>
                      <a:pt x="229" y="167"/>
                    </a:lnTo>
                    <a:lnTo>
                      <a:pt x="195" y="164"/>
                    </a:lnTo>
                    <a:lnTo>
                      <a:pt x="157" y="167"/>
                    </a:lnTo>
                    <a:lnTo>
                      <a:pt x="121" y="174"/>
                    </a:lnTo>
                    <a:lnTo>
                      <a:pt x="119" y="174"/>
                    </a:lnTo>
                    <a:lnTo>
                      <a:pt x="119" y="129"/>
                    </a:lnTo>
                    <a:lnTo>
                      <a:pt x="121" y="129"/>
                    </a:lnTo>
                    <a:lnTo>
                      <a:pt x="136" y="126"/>
                    </a:lnTo>
                    <a:lnTo>
                      <a:pt x="157" y="121"/>
                    </a:lnTo>
                    <a:lnTo>
                      <a:pt x="181" y="117"/>
                    </a:lnTo>
                    <a:lnTo>
                      <a:pt x="205" y="116"/>
                    </a:lnTo>
                    <a:lnTo>
                      <a:pt x="240" y="117"/>
                    </a:lnTo>
                    <a:lnTo>
                      <a:pt x="271" y="124"/>
                    </a:lnTo>
                    <a:lnTo>
                      <a:pt x="298" y="135"/>
                    </a:lnTo>
                    <a:lnTo>
                      <a:pt x="335" y="157"/>
                    </a:lnTo>
                    <a:lnTo>
                      <a:pt x="362" y="186"/>
                    </a:lnTo>
                    <a:lnTo>
                      <a:pt x="385" y="221"/>
                    </a:lnTo>
                    <a:lnTo>
                      <a:pt x="400" y="260"/>
                    </a:lnTo>
                    <a:lnTo>
                      <a:pt x="409" y="303"/>
                    </a:lnTo>
                    <a:lnTo>
                      <a:pt x="412" y="350"/>
                    </a:lnTo>
                    <a:lnTo>
                      <a:pt x="412" y="350"/>
                    </a:lnTo>
                    <a:lnTo>
                      <a:pt x="812" y="350"/>
                    </a:lnTo>
                    <a:lnTo>
                      <a:pt x="841" y="350"/>
                    </a:lnTo>
                    <a:lnTo>
                      <a:pt x="850" y="348"/>
                    </a:lnTo>
                    <a:lnTo>
                      <a:pt x="858" y="346"/>
                    </a:lnTo>
                    <a:lnTo>
                      <a:pt x="865" y="343"/>
                    </a:lnTo>
                    <a:lnTo>
                      <a:pt x="872" y="339"/>
                    </a:lnTo>
                    <a:lnTo>
                      <a:pt x="877" y="333"/>
                    </a:lnTo>
                    <a:lnTo>
                      <a:pt x="882" y="326"/>
                    </a:lnTo>
                    <a:lnTo>
                      <a:pt x="886" y="312"/>
                    </a:lnTo>
                    <a:lnTo>
                      <a:pt x="888" y="293"/>
                    </a:lnTo>
                    <a:lnTo>
                      <a:pt x="888" y="126"/>
                    </a:lnTo>
                    <a:lnTo>
                      <a:pt x="934" y="126"/>
                    </a:lnTo>
                    <a:lnTo>
                      <a:pt x="934" y="262"/>
                    </a:lnTo>
                    <a:lnTo>
                      <a:pt x="936" y="286"/>
                    </a:lnTo>
                    <a:lnTo>
                      <a:pt x="939" y="308"/>
                    </a:lnTo>
                    <a:lnTo>
                      <a:pt x="948" y="327"/>
                    </a:lnTo>
                    <a:lnTo>
                      <a:pt x="958" y="339"/>
                    </a:lnTo>
                    <a:lnTo>
                      <a:pt x="975" y="348"/>
                    </a:lnTo>
                    <a:lnTo>
                      <a:pt x="998" y="350"/>
                    </a:lnTo>
                    <a:lnTo>
                      <a:pt x="1043" y="350"/>
                    </a:lnTo>
                    <a:lnTo>
                      <a:pt x="1072" y="350"/>
                    </a:lnTo>
                    <a:lnTo>
                      <a:pt x="1080" y="348"/>
                    </a:lnTo>
                    <a:lnTo>
                      <a:pt x="1089" y="346"/>
                    </a:lnTo>
                    <a:lnTo>
                      <a:pt x="1096" y="343"/>
                    </a:lnTo>
                    <a:lnTo>
                      <a:pt x="1103" y="339"/>
                    </a:lnTo>
                    <a:lnTo>
                      <a:pt x="1108" y="333"/>
                    </a:lnTo>
                    <a:lnTo>
                      <a:pt x="1113" y="326"/>
                    </a:lnTo>
                    <a:lnTo>
                      <a:pt x="1117" y="312"/>
                    </a:lnTo>
                    <a:lnTo>
                      <a:pt x="1118" y="293"/>
                    </a:lnTo>
                    <a:lnTo>
                      <a:pt x="1118"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22" name="Rectangle 21">
                <a:extLst>
                  <a:ext uri="{FF2B5EF4-FFF2-40B4-BE49-F238E27FC236}">
                    <a16:creationId xmlns:a16="http://schemas.microsoft.com/office/drawing/2014/main" xmlns="" id="{FB0EB411-A7AE-42DE-8CCE-FBF308FD278C}"/>
                  </a:ext>
                </a:extLst>
              </p:cNvPr>
              <p:cNvSpPr>
                <a:spLocks noChangeArrowheads="1"/>
              </p:cNvSpPr>
              <p:nvPr userDrawn="1"/>
            </p:nvSpPr>
            <p:spPr bwMode="auto">
              <a:xfrm>
                <a:off x="2577465" y="2316121"/>
                <a:ext cx="29210" cy="251460"/>
              </a:xfrm>
              <a:prstGeom prst="rect">
                <a:avLst/>
              </a:prstGeom>
              <a:grpFill/>
              <a:ln w="0">
                <a:noFill/>
                <a:prstDash val="solid"/>
                <a:miter lim="800000"/>
                <a:headEnd/>
                <a:tailEnd/>
              </a:ln>
            </p:spPr>
            <p:txBody>
              <a:bodyPr rot="0" vert="horz" wrap="square" lIns="91440" tIns="45720" rIns="91440" bIns="45720" anchor="t" anchorCtr="0" upright="1">
                <a:noAutofit/>
              </a:bodyPr>
              <a:lstStyle/>
              <a:p>
                <a:endParaRPr lang="en-IN" dirty="0"/>
              </a:p>
            </p:txBody>
          </p:sp>
          <p:sp>
            <p:nvSpPr>
              <p:cNvPr id="23" name="Freeform 21">
                <a:extLst>
                  <a:ext uri="{FF2B5EF4-FFF2-40B4-BE49-F238E27FC236}">
                    <a16:creationId xmlns:a16="http://schemas.microsoft.com/office/drawing/2014/main" xmlns="" id="{07C774DE-F40D-4580-B5EA-2354ABE6E3F3}"/>
                  </a:ext>
                </a:extLst>
              </p:cNvPr>
              <p:cNvSpPr>
                <a:spLocks/>
              </p:cNvSpPr>
              <p:nvPr userDrawn="1"/>
            </p:nvSpPr>
            <p:spPr bwMode="auto">
              <a:xfrm>
                <a:off x="2898775" y="2365651"/>
                <a:ext cx="78105" cy="83185"/>
              </a:xfrm>
              <a:custGeom>
                <a:avLst/>
                <a:gdLst>
                  <a:gd name="T0" fmla="*/ 81 w 123"/>
                  <a:gd name="T1" fmla="*/ 0 h 131"/>
                  <a:gd name="T2" fmla="*/ 97 w 123"/>
                  <a:gd name="T3" fmla="*/ 0 h 131"/>
                  <a:gd name="T4" fmla="*/ 104 w 123"/>
                  <a:gd name="T5" fmla="*/ 0 h 131"/>
                  <a:gd name="T6" fmla="*/ 109 w 123"/>
                  <a:gd name="T7" fmla="*/ 2 h 131"/>
                  <a:gd name="T8" fmla="*/ 109 w 123"/>
                  <a:gd name="T9" fmla="*/ 2 h 131"/>
                  <a:gd name="T10" fmla="*/ 109 w 123"/>
                  <a:gd name="T11" fmla="*/ 33 h 131"/>
                  <a:gd name="T12" fmla="*/ 109 w 123"/>
                  <a:gd name="T13" fmla="*/ 31 h 131"/>
                  <a:gd name="T14" fmla="*/ 100 w 123"/>
                  <a:gd name="T15" fmla="*/ 29 h 131"/>
                  <a:gd name="T16" fmla="*/ 95 w 123"/>
                  <a:gd name="T17" fmla="*/ 29 h 131"/>
                  <a:gd name="T18" fmla="*/ 83 w 123"/>
                  <a:gd name="T19" fmla="*/ 27 h 131"/>
                  <a:gd name="T20" fmla="*/ 64 w 123"/>
                  <a:gd name="T21" fmla="*/ 31 h 131"/>
                  <a:gd name="T22" fmla="*/ 52 w 123"/>
                  <a:gd name="T23" fmla="*/ 39 h 131"/>
                  <a:gd name="T24" fmla="*/ 48 w 123"/>
                  <a:gd name="T25" fmla="*/ 46 h 131"/>
                  <a:gd name="T26" fmla="*/ 45 w 123"/>
                  <a:gd name="T27" fmla="*/ 55 h 131"/>
                  <a:gd name="T28" fmla="*/ 43 w 123"/>
                  <a:gd name="T29" fmla="*/ 63 h 131"/>
                  <a:gd name="T30" fmla="*/ 47 w 123"/>
                  <a:gd name="T31" fmla="*/ 79 h 131"/>
                  <a:gd name="T32" fmla="*/ 57 w 123"/>
                  <a:gd name="T33" fmla="*/ 93 h 131"/>
                  <a:gd name="T34" fmla="*/ 73 w 123"/>
                  <a:gd name="T35" fmla="*/ 100 h 131"/>
                  <a:gd name="T36" fmla="*/ 95 w 123"/>
                  <a:gd name="T37" fmla="*/ 103 h 131"/>
                  <a:gd name="T38" fmla="*/ 123 w 123"/>
                  <a:gd name="T39" fmla="*/ 103 h 131"/>
                  <a:gd name="T40" fmla="*/ 123 w 123"/>
                  <a:gd name="T41" fmla="*/ 131 h 131"/>
                  <a:gd name="T42" fmla="*/ 0 w 123"/>
                  <a:gd name="T43" fmla="*/ 131 h 131"/>
                  <a:gd name="T44" fmla="*/ 0 w 123"/>
                  <a:gd name="T45" fmla="*/ 103 h 131"/>
                  <a:gd name="T46" fmla="*/ 35 w 123"/>
                  <a:gd name="T47" fmla="*/ 103 h 131"/>
                  <a:gd name="T48" fmla="*/ 31 w 123"/>
                  <a:gd name="T49" fmla="*/ 101 h 131"/>
                  <a:gd name="T50" fmla="*/ 21 w 123"/>
                  <a:gd name="T51" fmla="*/ 82 h 131"/>
                  <a:gd name="T52" fmla="*/ 17 w 123"/>
                  <a:gd name="T53" fmla="*/ 62 h 131"/>
                  <a:gd name="T54" fmla="*/ 19 w 123"/>
                  <a:gd name="T55" fmla="*/ 43 h 131"/>
                  <a:gd name="T56" fmla="*/ 26 w 123"/>
                  <a:gd name="T57" fmla="*/ 27 h 131"/>
                  <a:gd name="T58" fmla="*/ 36 w 123"/>
                  <a:gd name="T59" fmla="*/ 15 h 131"/>
                  <a:gd name="T60" fmla="*/ 57 w 123"/>
                  <a:gd name="T61" fmla="*/ 3 h 131"/>
                  <a:gd name="T62" fmla="*/ 81 w 123"/>
                  <a:gd name="T6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3" h="131">
                    <a:moveTo>
                      <a:pt x="81" y="0"/>
                    </a:moveTo>
                    <a:lnTo>
                      <a:pt x="97" y="0"/>
                    </a:lnTo>
                    <a:lnTo>
                      <a:pt x="104" y="0"/>
                    </a:lnTo>
                    <a:lnTo>
                      <a:pt x="109" y="2"/>
                    </a:lnTo>
                    <a:lnTo>
                      <a:pt x="109" y="2"/>
                    </a:lnTo>
                    <a:lnTo>
                      <a:pt x="109" y="33"/>
                    </a:lnTo>
                    <a:lnTo>
                      <a:pt x="109" y="31"/>
                    </a:lnTo>
                    <a:lnTo>
                      <a:pt x="100" y="29"/>
                    </a:lnTo>
                    <a:lnTo>
                      <a:pt x="95" y="29"/>
                    </a:lnTo>
                    <a:lnTo>
                      <a:pt x="83" y="27"/>
                    </a:lnTo>
                    <a:lnTo>
                      <a:pt x="64" y="31"/>
                    </a:lnTo>
                    <a:lnTo>
                      <a:pt x="52" y="39"/>
                    </a:lnTo>
                    <a:lnTo>
                      <a:pt x="48" y="46"/>
                    </a:lnTo>
                    <a:lnTo>
                      <a:pt x="45" y="55"/>
                    </a:lnTo>
                    <a:lnTo>
                      <a:pt x="43" y="63"/>
                    </a:lnTo>
                    <a:lnTo>
                      <a:pt x="47" y="79"/>
                    </a:lnTo>
                    <a:lnTo>
                      <a:pt x="57" y="93"/>
                    </a:lnTo>
                    <a:lnTo>
                      <a:pt x="73" y="100"/>
                    </a:lnTo>
                    <a:lnTo>
                      <a:pt x="95" y="103"/>
                    </a:lnTo>
                    <a:lnTo>
                      <a:pt x="123" y="103"/>
                    </a:lnTo>
                    <a:lnTo>
                      <a:pt x="123" y="131"/>
                    </a:lnTo>
                    <a:lnTo>
                      <a:pt x="0" y="131"/>
                    </a:lnTo>
                    <a:lnTo>
                      <a:pt x="0" y="103"/>
                    </a:lnTo>
                    <a:lnTo>
                      <a:pt x="35" y="103"/>
                    </a:lnTo>
                    <a:lnTo>
                      <a:pt x="31" y="101"/>
                    </a:lnTo>
                    <a:lnTo>
                      <a:pt x="21" y="82"/>
                    </a:lnTo>
                    <a:lnTo>
                      <a:pt x="17" y="62"/>
                    </a:lnTo>
                    <a:lnTo>
                      <a:pt x="19" y="43"/>
                    </a:lnTo>
                    <a:lnTo>
                      <a:pt x="26" y="27"/>
                    </a:lnTo>
                    <a:lnTo>
                      <a:pt x="36" y="15"/>
                    </a:lnTo>
                    <a:lnTo>
                      <a:pt x="57" y="3"/>
                    </a:lnTo>
                    <a:lnTo>
                      <a:pt x="81"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24" name="Freeform 22">
                <a:extLst>
                  <a:ext uri="{FF2B5EF4-FFF2-40B4-BE49-F238E27FC236}">
                    <a16:creationId xmlns:a16="http://schemas.microsoft.com/office/drawing/2014/main" xmlns="" id="{E28709D3-873B-4E5C-AF5E-D46DDDD91AA6}"/>
                  </a:ext>
                </a:extLst>
              </p:cNvPr>
              <p:cNvSpPr>
                <a:spLocks/>
              </p:cNvSpPr>
              <p:nvPr userDrawn="1"/>
            </p:nvSpPr>
            <p:spPr bwMode="auto">
              <a:xfrm>
                <a:off x="3394710" y="2293261"/>
                <a:ext cx="40005" cy="39370"/>
              </a:xfrm>
              <a:custGeom>
                <a:avLst/>
                <a:gdLst>
                  <a:gd name="T0" fmla="*/ 31 w 63"/>
                  <a:gd name="T1" fmla="*/ 0 h 62"/>
                  <a:gd name="T2" fmla="*/ 39 w 63"/>
                  <a:gd name="T3" fmla="*/ 0 h 62"/>
                  <a:gd name="T4" fmla="*/ 46 w 63"/>
                  <a:gd name="T5" fmla="*/ 4 h 62"/>
                  <a:gd name="T6" fmla="*/ 53 w 63"/>
                  <a:gd name="T7" fmla="*/ 9 h 62"/>
                  <a:gd name="T8" fmla="*/ 58 w 63"/>
                  <a:gd name="T9" fmla="*/ 16 h 62"/>
                  <a:gd name="T10" fmla="*/ 62 w 63"/>
                  <a:gd name="T11" fmla="*/ 23 h 62"/>
                  <a:gd name="T12" fmla="*/ 63 w 63"/>
                  <a:gd name="T13" fmla="*/ 31 h 62"/>
                  <a:gd name="T14" fmla="*/ 62 w 63"/>
                  <a:gd name="T15" fmla="*/ 40 h 62"/>
                  <a:gd name="T16" fmla="*/ 58 w 63"/>
                  <a:gd name="T17" fmla="*/ 47 h 62"/>
                  <a:gd name="T18" fmla="*/ 53 w 63"/>
                  <a:gd name="T19" fmla="*/ 54 h 62"/>
                  <a:gd name="T20" fmla="*/ 46 w 63"/>
                  <a:gd name="T21" fmla="*/ 59 h 62"/>
                  <a:gd name="T22" fmla="*/ 39 w 63"/>
                  <a:gd name="T23" fmla="*/ 62 h 62"/>
                  <a:gd name="T24" fmla="*/ 31 w 63"/>
                  <a:gd name="T25" fmla="*/ 62 h 62"/>
                  <a:gd name="T26" fmla="*/ 22 w 63"/>
                  <a:gd name="T27" fmla="*/ 62 h 62"/>
                  <a:gd name="T28" fmla="*/ 15 w 63"/>
                  <a:gd name="T29" fmla="*/ 59 h 62"/>
                  <a:gd name="T30" fmla="*/ 8 w 63"/>
                  <a:gd name="T31" fmla="*/ 54 h 62"/>
                  <a:gd name="T32" fmla="*/ 3 w 63"/>
                  <a:gd name="T33" fmla="*/ 47 h 62"/>
                  <a:gd name="T34" fmla="*/ 1 w 63"/>
                  <a:gd name="T35" fmla="*/ 40 h 62"/>
                  <a:gd name="T36" fmla="*/ 0 w 63"/>
                  <a:gd name="T37" fmla="*/ 31 h 62"/>
                  <a:gd name="T38" fmla="*/ 1 w 63"/>
                  <a:gd name="T39" fmla="*/ 23 h 62"/>
                  <a:gd name="T40" fmla="*/ 3 w 63"/>
                  <a:gd name="T41" fmla="*/ 16 h 62"/>
                  <a:gd name="T42" fmla="*/ 8 w 63"/>
                  <a:gd name="T43" fmla="*/ 9 h 62"/>
                  <a:gd name="T44" fmla="*/ 15 w 63"/>
                  <a:gd name="T45" fmla="*/ 4 h 62"/>
                  <a:gd name="T46" fmla="*/ 22 w 63"/>
                  <a:gd name="T47" fmla="*/ 0 h 62"/>
                  <a:gd name="T48" fmla="*/ 31 w 63"/>
                  <a:gd name="T4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 h="62">
                    <a:moveTo>
                      <a:pt x="31" y="0"/>
                    </a:moveTo>
                    <a:lnTo>
                      <a:pt x="39" y="0"/>
                    </a:lnTo>
                    <a:lnTo>
                      <a:pt x="46" y="4"/>
                    </a:lnTo>
                    <a:lnTo>
                      <a:pt x="53" y="9"/>
                    </a:lnTo>
                    <a:lnTo>
                      <a:pt x="58" y="16"/>
                    </a:lnTo>
                    <a:lnTo>
                      <a:pt x="62" y="23"/>
                    </a:lnTo>
                    <a:lnTo>
                      <a:pt x="63" y="31"/>
                    </a:lnTo>
                    <a:lnTo>
                      <a:pt x="62" y="40"/>
                    </a:lnTo>
                    <a:lnTo>
                      <a:pt x="58" y="47"/>
                    </a:lnTo>
                    <a:lnTo>
                      <a:pt x="53" y="54"/>
                    </a:lnTo>
                    <a:lnTo>
                      <a:pt x="46" y="59"/>
                    </a:lnTo>
                    <a:lnTo>
                      <a:pt x="39" y="62"/>
                    </a:lnTo>
                    <a:lnTo>
                      <a:pt x="31" y="62"/>
                    </a:lnTo>
                    <a:lnTo>
                      <a:pt x="22" y="62"/>
                    </a:lnTo>
                    <a:lnTo>
                      <a:pt x="15" y="59"/>
                    </a:lnTo>
                    <a:lnTo>
                      <a:pt x="8" y="54"/>
                    </a:lnTo>
                    <a:lnTo>
                      <a:pt x="3" y="47"/>
                    </a:lnTo>
                    <a:lnTo>
                      <a:pt x="1" y="40"/>
                    </a:lnTo>
                    <a:lnTo>
                      <a:pt x="0" y="31"/>
                    </a:lnTo>
                    <a:lnTo>
                      <a:pt x="1" y="23"/>
                    </a:lnTo>
                    <a:lnTo>
                      <a:pt x="3" y="16"/>
                    </a:lnTo>
                    <a:lnTo>
                      <a:pt x="8" y="9"/>
                    </a:lnTo>
                    <a:lnTo>
                      <a:pt x="15" y="4"/>
                    </a:lnTo>
                    <a:lnTo>
                      <a:pt x="22" y="0"/>
                    </a:lnTo>
                    <a:lnTo>
                      <a:pt x="31"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25" name="Freeform 23">
                <a:extLst>
                  <a:ext uri="{FF2B5EF4-FFF2-40B4-BE49-F238E27FC236}">
                    <a16:creationId xmlns:a16="http://schemas.microsoft.com/office/drawing/2014/main" xmlns="" id="{0458D9D0-FE86-470C-8BAB-369A0C6D2D12}"/>
                  </a:ext>
                </a:extLst>
              </p:cNvPr>
              <p:cNvSpPr>
                <a:spLocks/>
              </p:cNvSpPr>
              <p:nvPr userDrawn="1"/>
            </p:nvSpPr>
            <p:spPr bwMode="auto">
              <a:xfrm>
                <a:off x="2742565" y="2316121"/>
                <a:ext cx="831215" cy="251460"/>
              </a:xfrm>
              <a:custGeom>
                <a:avLst/>
                <a:gdLst>
                  <a:gd name="T0" fmla="*/ 563 w 1309"/>
                  <a:gd name="T1" fmla="*/ 0 h 396"/>
                  <a:gd name="T2" fmla="*/ 563 w 1309"/>
                  <a:gd name="T3" fmla="*/ 281 h 396"/>
                  <a:gd name="T4" fmla="*/ 570 w 1309"/>
                  <a:gd name="T5" fmla="*/ 314 h 396"/>
                  <a:gd name="T6" fmla="*/ 582 w 1309"/>
                  <a:gd name="T7" fmla="*/ 333 h 396"/>
                  <a:gd name="T8" fmla="*/ 596 w 1309"/>
                  <a:gd name="T9" fmla="*/ 345 h 396"/>
                  <a:gd name="T10" fmla="*/ 627 w 1309"/>
                  <a:gd name="T11" fmla="*/ 350 h 396"/>
                  <a:gd name="T12" fmla="*/ 987 w 1309"/>
                  <a:gd name="T13" fmla="*/ 350 h 396"/>
                  <a:gd name="T14" fmla="*/ 1004 w 1309"/>
                  <a:gd name="T15" fmla="*/ 346 h 396"/>
                  <a:gd name="T16" fmla="*/ 1018 w 1309"/>
                  <a:gd name="T17" fmla="*/ 339 h 396"/>
                  <a:gd name="T18" fmla="*/ 1028 w 1309"/>
                  <a:gd name="T19" fmla="*/ 326 h 396"/>
                  <a:gd name="T20" fmla="*/ 1034 w 1309"/>
                  <a:gd name="T21" fmla="*/ 293 h 396"/>
                  <a:gd name="T22" fmla="*/ 1080 w 1309"/>
                  <a:gd name="T23" fmla="*/ 126 h 396"/>
                  <a:gd name="T24" fmla="*/ 1082 w 1309"/>
                  <a:gd name="T25" fmla="*/ 286 h 396"/>
                  <a:gd name="T26" fmla="*/ 1094 w 1309"/>
                  <a:gd name="T27" fmla="*/ 327 h 396"/>
                  <a:gd name="T28" fmla="*/ 1121 w 1309"/>
                  <a:gd name="T29" fmla="*/ 348 h 396"/>
                  <a:gd name="T30" fmla="*/ 1264 w 1309"/>
                  <a:gd name="T31" fmla="*/ 350 h 396"/>
                  <a:gd name="T32" fmla="*/ 1309 w 1309"/>
                  <a:gd name="T33" fmla="*/ 126 h 396"/>
                  <a:gd name="T34" fmla="*/ 1144 w 1309"/>
                  <a:gd name="T35" fmla="*/ 396 h 396"/>
                  <a:gd name="T36" fmla="*/ 1120 w 1309"/>
                  <a:gd name="T37" fmla="*/ 395 h 396"/>
                  <a:gd name="T38" fmla="*/ 1082 w 1309"/>
                  <a:gd name="T39" fmla="*/ 376 h 396"/>
                  <a:gd name="T40" fmla="*/ 1068 w 1309"/>
                  <a:gd name="T41" fmla="*/ 357 h 396"/>
                  <a:gd name="T42" fmla="*/ 1059 w 1309"/>
                  <a:gd name="T43" fmla="*/ 369 h 396"/>
                  <a:gd name="T44" fmla="*/ 1040 w 1309"/>
                  <a:gd name="T45" fmla="*/ 384 h 396"/>
                  <a:gd name="T46" fmla="*/ 1001 w 1309"/>
                  <a:gd name="T47" fmla="*/ 395 h 396"/>
                  <a:gd name="T48" fmla="*/ 627 w 1309"/>
                  <a:gd name="T49" fmla="*/ 396 h 396"/>
                  <a:gd name="T50" fmla="*/ 582 w 1309"/>
                  <a:gd name="T51" fmla="*/ 388 h 396"/>
                  <a:gd name="T52" fmla="*/ 553 w 1309"/>
                  <a:gd name="T53" fmla="*/ 358 h 396"/>
                  <a:gd name="T54" fmla="*/ 549 w 1309"/>
                  <a:gd name="T55" fmla="*/ 358 h 396"/>
                  <a:gd name="T56" fmla="*/ 512 w 1309"/>
                  <a:gd name="T57" fmla="*/ 389 h 396"/>
                  <a:gd name="T58" fmla="*/ 448 w 1309"/>
                  <a:gd name="T59" fmla="*/ 396 h 396"/>
                  <a:gd name="T60" fmla="*/ 105 w 1309"/>
                  <a:gd name="T61" fmla="*/ 396 h 396"/>
                  <a:gd name="T62" fmla="*/ 50 w 1309"/>
                  <a:gd name="T63" fmla="*/ 384 h 396"/>
                  <a:gd name="T64" fmla="*/ 15 w 1309"/>
                  <a:gd name="T65" fmla="*/ 360 h 396"/>
                  <a:gd name="T66" fmla="*/ 2 w 1309"/>
                  <a:gd name="T67" fmla="*/ 322 h 396"/>
                  <a:gd name="T68" fmla="*/ 0 w 1309"/>
                  <a:gd name="T69" fmla="*/ 190 h 396"/>
                  <a:gd name="T70" fmla="*/ 45 w 1309"/>
                  <a:gd name="T71" fmla="*/ 274 h 396"/>
                  <a:gd name="T72" fmla="*/ 50 w 1309"/>
                  <a:gd name="T73" fmla="*/ 315 h 396"/>
                  <a:gd name="T74" fmla="*/ 58 w 1309"/>
                  <a:gd name="T75" fmla="*/ 327 h 396"/>
                  <a:gd name="T76" fmla="*/ 71 w 1309"/>
                  <a:gd name="T77" fmla="*/ 338 h 396"/>
                  <a:gd name="T78" fmla="*/ 108 w 1309"/>
                  <a:gd name="T79" fmla="*/ 348 h 396"/>
                  <a:gd name="T80" fmla="*/ 170 w 1309"/>
                  <a:gd name="T81" fmla="*/ 350 h 396"/>
                  <a:gd name="T82" fmla="*/ 470 w 1309"/>
                  <a:gd name="T83" fmla="*/ 350 h 396"/>
                  <a:gd name="T84" fmla="*/ 487 w 1309"/>
                  <a:gd name="T85" fmla="*/ 346 h 396"/>
                  <a:gd name="T86" fmla="*/ 501 w 1309"/>
                  <a:gd name="T87" fmla="*/ 339 h 396"/>
                  <a:gd name="T88" fmla="*/ 512 w 1309"/>
                  <a:gd name="T89" fmla="*/ 326 h 396"/>
                  <a:gd name="T90" fmla="*/ 517 w 1309"/>
                  <a:gd name="T91" fmla="*/ 293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9" h="396">
                    <a:moveTo>
                      <a:pt x="517" y="0"/>
                    </a:moveTo>
                    <a:lnTo>
                      <a:pt x="563" y="0"/>
                    </a:lnTo>
                    <a:lnTo>
                      <a:pt x="563" y="262"/>
                    </a:lnTo>
                    <a:lnTo>
                      <a:pt x="563" y="281"/>
                    </a:lnTo>
                    <a:lnTo>
                      <a:pt x="567" y="298"/>
                    </a:lnTo>
                    <a:lnTo>
                      <a:pt x="570" y="314"/>
                    </a:lnTo>
                    <a:lnTo>
                      <a:pt x="577" y="326"/>
                    </a:lnTo>
                    <a:lnTo>
                      <a:pt x="582" y="333"/>
                    </a:lnTo>
                    <a:lnTo>
                      <a:pt x="589" y="339"/>
                    </a:lnTo>
                    <a:lnTo>
                      <a:pt x="596" y="345"/>
                    </a:lnTo>
                    <a:lnTo>
                      <a:pt x="610" y="348"/>
                    </a:lnTo>
                    <a:lnTo>
                      <a:pt x="627" y="350"/>
                    </a:lnTo>
                    <a:lnTo>
                      <a:pt x="959" y="350"/>
                    </a:lnTo>
                    <a:lnTo>
                      <a:pt x="987" y="350"/>
                    </a:lnTo>
                    <a:lnTo>
                      <a:pt x="996" y="348"/>
                    </a:lnTo>
                    <a:lnTo>
                      <a:pt x="1004" y="346"/>
                    </a:lnTo>
                    <a:lnTo>
                      <a:pt x="1011" y="343"/>
                    </a:lnTo>
                    <a:lnTo>
                      <a:pt x="1018" y="339"/>
                    </a:lnTo>
                    <a:lnTo>
                      <a:pt x="1023" y="333"/>
                    </a:lnTo>
                    <a:lnTo>
                      <a:pt x="1028" y="326"/>
                    </a:lnTo>
                    <a:lnTo>
                      <a:pt x="1034" y="312"/>
                    </a:lnTo>
                    <a:lnTo>
                      <a:pt x="1034" y="293"/>
                    </a:lnTo>
                    <a:lnTo>
                      <a:pt x="1034" y="126"/>
                    </a:lnTo>
                    <a:lnTo>
                      <a:pt x="1080" y="126"/>
                    </a:lnTo>
                    <a:lnTo>
                      <a:pt x="1080" y="262"/>
                    </a:lnTo>
                    <a:lnTo>
                      <a:pt x="1082" y="286"/>
                    </a:lnTo>
                    <a:lnTo>
                      <a:pt x="1087" y="308"/>
                    </a:lnTo>
                    <a:lnTo>
                      <a:pt x="1094" y="327"/>
                    </a:lnTo>
                    <a:lnTo>
                      <a:pt x="1106" y="339"/>
                    </a:lnTo>
                    <a:lnTo>
                      <a:pt x="1121" y="348"/>
                    </a:lnTo>
                    <a:lnTo>
                      <a:pt x="1144" y="350"/>
                    </a:lnTo>
                    <a:lnTo>
                      <a:pt x="1264" y="350"/>
                    </a:lnTo>
                    <a:lnTo>
                      <a:pt x="1264" y="126"/>
                    </a:lnTo>
                    <a:lnTo>
                      <a:pt x="1309" y="126"/>
                    </a:lnTo>
                    <a:lnTo>
                      <a:pt x="1309" y="396"/>
                    </a:lnTo>
                    <a:lnTo>
                      <a:pt x="1144" y="396"/>
                    </a:lnTo>
                    <a:lnTo>
                      <a:pt x="1142" y="396"/>
                    </a:lnTo>
                    <a:lnTo>
                      <a:pt x="1120" y="395"/>
                    </a:lnTo>
                    <a:lnTo>
                      <a:pt x="1099" y="388"/>
                    </a:lnTo>
                    <a:lnTo>
                      <a:pt x="1082" y="376"/>
                    </a:lnTo>
                    <a:lnTo>
                      <a:pt x="1070" y="358"/>
                    </a:lnTo>
                    <a:lnTo>
                      <a:pt x="1068" y="357"/>
                    </a:lnTo>
                    <a:lnTo>
                      <a:pt x="1068" y="358"/>
                    </a:lnTo>
                    <a:lnTo>
                      <a:pt x="1059" y="369"/>
                    </a:lnTo>
                    <a:lnTo>
                      <a:pt x="1051" y="376"/>
                    </a:lnTo>
                    <a:lnTo>
                      <a:pt x="1040" y="384"/>
                    </a:lnTo>
                    <a:lnTo>
                      <a:pt x="1028" y="389"/>
                    </a:lnTo>
                    <a:lnTo>
                      <a:pt x="1001" y="395"/>
                    </a:lnTo>
                    <a:lnTo>
                      <a:pt x="965" y="396"/>
                    </a:lnTo>
                    <a:lnTo>
                      <a:pt x="627" y="396"/>
                    </a:lnTo>
                    <a:lnTo>
                      <a:pt x="603" y="395"/>
                    </a:lnTo>
                    <a:lnTo>
                      <a:pt x="582" y="388"/>
                    </a:lnTo>
                    <a:lnTo>
                      <a:pt x="565" y="376"/>
                    </a:lnTo>
                    <a:lnTo>
                      <a:pt x="553" y="358"/>
                    </a:lnTo>
                    <a:lnTo>
                      <a:pt x="551" y="357"/>
                    </a:lnTo>
                    <a:lnTo>
                      <a:pt x="549" y="358"/>
                    </a:lnTo>
                    <a:lnTo>
                      <a:pt x="532" y="377"/>
                    </a:lnTo>
                    <a:lnTo>
                      <a:pt x="512" y="389"/>
                    </a:lnTo>
                    <a:lnTo>
                      <a:pt x="484" y="395"/>
                    </a:lnTo>
                    <a:lnTo>
                      <a:pt x="448" y="396"/>
                    </a:lnTo>
                    <a:lnTo>
                      <a:pt x="141" y="396"/>
                    </a:lnTo>
                    <a:lnTo>
                      <a:pt x="105" y="396"/>
                    </a:lnTo>
                    <a:lnTo>
                      <a:pt x="74" y="391"/>
                    </a:lnTo>
                    <a:lnTo>
                      <a:pt x="50" y="384"/>
                    </a:lnTo>
                    <a:lnTo>
                      <a:pt x="31" y="374"/>
                    </a:lnTo>
                    <a:lnTo>
                      <a:pt x="15" y="360"/>
                    </a:lnTo>
                    <a:lnTo>
                      <a:pt x="7" y="343"/>
                    </a:lnTo>
                    <a:lnTo>
                      <a:pt x="2" y="322"/>
                    </a:lnTo>
                    <a:lnTo>
                      <a:pt x="0" y="296"/>
                    </a:lnTo>
                    <a:lnTo>
                      <a:pt x="0" y="190"/>
                    </a:lnTo>
                    <a:lnTo>
                      <a:pt x="45" y="190"/>
                    </a:lnTo>
                    <a:lnTo>
                      <a:pt x="45" y="274"/>
                    </a:lnTo>
                    <a:lnTo>
                      <a:pt x="46" y="296"/>
                    </a:lnTo>
                    <a:lnTo>
                      <a:pt x="50" y="315"/>
                    </a:lnTo>
                    <a:lnTo>
                      <a:pt x="53" y="322"/>
                    </a:lnTo>
                    <a:lnTo>
                      <a:pt x="58" y="327"/>
                    </a:lnTo>
                    <a:lnTo>
                      <a:pt x="64" y="333"/>
                    </a:lnTo>
                    <a:lnTo>
                      <a:pt x="71" y="338"/>
                    </a:lnTo>
                    <a:lnTo>
                      <a:pt x="88" y="345"/>
                    </a:lnTo>
                    <a:lnTo>
                      <a:pt x="108" y="348"/>
                    </a:lnTo>
                    <a:lnTo>
                      <a:pt x="138" y="350"/>
                    </a:lnTo>
                    <a:lnTo>
                      <a:pt x="170" y="350"/>
                    </a:lnTo>
                    <a:lnTo>
                      <a:pt x="443" y="350"/>
                    </a:lnTo>
                    <a:lnTo>
                      <a:pt x="470" y="350"/>
                    </a:lnTo>
                    <a:lnTo>
                      <a:pt x="479" y="348"/>
                    </a:lnTo>
                    <a:lnTo>
                      <a:pt x="487" y="346"/>
                    </a:lnTo>
                    <a:lnTo>
                      <a:pt x="494" y="343"/>
                    </a:lnTo>
                    <a:lnTo>
                      <a:pt x="501" y="339"/>
                    </a:lnTo>
                    <a:lnTo>
                      <a:pt x="506" y="333"/>
                    </a:lnTo>
                    <a:lnTo>
                      <a:pt x="512" y="326"/>
                    </a:lnTo>
                    <a:lnTo>
                      <a:pt x="517" y="312"/>
                    </a:lnTo>
                    <a:lnTo>
                      <a:pt x="517" y="293"/>
                    </a:lnTo>
                    <a:lnTo>
                      <a:pt x="517"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sp>
            <p:nvSpPr>
              <p:cNvPr id="26" name="Freeform 24">
                <a:extLst>
                  <a:ext uri="{FF2B5EF4-FFF2-40B4-BE49-F238E27FC236}">
                    <a16:creationId xmlns:a16="http://schemas.microsoft.com/office/drawing/2014/main" xmlns="" id="{9EDDEE7D-2B8D-476F-8A78-E924CB6476C8}"/>
                  </a:ext>
                </a:extLst>
              </p:cNvPr>
              <p:cNvSpPr>
                <a:spLocks/>
              </p:cNvSpPr>
              <p:nvPr userDrawn="1"/>
            </p:nvSpPr>
            <p:spPr bwMode="auto">
              <a:xfrm>
                <a:off x="3537585" y="2606951"/>
                <a:ext cx="40640" cy="40640"/>
              </a:xfrm>
              <a:custGeom>
                <a:avLst/>
                <a:gdLst>
                  <a:gd name="T0" fmla="*/ 33 w 64"/>
                  <a:gd name="T1" fmla="*/ 0 h 64"/>
                  <a:gd name="T2" fmla="*/ 40 w 64"/>
                  <a:gd name="T3" fmla="*/ 2 h 64"/>
                  <a:gd name="T4" fmla="*/ 49 w 64"/>
                  <a:gd name="T5" fmla="*/ 5 h 64"/>
                  <a:gd name="T6" fmla="*/ 55 w 64"/>
                  <a:gd name="T7" fmla="*/ 11 h 64"/>
                  <a:gd name="T8" fmla="*/ 61 w 64"/>
                  <a:gd name="T9" fmla="*/ 17 h 64"/>
                  <a:gd name="T10" fmla="*/ 62 w 64"/>
                  <a:gd name="T11" fmla="*/ 24 h 64"/>
                  <a:gd name="T12" fmla="*/ 64 w 64"/>
                  <a:gd name="T13" fmla="*/ 33 h 64"/>
                  <a:gd name="T14" fmla="*/ 62 w 64"/>
                  <a:gd name="T15" fmla="*/ 42 h 64"/>
                  <a:gd name="T16" fmla="*/ 61 w 64"/>
                  <a:gd name="T17" fmla="*/ 48 h 64"/>
                  <a:gd name="T18" fmla="*/ 55 w 64"/>
                  <a:gd name="T19" fmla="*/ 55 h 64"/>
                  <a:gd name="T20" fmla="*/ 49 w 64"/>
                  <a:gd name="T21" fmla="*/ 60 h 64"/>
                  <a:gd name="T22" fmla="*/ 40 w 64"/>
                  <a:gd name="T23" fmla="*/ 64 h 64"/>
                  <a:gd name="T24" fmla="*/ 33 w 64"/>
                  <a:gd name="T25" fmla="*/ 64 h 64"/>
                  <a:gd name="T26" fmla="*/ 24 w 64"/>
                  <a:gd name="T27" fmla="*/ 64 h 64"/>
                  <a:gd name="T28" fmla="*/ 16 w 64"/>
                  <a:gd name="T29" fmla="*/ 60 h 64"/>
                  <a:gd name="T30" fmla="*/ 11 w 64"/>
                  <a:gd name="T31" fmla="*/ 55 h 64"/>
                  <a:gd name="T32" fmla="*/ 5 w 64"/>
                  <a:gd name="T33" fmla="*/ 48 h 64"/>
                  <a:gd name="T34" fmla="*/ 2 w 64"/>
                  <a:gd name="T35" fmla="*/ 42 h 64"/>
                  <a:gd name="T36" fmla="*/ 0 w 64"/>
                  <a:gd name="T37" fmla="*/ 33 h 64"/>
                  <a:gd name="T38" fmla="*/ 2 w 64"/>
                  <a:gd name="T39" fmla="*/ 24 h 64"/>
                  <a:gd name="T40" fmla="*/ 5 w 64"/>
                  <a:gd name="T41" fmla="*/ 17 h 64"/>
                  <a:gd name="T42" fmla="*/ 11 w 64"/>
                  <a:gd name="T43" fmla="*/ 11 h 64"/>
                  <a:gd name="T44" fmla="*/ 16 w 64"/>
                  <a:gd name="T45" fmla="*/ 5 h 64"/>
                  <a:gd name="T46" fmla="*/ 24 w 64"/>
                  <a:gd name="T47" fmla="*/ 2 h 64"/>
                  <a:gd name="T48" fmla="*/ 33 w 64"/>
                  <a:gd name="T4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3" y="0"/>
                    </a:moveTo>
                    <a:lnTo>
                      <a:pt x="40" y="2"/>
                    </a:lnTo>
                    <a:lnTo>
                      <a:pt x="49" y="5"/>
                    </a:lnTo>
                    <a:lnTo>
                      <a:pt x="55" y="11"/>
                    </a:lnTo>
                    <a:lnTo>
                      <a:pt x="61" y="17"/>
                    </a:lnTo>
                    <a:lnTo>
                      <a:pt x="62" y="24"/>
                    </a:lnTo>
                    <a:lnTo>
                      <a:pt x="64" y="33"/>
                    </a:lnTo>
                    <a:lnTo>
                      <a:pt x="62" y="42"/>
                    </a:lnTo>
                    <a:lnTo>
                      <a:pt x="61" y="48"/>
                    </a:lnTo>
                    <a:lnTo>
                      <a:pt x="55" y="55"/>
                    </a:lnTo>
                    <a:lnTo>
                      <a:pt x="49" y="60"/>
                    </a:lnTo>
                    <a:lnTo>
                      <a:pt x="40" y="64"/>
                    </a:lnTo>
                    <a:lnTo>
                      <a:pt x="33" y="64"/>
                    </a:lnTo>
                    <a:lnTo>
                      <a:pt x="24" y="64"/>
                    </a:lnTo>
                    <a:lnTo>
                      <a:pt x="16" y="60"/>
                    </a:lnTo>
                    <a:lnTo>
                      <a:pt x="11" y="55"/>
                    </a:lnTo>
                    <a:lnTo>
                      <a:pt x="5" y="48"/>
                    </a:lnTo>
                    <a:lnTo>
                      <a:pt x="2" y="42"/>
                    </a:lnTo>
                    <a:lnTo>
                      <a:pt x="0" y="33"/>
                    </a:lnTo>
                    <a:lnTo>
                      <a:pt x="2" y="24"/>
                    </a:lnTo>
                    <a:lnTo>
                      <a:pt x="5" y="17"/>
                    </a:lnTo>
                    <a:lnTo>
                      <a:pt x="11" y="11"/>
                    </a:lnTo>
                    <a:lnTo>
                      <a:pt x="16" y="5"/>
                    </a:lnTo>
                    <a:lnTo>
                      <a:pt x="24" y="2"/>
                    </a:lnTo>
                    <a:lnTo>
                      <a:pt x="33" y="0"/>
                    </a:lnTo>
                    <a:close/>
                  </a:path>
                </a:pathLst>
              </a:custGeom>
              <a:grpFill/>
              <a:ln w="0">
                <a:noFill/>
                <a:prstDash val="solid"/>
                <a:round/>
                <a:headEnd/>
                <a:tailEnd/>
              </a:ln>
            </p:spPr>
            <p:txBody>
              <a:bodyPr rot="0" vert="horz" wrap="square" lIns="91440" tIns="45720" rIns="91440" bIns="45720" anchor="t" anchorCtr="0" upright="1">
                <a:noAutofit/>
              </a:bodyPr>
              <a:lstStyle/>
              <a:p>
                <a:endParaRPr lang="en-IN" dirty="0"/>
              </a:p>
            </p:txBody>
          </p:sp>
        </p:grpSp>
      </p:grpSp>
    </p:spTree>
    <p:extLst>
      <p:ext uri="{BB962C8B-B14F-4D97-AF65-F5344CB8AC3E}">
        <p14:creationId xmlns:p14="http://schemas.microsoft.com/office/powerpoint/2010/main" val="2403785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 2">
    <p:spTree>
      <p:nvGrpSpPr>
        <p:cNvPr id="1" name=""/>
        <p:cNvGrpSpPr/>
        <p:nvPr/>
      </p:nvGrpSpPr>
      <p:grpSpPr>
        <a:xfrm>
          <a:off x="0" y="0"/>
          <a:ext cx="0" cy="0"/>
          <a:chOff x="0" y="0"/>
          <a:chExt cx="0" cy="0"/>
        </a:xfrm>
      </p:grpSpPr>
      <p:sp>
        <p:nvSpPr>
          <p:cNvPr id="3" name="object 2"/>
          <p:cNvSpPr/>
          <p:nvPr userDrawn="1"/>
        </p:nvSpPr>
        <p:spPr>
          <a:xfrm>
            <a:off x="598059" y="457109"/>
            <a:ext cx="638732" cy="1828415"/>
          </a:xfrm>
          <a:custGeom>
            <a:avLst/>
            <a:gdLst/>
            <a:ahLst/>
            <a:cxnLst/>
            <a:rect l="l" t="t" r="r" b="b"/>
            <a:pathLst>
              <a:path w="1053464" h="4020820">
                <a:moveTo>
                  <a:pt x="1052998" y="0"/>
                </a:moveTo>
                <a:lnTo>
                  <a:pt x="0" y="607916"/>
                </a:lnTo>
                <a:lnTo>
                  <a:pt x="0" y="4020820"/>
                </a:lnTo>
                <a:lnTo>
                  <a:pt x="1052998" y="4020820"/>
                </a:lnTo>
                <a:lnTo>
                  <a:pt x="1052998" y="0"/>
                </a:lnTo>
                <a:close/>
              </a:path>
            </a:pathLst>
          </a:custGeom>
          <a:solidFill>
            <a:srgbClr val="FFCB05"/>
          </a:solidFill>
        </p:spPr>
        <p:txBody>
          <a:bodyPr wrap="square" lIns="0" tIns="0" rIns="0" bIns="0" rtlCol="0"/>
          <a:lstStyle/>
          <a:p>
            <a:endParaRPr lang="en-GB" sz="343" noProof="0" dirty="0"/>
          </a:p>
        </p:txBody>
      </p:sp>
      <p:sp>
        <p:nvSpPr>
          <p:cNvPr id="6" name="object 11"/>
          <p:cNvSpPr txBox="1"/>
          <p:nvPr userDrawn="1"/>
        </p:nvSpPr>
        <p:spPr>
          <a:xfrm>
            <a:off x="7065343" y="16934"/>
            <a:ext cx="4533054" cy="182614"/>
          </a:xfrm>
          <a:prstGeom prst="rect">
            <a:avLst/>
          </a:prstGeom>
        </p:spPr>
        <p:txBody>
          <a:bodyPr vert="horz" wrap="square" lIns="0" tIns="0" rIns="0" bIns="0" rtlCol="0">
            <a:spAutoFit/>
          </a:bodyPr>
          <a:lstStyle/>
          <a:p>
            <a:pPr marL="11723" algn="r">
              <a:lnSpc>
                <a:spcPts val="1605"/>
              </a:lnSpc>
            </a:pPr>
            <a:r>
              <a:rPr lang="en-GB" sz="923" spc="14"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69" noProof="0" dirty="0">
                <a:solidFill>
                  <a:srgbClr val="55565A"/>
                </a:solidFill>
                <a:latin typeface="Arial Unicode MS"/>
                <a:cs typeface="Arial Unicode MS"/>
              </a:rPr>
              <a:t>GIB </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The</a:t>
            </a:r>
            <a:r>
              <a:rPr lang="en-GB" sz="923" spc="-74" noProof="0" dirty="0">
                <a:solidFill>
                  <a:srgbClr val="55565A"/>
                </a:solidFill>
                <a:latin typeface="Arial Unicode MS"/>
                <a:cs typeface="Arial Unicode MS"/>
              </a:rPr>
              <a:t> </a:t>
            </a:r>
            <a:r>
              <a:rPr lang="en-GB" sz="923" spc="-14" noProof="0" dirty="0">
                <a:solidFill>
                  <a:srgbClr val="55565A"/>
                </a:solidFill>
                <a:latin typeface="Arial Unicode MS"/>
                <a:cs typeface="Arial Unicode MS"/>
              </a:rPr>
              <a:t>Gulf’s</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International</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Bank</a:t>
            </a:r>
            <a:endParaRPr lang="en-GB" sz="923" noProof="0" dirty="0">
              <a:latin typeface="Arial Unicode MS"/>
              <a:cs typeface="Arial Unicode MS"/>
            </a:endParaRPr>
          </a:p>
        </p:txBody>
      </p:sp>
      <p:sp>
        <p:nvSpPr>
          <p:cNvPr id="8" name="Text Placeholder 5"/>
          <p:cNvSpPr>
            <a:spLocks noGrp="1"/>
          </p:cNvSpPr>
          <p:nvPr>
            <p:ph type="body" sz="quarter" idx="10" hasCustomPrompt="1"/>
          </p:nvPr>
        </p:nvSpPr>
        <p:spPr>
          <a:xfrm>
            <a:off x="1270001" y="457109"/>
            <a:ext cx="6515226" cy="1898751"/>
          </a:xfrm>
          <a:prstGeom prst="rect">
            <a:avLst/>
          </a:prstGeom>
        </p:spPr>
        <p:txBody>
          <a:bodyPr bIns="0" anchor="b"/>
          <a:lstStyle>
            <a:lvl1pPr marL="0" indent="0">
              <a:lnSpc>
                <a:spcPct val="100000"/>
              </a:lnSpc>
              <a:spcBef>
                <a:spcPts val="0"/>
              </a:spcBef>
              <a:buNone/>
              <a:defRPr sz="3600" baseline="0">
                <a:solidFill>
                  <a:srgbClr val="55565A"/>
                </a:solidFill>
                <a:latin typeface="Arial" panose="020B0604020202020204" pitchFamily="34" charset="0"/>
                <a:cs typeface="Arial" panose="020B0604020202020204" pitchFamily="34" charset="0"/>
              </a:defRPr>
            </a:lvl1pPr>
          </a:lstStyle>
          <a:p>
            <a:pPr lvl="0"/>
            <a:r>
              <a:rPr lang="en-GB" noProof="0" dirty="0"/>
              <a:t>Divider Title Goes Here</a:t>
            </a:r>
          </a:p>
        </p:txBody>
      </p:sp>
    </p:spTree>
    <p:extLst>
      <p:ext uri="{BB962C8B-B14F-4D97-AF65-F5344CB8AC3E}">
        <p14:creationId xmlns:p14="http://schemas.microsoft.com/office/powerpoint/2010/main" val="1660951504"/>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x 2 + Content">
    <p:spTree>
      <p:nvGrpSpPr>
        <p:cNvPr id="1" name=""/>
        <p:cNvGrpSpPr/>
        <p:nvPr/>
      </p:nvGrpSpPr>
      <p:grpSpPr>
        <a:xfrm>
          <a:off x="0" y="0"/>
          <a:ext cx="0" cy="0"/>
          <a:chOff x="0" y="0"/>
          <a:chExt cx="0" cy="0"/>
        </a:xfrm>
      </p:grpSpPr>
      <p:sp>
        <p:nvSpPr>
          <p:cNvPr id="6" name="object 2"/>
          <p:cNvSpPr/>
          <p:nvPr userDrawn="1"/>
        </p:nvSpPr>
        <p:spPr>
          <a:xfrm>
            <a:off x="508002" y="56905"/>
            <a:ext cx="339817" cy="972746"/>
          </a:xfrm>
          <a:custGeom>
            <a:avLst/>
            <a:gdLst/>
            <a:ahLst/>
            <a:cxnLst/>
            <a:rect l="l" t="t" r="r" b="b"/>
            <a:pathLst>
              <a:path w="1053464" h="4020820">
                <a:moveTo>
                  <a:pt x="1052998" y="0"/>
                </a:moveTo>
                <a:lnTo>
                  <a:pt x="0" y="607916"/>
                </a:lnTo>
                <a:lnTo>
                  <a:pt x="0" y="4020820"/>
                </a:lnTo>
                <a:lnTo>
                  <a:pt x="1052998" y="4020820"/>
                </a:lnTo>
                <a:lnTo>
                  <a:pt x="1052998" y="0"/>
                </a:lnTo>
                <a:close/>
              </a:path>
            </a:pathLst>
          </a:custGeom>
          <a:solidFill>
            <a:srgbClr val="FFCB05"/>
          </a:solidFill>
        </p:spPr>
        <p:txBody>
          <a:bodyPr wrap="square" lIns="0" tIns="0" rIns="0" bIns="0" rtlCol="0"/>
          <a:lstStyle/>
          <a:p>
            <a:endParaRPr lang="en-GB" sz="1662" noProof="0" dirty="0"/>
          </a:p>
        </p:txBody>
      </p:sp>
      <p:sp>
        <p:nvSpPr>
          <p:cNvPr id="7" name="object 11"/>
          <p:cNvSpPr txBox="1"/>
          <p:nvPr userDrawn="1"/>
        </p:nvSpPr>
        <p:spPr>
          <a:xfrm>
            <a:off x="7065343" y="16934"/>
            <a:ext cx="4533054" cy="205184"/>
          </a:xfrm>
          <a:prstGeom prst="rect">
            <a:avLst/>
          </a:prstGeom>
        </p:spPr>
        <p:txBody>
          <a:bodyPr vert="horz" wrap="square" lIns="0" tIns="0" rIns="0" bIns="0" rtlCol="0">
            <a:spAutoFit/>
          </a:bodyPr>
          <a:lstStyle/>
          <a:p>
            <a:pPr marL="11723" algn="r">
              <a:lnSpc>
                <a:spcPts val="1605"/>
              </a:lnSpc>
            </a:pPr>
            <a:r>
              <a:rPr lang="en-GB" sz="923" spc="14"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69" noProof="0" dirty="0">
                <a:solidFill>
                  <a:srgbClr val="55565A"/>
                </a:solidFill>
                <a:latin typeface="Arial Unicode MS"/>
                <a:cs typeface="Arial Unicode MS"/>
              </a:rPr>
              <a:t>GIB </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The</a:t>
            </a:r>
            <a:r>
              <a:rPr lang="en-GB" sz="923" spc="-74" noProof="0" dirty="0">
                <a:solidFill>
                  <a:srgbClr val="55565A"/>
                </a:solidFill>
                <a:latin typeface="Arial Unicode MS"/>
                <a:cs typeface="Arial Unicode MS"/>
              </a:rPr>
              <a:t> </a:t>
            </a:r>
            <a:r>
              <a:rPr lang="en-GB" sz="923" spc="-14" noProof="0" dirty="0">
                <a:solidFill>
                  <a:srgbClr val="55565A"/>
                </a:solidFill>
                <a:latin typeface="Arial Unicode MS"/>
                <a:cs typeface="Arial Unicode MS"/>
              </a:rPr>
              <a:t>Gulf’s</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International</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Bank</a:t>
            </a:r>
            <a:endParaRPr lang="en-GB" sz="923" noProof="0" dirty="0">
              <a:latin typeface="Arial Unicode MS"/>
              <a:cs typeface="Arial Unicode MS"/>
            </a:endParaRPr>
          </a:p>
        </p:txBody>
      </p:sp>
      <p:sp>
        <p:nvSpPr>
          <p:cNvPr id="13" name="Text Placeholder 2"/>
          <p:cNvSpPr>
            <a:spLocks noGrp="1"/>
          </p:cNvSpPr>
          <p:nvPr>
            <p:ph type="body" sz="quarter" idx="16"/>
          </p:nvPr>
        </p:nvSpPr>
        <p:spPr>
          <a:xfrm>
            <a:off x="1031631" y="1029651"/>
            <a:ext cx="10550769" cy="5294948"/>
          </a:xfrm>
          <a:prstGeom prst="rect">
            <a:avLst/>
          </a:prstGeom>
        </p:spPr>
        <p:txBody>
          <a:bodyPr/>
          <a:lstStyle>
            <a:lvl1pPr marL="171450" indent="-171450">
              <a:lnSpc>
                <a:spcPct val="100000"/>
              </a:lnSpc>
              <a:spcBef>
                <a:spcPts val="600"/>
              </a:spcBef>
              <a:buClr>
                <a:srgbClr val="FFCB05"/>
              </a:buClr>
              <a:buFont typeface="Wingdings" panose="05000000000000000000" pitchFamily="2" charset="2"/>
              <a:buChar char="§"/>
              <a:defRPr sz="1100">
                <a:latin typeface="+mj-lt"/>
              </a:defRPr>
            </a:lvl1pPr>
            <a:lvl2pPr marL="341313" indent="-169863">
              <a:lnSpc>
                <a:spcPct val="100000"/>
              </a:lnSpc>
              <a:spcBef>
                <a:spcPts val="600"/>
              </a:spcBef>
              <a:buClr>
                <a:srgbClr val="5A5A5A"/>
              </a:buClr>
              <a:buFont typeface="Wingdings" panose="05000000000000000000" pitchFamily="2" charset="2"/>
              <a:buChar char="§"/>
              <a:defRPr sz="1100">
                <a:latin typeface="+mj-lt"/>
              </a:defRPr>
            </a:lvl2pPr>
            <a:lvl3pPr marL="512763" indent="-171450">
              <a:lnSpc>
                <a:spcPct val="100000"/>
              </a:lnSpc>
              <a:spcBef>
                <a:spcPts val="600"/>
              </a:spcBef>
              <a:buClr>
                <a:schemeClr val="accent1"/>
              </a:buClr>
              <a:buFont typeface="Wingdings" panose="05000000000000000000" pitchFamily="2" charset="2"/>
              <a:buChar char="§"/>
              <a:defRPr sz="1100">
                <a:latin typeface="+mj-lt"/>
              </a:defRPr>
            </a:lvl3pPr>
          </a:lstStyle>
          <a:p>
            <a:pPr lvl="0"/>
            <a:r>
              <a:rPr lang="en-US" noProof="0"/>
              <a:t>Click to edit Master text styles</a:t>
            </a:r>
          </a:p>
          <a:p>
            <a:pPr lvl="1"/>
            <a:r>
              <a:rPr lang="en-US" noProof="0"/>
              <a:t>Second level</a:t>
            </a:r>
          </a:p>
          <a:p>
            <a:pPr lvl="2"/>
            <a:r>
              <a:rPr lang="en-US" noProof="0"/>
              <a:t>Third level</a:t>
            </a:r>
          </a:p>
        </p:txBody>
      </p:sp>
      <p:sp>
        <p:nvSpPr>
          <p:cNvPr id="4" name="TextBox 3"/>
          <p:cNvSpPr txBox="1"/>
          <p:nvPr userDrawn="1"/>
        </p:nvSpPr>
        <p:spPr>
          <a:xfrm>
            <a:off x="11144015" y="6456841"/>
            <a:ext cx="356188" cy="261610"/>
          </a:xfrm>
          <a:prstGeom prst="rect">
            <a:avLst/>
          </a:prstGeom>
          <a:noFill/>
        </p:spPr>
        <p:txBody>
          <a:bodyPr wrap="none" rtlCol="0">
            <a:spAutoFit/>
          </a:bodyPr>
          <a:lstStyle/>
          <a:p>
            <a:fld id="{DCB9605B-05B2-4139-97EC-E5FED2E08089}" type="slidenum">
              <a:rPr lang="en-GB" sz="1100" b="0" noProof="0" smtClean="0">
                <a:latin typeface="+mj-lt"/>
              </a:rPr>
              <a:t>‹#›</a:t>
            </a:fld>
            <a:endParaRPr lang="en-GB" sz="1100" b="0" noProof="0" dirty="0">
              <a:latin typeface="+mj-lt"/>
            </a:endParaRPr>
          </a:p>
        </p:txBody>
      </p:sp>
      <p:sp>
        <p:nvSpPr>
          <p:cNvPr id="9" name="Text Placeholder 2"/>
          <p:cNvSpPr>
            <a:spLocks noGrp="1"/>
          </p:cNvSpPr>
          <p:nvPr>
            <p:ph type="body" sz="quarter" idx="15" hasCustomPrompt="1"/>
          </p:nvPr>
        </p:nvSpPr>
        <p:spPr>
          <a:xfrm>
            <a:off x="1031631" y="610160"/>
            <a:ext cx="9666436" cy="280246"/>
          </a:xfrm>
          <a:prstGeom prst="rect">
            <a:avLst/>
          </a:prstGeom>
        </p:spPr>
        <p:txBody>
          <a:bodyPr/>
          <a:lstStyle>
            <a:lvl1pPr marL="0" indent="0">
              <a:buNone/>
              <a:defRPr sz="1400" b="1" spc="0" baseline="0">
                <a:solidFill>
                  <a:srgbClr val="FFCB05"/>
                </a:solidFill>
                <a:latin typeface="Arial" panose="020B0604020202020204" pitchFamily="34" charset="0"/>
                <a:cs typeface="Arial" panose="020B0604020202020204" pitchFamily="34" charset="0"/>
              </a:defRPr>
            </a:lvl1pPr>
          </a:lstStyle>
          <a:p>
            <a:pPr lvl="0"/>
            <a:r>
              <a:rPr lang="en-GB" noProof="0" dirty="0"/>
              <a:t>Sub title here</a:t>
            </a:r>
          </a:p>
        </p:txBody>
      </p:sp>
      <p:sp>
        <p:nvSpPr>
          <p:cNvPr id="10" name="Text Placeholder 11"/>
          <p:cNvSpPr>
            <a:spLocks noGrp="1"/>
          </p:cNvSpPr>
          <p:nvPr>
            <p:ph type="body" sz="quarter" idx="12" hasCustomPrompt="1"/>
          </p:nvPr>
        </p:nvSpPr>
        <p:spPr>
          <a:xfrm>
            <a:off x="1031631" y="299420"/>
            <a:ext cx="9666437" cy="318325"/>
          </a:xfrm>
          <a:prstGeom prst="rect">
            <a:avLst/>
          </a:prstGeom>
        </p:spPr>
        <p:txBody>
          <a:bodyPr/>
          <a:lstStyle>
            <a:lvl1pPr marL="0" indent="0">
              <a:buNone/>
              <a:defRPr sz="2000" kern="0" spc="0" baseline="0">
                <a:solidFill>
                  <a:schemeClr val="tx1"/>
                </a:solidFill>
                <a:latin typeface="Arial" panose="020B0604020202020204" pitchFamily="34" charset="0"/>
                <a:cs typeface="Arial" panose="020B0604020202020204" pitchFamily="34" charset="0"/>
              </a:defRPr>
            </a:lvl1pPr>
          </a:lstStyle>
          <a:p>
            <a:pPr lvl="0"/>
            <a:r>
              <a:rPr lang="en-GB" noProof="0" dirty="0"/>
              <a:t>Title here</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27392" y="457108"/>
            <a:ext cx="633246" cy="269123"/>
          </a:xfrm>
          <a:prstGeom prst="rect">
            <a:avLst/>
          </a:prstGeom>
        </p:spPr>
      </p:pic>
    </p:spTree>
    <p:extLst>
      <p:ext uri="{BB962C8B-B14F-4D97-AF65-F5344CB8AC3E}">
        <p14:creationId xmlns:p14="http://schemas.microsoft.com/office/powerpoint/2010/main" val="308102208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6" name="object 2"/>
          <p:cNvSpPr/>
          <p:nvPr userDrawn="1"/>
        </p:nvSpPr>
        <p:spPr>
          <a:xfrm>
            <a:off x="508002" y="56905"/>
            <a:ext cx="339817" cy="972746"/>
          </a:xfrm>
          <a:custGeom>
            <a:avLst/>
            <a:gdLst/>
            <a:ahLst/>
            <a:cxnLst/>
            <a:rect l="l" t="t" r="r" b="b"/>
            <a:pathLst>
              <a:path w="1053464" h="4020820">
                <a:moveTo>
                  <a:pt x="1052998" y="0"/>
                </a:moveTo>
                <a:lnTo>
                  <a:pt x="0" y="607916"/>
                </a:lnTo>
                <a:lnTo>
                  <a:pt x="0" y="4020820"/>
                </a:lnTo>
                <a:lnTo>
                  <a:pt x="1052998" y="4020820"/>
                </a:lnTo>
                <a:lnTo>
                  <a:pt x="1052998" y="0"/>
                </a:lnTo>
                <a:close/>
              </a:path>
            </a:pathLst>
          </a:custGeom>
          <a:solidFill>
            <a:srgbClr val="FFCB05"/>
          </a:solidFill>
        </p:spPr>
        <p:txBody>
          <a:bodyPr wrap="square" lIns="0" tIns="0" rIns="0" bIns="0" rtlCol="0"/>
          <a:lstStyle/>
          <a:p>
            <a:endParaRPr lang="en-GB" sz="1662" noProof="0" dirty="0"/>
          </a:p>
        </p:txBody>
      </p:sp>
      <p:sp>
        <p:nvSpPr>
          <p:cNvPr id="7" name="object 11"/>
          <p:cNvSpPr txBox="1"/>
          <p:nvPr userDrawn="1"/>
        </p:nvSpPr>
        <p:spPr>
          <a:xfrm>
            <a:off x="7065343" y="16934"/>
            <a:ext cx="4533054" cy="182614"/>
          </a:xfrm>
          <a:prstGeom prst="rect">
            <a:avLst/>
          </a:prstGeom>
        </p:spPr>
        <p:txBody>
          <a:bodyPr vert="horz" wrap="square" lIns="0" tIns="0" rIns="0" bIns="0" rtlCol="0">
            <a:spAutoFit/>
          </a:bodyPr>
          <a:lstStyle/>
          <a:p>
            <a:pPr marL="11723" algn="r">
              <a:lnSpc>
                <a:spcPts val="1605"/>
              </a:lnSpc>
            </a:pPr>
            <a:r>
              <a:rPr lang="en-GB" sz="923" spc="14"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69" noProof="0" dirty="0">
                <a:solidFill>
                  <a:srgbClr val="55565A"/>
                </a:solidFill>
                <a:latin typeface="Arial Unicode MS"/>
                <a:cs typeface="Arial Unicode MS"/>
              </a:rPr>
              <a:t>GIB </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The</a:t>
            </a:r>
            <a:r>
              <a:rPr lang="en-GB" sz="923" spc="-74" noProof="0" dirty="0">
                <a:solidFill>
                  <a:srgbClr val="55565A"/>
                </a:solidFill>
                <a:latin typeface="Arial Unicode MS"/>
                <a:cs typeface="Arial Unicode MS"/>
              </a:rPr>
              <a:t> </a:t>
            </a:r>
            <a:r>
              <a:rPr lang="en-GB" sz="923" spc="-14" noProof="0" dirty="0">
                <a:solidFill>
                  <a:srgbClr val="55565A"/>
                </a:solidFill>
                <a:latin typeface="Arial Unicode MS"/>
                <a:cs typeface="Arial Unicode MS"/>
              </a:rPr>
              <a:t>Gulf’s</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International</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Bank</a:t>
            </a:r>
            <a:endParaRPr lang="en-GB" sz="923" noProof="0" dirty="0">
              <a:latin typeface="Arial Unicode MS"/>
              <a:cs typeface="Arial Unicode MS"/>
            </a:endParaRPr>
          </a:p>
        </p:txBody>
      </p:sp>
      <p:sp>
        <p:nvSpPr>
          <p:cNvPr id="12" name="Text Placeholder 11"/>
          <p:cNvSpPr>
            <a:spLocks noGrp="1"/>
          </p:cNvSpPr>
          <p:nvPr>
            <p:ph type="body" sz="quarter" idx="12" hasCustomPrompt="1"/>
          </p:nvPr>
        </p:nvSpPr>
        <p:spPr>
          <a:xfrm>
            <a:off x="1035580" y="289708"/>
            <a:ext cx="9662487" cy="620795"/>
          </a:xfrm>
          <a:prstGeom prst="rect">
            <a:avLst/>
          </a:prstGeom>
        </p:spPr>
        <p:txBody>
          <a:bodyPr anchor="ctr"/>
          <a:lstStyle>
            <a:lvl1pPr marL="0" indent="0">
              <a:buNone/>
              <a:defRPr sz="2000" kern="0" spc="0" baseline="0">
                <a:solidFill>
                  <a:srgbClr val="55565A"/>
                </a:solidFill>
                <a:latin typeface="Arial" panose="020B0604020202020204" pitchFamily="34" charset="0"/>
                <a:cs typeface="Arial" panose="020B0604020202020204" pitchFamily="34" charset="0"/>
              </a:defRPr>
            </a:lvl1pPr>
          </a:lstStyle>
          <a:p>
            <a:pPr lvl="0"/>
            <a:r>
              <a:rPr lang="en-GB" noProof="0" dirty="0"/>
              <a:t>Title here</a:t>
            </a:r>
          </a:p>
        </p:txBody>
      </p:sp>
      <p:sp>
        <p:nvSpPr>
          <p:cNvPr id="8" name="Text Placeholder 2"/>
          <p:cNvSpPr>
            <a:spLocks noGrp="1"/>
          </p:cNvSpPr>
          <p:nvPr>
            <p:ph type="body" sz="quarter" idx="16"/>
          </p:nvPr>
        </p:nvSpPr>
        <p:spPr>
          <a:xfrm>
            <a:off x="1031631" y="1029651"/>
            <a:ext cx="10550769" cy="5294948"/>
          </a:xfrm>
          <a:prstGeom prst="rect">
            <a:avLst/>
          </a:prstGeom>
        </p:spPr>
        <p:txBody>
          <a:bodyPr/>
          <a:lstStyle>
            <a:lvl1pPr marL="171450" indent="-171450">
              <a:lnSpc>
                <a:spcPct val="100000"/>
              </a:lnSpc>
              <a:spcBef>
                <a:spcPts val="600"/>
              </a:spcBef>
              <a:buClr>
                <a:srgbClr val="FFCB05"/>
              </a:buClr>
              <a:buFont typeface="Wingdings" panose="05000000000000000000" pitchFamily="2" charset="2"/>
              <a:buChar char="§"/>
              <a:defRPr sz="1100">
                <a:latin typeface="+mj-lt"/>
              </a:defRPr>
            </a:lvl1pPr>
            <a:lvl2pPr marL="341313" indent="-169863">
              <a:lnSpc>
                <a:spcPct val="100000"/>
              </a:lnSpc>
              <a:spcBef>
                <a:spcPts val="600"/>
              </a:spcBef>
              <a:buClr>
                <a:srgbClr val="5A5A5A"/>
              </a:buClr>
              <a:buFont typeface="Wingdings" panose="05000000000000000000" pitchFamily="2" charset="2"/>
              <a:buChar char="§"/>
              <a:defRPr sz="1100">
                <a:latin typeface="+mj-lt"/>
              </a:defRPr>
            </a:lvl2pPr>
            <a:lvl3pPr marL="512763" indent="-171450">
              <a:lnSpc>
                <a:spcPct val="100000"/>
              </a:lnSpc>
              <a:spcBef>
                <a:spcPts val="600"/>
              </a:spcBef>
              <a:buClr>
                <a:schemeClr val="accent1"/>
              </a:buClr>
              <a:buFont typeface="Wingdings" panose="05000000000000000000" pitchFamily="2" charset="2"/>
              <a:buChar char="§"/>
              <a:defRPr sz="1100">
                <a:latin typeface="+mj-lt"/>
              </a:defRPr>
            </a:lvl3pPr>
          </a:lstStyle>
          <a:p>
            <a:pPr lvl="0"/>
            <a:r>
              <a:rPr lang="en-US" noProof="0"/>
              <a:t>Click to edit Master text styles</a:t>
            </a:r>
          </a:p>
          <a:p>
            <a:pPr lvl="1"/>
            <a:r>
              <a:rPr lang="en-US" noProof="0"/>
              <a:t>Second level</a:t>
            </a:r>
          </a:p>
          <a:p>
            <a:pPr lvl="2"/>
            <a:r>
              <a:rPr lang="en-US" noProof="0"/>
              <a:t>Third level</a:t>
            </a:r>
          </a:p>
        </p:txBody>
      </p:sp>
      <p:sp>
        <p:nvSpPr>
          <p:cNvPr id="13" name="TextBox 12"/>
          <p:cNvSpPr txBox="1"/>
          <p:nvPr userDrawn="1"/>
        </p:nvSpPr>
        <p:spPr>
          <a:xfrm>
            <a:off x="11144015" y="6456841"/>
            <a:ext cx="356188" cy="261610"/>
          </a:xfrm>
          <a:prstGeom prst="rect">
            <a:avLst/>
          </a:prstGeom>
          <a:noFill/>
        </p:spPr>
        <p:txBody>
          <a:bodyPr wrap="none" rtlCol="0">
            <a:spAutoFit/>
          </a:bodyPr>
          <a:lstStyle/>
          <a:p>
            <a:fld id="{DCB9605B-05B2-4139-97EC-E5FED2E08089}" type="slidenum">
              <a:rPr lang="en-GB" sz="1100" b="0" noProof="0" smtClean="0">
                <a:latin typeface="+mj-lt"/>
              </a:rPr>
              <a:t>‹#›</a:t>
            </a:fld>
            <a:endParaRPr lang="en-GB" sz="1100" b="0" noProof="0" dirty="0">
              <a:latin typeface="+mj-lt"/>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27392" y="457108"/>
            <a:ext cx="633246" cy="269123"/>
          </a:xfrm>
          <a:prstGeom prst="rect">
            <a:avLst/>
          </a:prstGeom>
        </p:spPr>
      </p:pic>
    </p:spTree>
    <p:extLst>
      <p:ext uri="{BB962C8B-B14F-4D97-AF65-F5344CB8AC3E}">
        <p14:creationId xmlns:p14="http://schemas.microsoft.com/office/powerpoint/2010/main" val="293703697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x 2 + No Content">
    <p:spTree>
      <p:nvGrpSpPr>
        <p:cNvPr id="1" name=""/>
        <p:cNvGrpSpPr/>
        <p:nvPr/>
      </p:nvGrpSpPr>
      <p:grpSpPr>
        <a:xfrm>
          <a:off x="0" y="0"/>
          <a:ext cx="0" cy="0"/>
          <a:chOff x="0" y="0"/>
          <a:chExt cx="0" cy="0"/>
        </a:xfrm>
      </p:grpSpPr>
      <p:sp>
        <p:nvSpPr>
          <p:cNvPr id="6" name="object 2"/>
          <p:cNvSpPr/>
          <p:nvPr userDrawn="1"/>
        </p:nvSpPr>
        <p:spPr>
          <a:xfrm>
            <a:off x="508002" y="56905"/>
            <a:ext cx="339817" cy="972746"/>
          </a:xfrm>
          <a:custGeom>
            <a:avLst/>
            <a:gdLst/>
            <a:ahLst/>
            <a:cxnLst/>
            <a:rect l="l" t="t" r="r" b="b"/>
            <a:pathLst>
              <a:path w="1053464" h="4020820">
                <a:moveTo>
                  <a:pt x="1052998" y="0"/>
                </a:moveTo>
                <a:lnTo>
                  <a:pt x="0" y="607916"/>
                </a:lnTo>
                <a:lnTo>
                  <a:pt x="0" y="4020820"/>
                </a:lnTo>
                <a:lnTo>
                  <a:pt x="1052998" y="4020820"/>
                </a:lnTo>
                <a:lnTo>
                  <a:pt x="1052998" y="0"/>
                </a:lnTo>
                <a:close/>
              </a:path>
            </a:pathLst>
          </a:custGeom>
          <a:solidFill>
            <a:srgbClr val="FFCB05"/>
          </a:solidFill>
        </p:spPr>
        <p:txBody>
          <a:bodyPr wrap="square" lIns="0" tIns="0" rIns="0" bIns="0" rtlCol="0"/>
          <a:lstStyle/>
          <a:p>
            <a:endParaRPr lang="en-GB" sz="1662" noProof="0" dirty="0"/>
          </a:p>
        </p:txBody>
      </p:sp>
      <p:sp>
        <p:nvSpPr>
          <p:cNvPr id="7" name="object 11"/>
          <p:cNvSpPr txBox="1"/>
          <p:nvPr userDrawn="1"/>
        </p:nvSpPr>
        <p:spPr>
          <a:xfrm>
            <a:off x="7065343" y="16934"/>
            <a:ext cx="4533054" cy="182614"/>
          </a:xfrm>
          <a:prstGeom prst="rect">
            <a:avLst/>
          </a:prstGeom>
        </p:spPr>
        <p:txBody>
          <a:bodyPr vert="horz" wrap="square" lIns="0" tIns="0" rIns="0" bIns="0" rtlCol="0">
            <a:spAutoFit/>
          </a:bodyPr>
          <a:lstStyle/>
          <a:p>
            <a:pPr marL="11723" algn="r">
              <a:lnSpc>
                <a:spcPts val="1605"/>
              </a:lnSpc>
            </a:pPr>
            <a:r>
              <a:rPr lang="en-GB" sz="923" spc="14"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69" noProof="0" dirty="0">
                <a:solidFill>
                  <a:srgbClr val="55565A"/>
                </a:solidFill>
                <a:latin typeface="Arial Unicode MS"/>
                <a:cs typeface="Arial Unicode MS"/>
              </a:rPr>
              <a:t>GIB</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The</a:t>
            </a:r>
            <a:r>
              <a:rPr lang="en-GB" sz="923" spc="-74" noProof="0" dirty="0">
                <a:solidFill>
                  <a:srgbClr val="55565A"/>
                </a:solidFill>
                <a:latin typeface="Arial Unicode MS"/>
                <a:cs typeface="Arial Unicode MS"/>
              </a:rPr>
              <a:t> </a:t>
            </a:r>
            <a:r>
              <a:rPr lang="en-GB" sz="923" spc="-14" noProof="0" dirty="0">
                <a:solidFill>
                  <a:srgbClr val="55565A"/>
                </a:solidFill>
                <a:latin typeface="Arial Unicode MS"/>
                <a:cs typeface="Arial Unicode MS"/>
              </a:rPr>
              <a:t>Gulf’s</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International</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Bank</a:t>
            </a:r>
            <a:endParaRPr lang="en-GB" sz="923" noProof="0" dirty="0">
              <a:latin typeface="Arial Unicode MS"/>
              <a:cs typeface="Arial Unicode MS"/>
            </a:endParaRPr>
          </a:p>
        </p:txBody>
      </p:sp>
      <p:sp>
        <p:nvSpPr>
          <p:cNvPr id="13" name="TextBox 12"/>
          <p:cNvSpPr txBox="1"/>
          <p:nvPr userDrawn="1"/>
        </p:nvSpPr>
        <p:spPr>
          <a:xfrm>
            <a:off x="11144015" y="6456841"/>
            <a:ext cx="356188" cy="261610"/>
          </a:xfrm>
          <a:prstGeom prst="rect">
            <a:avLst/>
          </a:prstGeom>
          <a:noFill/>
        </p:spPr>
        <p:txBody>
          <a:bodyPr wrap="none" rtlCol="0">
            <a:spAutoFit/>
          </a:bodyPr>
          <a:lstStyle/>
          <a:p>
            <a:fld id="{DCB9605B-05B2-4139-97EC-E5FED2E08089}" type="slidenum">
              <a:rPr lang="en-GB" sz="1100" b="0" noProof="0" smtClean="0">
                <a:latin typeface="+mj-lt"/>
              </a:rPr>
              <a:t>‹#›</a:t>
            </a:fld>
            <a:endParaRPr lang="en-GB" sz="1100" b="0" noProof="0" dirty="0">
              <a:latin typeface="+mj-lt"/>
            </a:endParaRPr>
          </a:p>
        </p:txBody>
      </p:sp>
      <p:sp>
        <p:nvSpPr>
          <p:cNvPr id="10" name="Text Placeholder 2"/>
          <p:cNvSpPr>
            <a:spLocks noGrp="1"/>
          </p:cNvSpPr>
          <p:nvPr>
            <p:ph type="body" sz="quarter" idx="15" hasCustomPrompt="1"/>
          </p:nvPr>
        </p:nvSpPr>
        <p:spPr>
          <a:xfrm>
            <a:off x="1031631" y="610160"/>
            <a:ext cx="9666436" cy="280246"/>
          </a:xfrm>
          <a:prstGeom prst="rect">
            <a:avLst/>
          </a:prstGeom>
        </p:spPr>
        <p:txBody>
          <a:bodyPr/>
          <a:lstStyle>
            <a:lvl1pPr marL="0" indent="0">
              <a:buNone/>
              <a:defRPr sz="1400" b="1" spc="0" baseline="0">
                <a:solidFill>
                  <a:srgbClr val="FFCB05"/>
                </a:solidFill>
                <a:latin typeface="Arial" panose="020B0604020202020204" pitchFamily="34" charset="0"/>
                <a:cs typeface="Arial" panose="020B0604020202020204" pitchFamily="34" charset="0"/>
              </a:defRPr>
            </a:lvl1pPr>
          </a:lstStyle>
          <a:p>
            <a:pPr lvl="0"/>
            <a:r>
              <a:rPr lang="en-GB" noProof="0" dirty="0"/>
              <a:t>Sub title here</a:t>
            </a:r>
          </a:p>
        </p:txBody>
      </p:sp>
      <p:sp>
        <p:nvSpPr>
          <p:cNvPr id="11" name="Text Placeholder 11"/>
          <p:cNvSpPr>
            <a:spLocks noGrp="1"/>
          </p:cNvSpPr>
          <p:nvPr>
            <p:ph type="body" sz="quarter" idx="12" hasCustomPrompt="1"/>
          </p:nvPr>
        </p:nvSpPr>
        <p:spPr>
          <a:xfrm>
            <a:off x="1031631" y="299420"/>
            <a:ext cx="9666437" cy="318325"/>
          </a:xfrm>
          <a:prstGeom prst="rect">
            <a:avLst/>
          </a:prstGeom>
        </p:spPr>
        <p:txBody>
          <a:bodyPr/>
          <a:lstStyle>
            <a:lvl1pPr marL="0" indent="0">
              <a:buNone/>
              <a:defRPr sz="2000" kern="0" spc="0" baseline="0">
                <a:solidFill>
                  <a:schemeClr val="tx1"/>
                </a:solidFill>
                <a:latin typeface="Arial" panose="020B0604020202020204" pitchFamily="34" charset="0"/>
                <a:cs typeface="Arial" panose="020B0604020202020204" pitchFamily="34" charset="0"/>
              </a:defRPr>
            </a:lvl1pPr>
          </a:lstStyle>
          <a:p>
            <a:pPr lvl="0"/>
            <a:r>
              <a:rPr lang="en-GB" noProof="0" dirty="0"/>
              <a:t>Title he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27392" y="457108"/>
            <a:ext cx="633246" cy="269123"/>
          </a:xfrm>
          <a:prstGeom prst="rect">
            <a:avLst/>
          </a:prstGeom>
        </p:spPr>
      </p:pic>
    </p:spTree>
    <p:extLst>
      <p:ext uri="{BB962C8B-B14F-4D97-AF65-F5344CB8AC3E}">
        <p14:creationId xmlns:p14="http://schemas.microsoft.com/office/powerpoint/2010/main" val="272338391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No Content">
    <p:spTree>
      <p:nvGrpSpPr>
        <p:cNvPr id="1" name=""/>
        <p:cNvGrpSpPr/>
        <p:nvPr/>
      </p:nvGrpSpPr>
      <p:grpSpPr>
        <a:xfrm>
          <a:off x="0" y="0"/>
          <a:ext cx="0" cy="0"/>
          <a:chOff x="0" y="0"/>
          <a:chExt cx="0" cy="0"/>
        </a:xfrm>
      </p:grpSpPr>
      <p:sp>
        <p:nvSpPr>
          <p:cNvPr id="6" name="object 2"/>
          <p:cNvSpPr/>
          <p:nvPr userDrawn="1"/>
        </p:nvSpPr>
        <p:spPr>
          <a:xfrm>
            <a:off x="508002" y="56905"/>
            <a:ext cx="339817" cy="972746"/>
          </a:xfrm>
          <a:custGeom>
            <a:avLst/>
            <a:gdLst/>
            <a:ahLst/>
            <a:cxnLst/>
            <a:rect l="l" t="t" r="r" b="b"/>
            <a:pathLst>
              <a:path w="1053464" h="4020820">
                <a:moveTo>
                  <a:pt x="1052998" y="0"/>
                </a:moveTo>
                <a:lnTo>
                  <a:pt x="0" y="607916"/>
                </a:lnTo>
                <a:lnTo>
                  <a:pt x="0" y="4020820"/>
                </a:lnTo>
                <a:lnTo>
                  <a:pt x="1052998" y="4020820"/>
                </a:lnTo>
                <a:lnTo>
                  <a:pt x="1052998" y="0"/>
                </a:lnTo>
                <a:close/>
              </a:path>
            </a:pathLst>
          </a:custGeom>
          <a:solidFill>
            <a:srgbClr val="FFCB05"/>
          </a:solidFill>
        </p:spPr>
        <p:txBody>
          <a:bodyPr wrap="square" lIns="0" tIns="0" rIns="0" bIns="0" rtlCol="0"/>
          <a:lstStyle/>
          <a:p>
            <a:endParaRPr lang="en-GB" sz="1662" noProof="0" dirty="0"/>
          </a:p>
        </p:txBody>
      </p:sp>
      <p:sp>
        <p:nvSpPr>
          <p:cNvPr id="7" name="object 11"/>
          <p:cNvSpPr txBox="1"/>
          <p:nvPr userDrawn="1"/>
        </p:nvSpPr>
        <p:spPr>
          <a:xfrm>
            <a:off x="7065343" y="16934"/>
            <a:ext cx="4533054" cy="182614"/>
          </a:xfrm>
          <a:prstGeom prst="rect">
            <a:avLst/>
          </a:prstGeom>
        </p:spPr>
        <p:txBody>
          <a:bodyPr vert="horz" wrap="square" lIns="0" tIns="0" rIns="0" bIns="0" rtlCol="0">
            <a:spAutoFit/>
          </a:bodyPr>
          <a:lstStyle/>
          <a:p>
            <a:pPr marL="11723" algn="r">
              <a:lnSpc>
                <a:spcPts val="1605"/>
              </a:lnSpc>
            </a:pPr>
            <a:r>
              <a:rPr lang="en-GB" sz="923" spc="14"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69" noProof="0" dirty="0">
                <a:solidFill>
                  <a:srgbClr val="55565A"/>
                </a:solidFill>
                <a:latin typeface="Arial Unicode MS"/>
                <a:cs typeface="Arial Unicode MS"/>
              </a:rPr>
              <a:t>GIB </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The</a:t>
            </a:r>
            <a:r>
              <a:rPr lang="en-GB" sz="923" spc="-74" noProof="0" dirty="0">
                <a:solidFill>
                  <a:srgbClr val="55565A"/>
                </a:solidFill>
                <a:latin typeface="Arial Unicode MS"/>
                <a:cs typeface="Arial Unicode MS"/>
              </a:rPr>
              <a:t> </a:t>
            </a:r>
            <a:r>
              <a:rPr lang="en-GB" sz="923" spc="-14" noProof="0" dirty="0">
                <a:solidFill>
                  <a:srgbClr val="55565A"/>
                </a:solidFill>
                <a:latin typeface="Arial Unicode MS"/>
                <a:cs typeface="Arial Unicode MS"/>
              </a:rPr>
              <a:t>Gulf’s</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International</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Bank</a:t>
            </a:r>
            <a:endParaRPr lang="en-GB" sz="923" noProof="0" dirty="0">
              <a:latin typeface="Arial Unicode MS"/>
              <a:cs typeface="Arial Unicode MS"/>
            </a:endParaRPr>
          </a:p>
        </p:txBody>
      </p:sp>
      <p:sp>
        <p:nvSpPr>
          <p:cNvPr id="8" name="Text Placeholder 11"/>
          <p:cNvSpPr>
            <a:spLocks noGrp="1"/>
          </p:cNvSpPr>
          <p:nvPr>
            <p:ph type="body" sz="quarter" idx="12" hasCustomPrompt="1"/>
          </p:nvPr>
        </p:nvSpPr>
        <p:spPr>
          <a:xfrm>
            <a:off x="1031631" y="289708"/>
            <a:ext cx="9666436" cy="620795"/>
          </a:xfrm>
          <a:prstGeom prst="rect">
            <a:avLst/>
          </a:prstGeom>
        </p:spPr>
        <p:txBody>
          <a:bodyPr anchor="ctr"/>
          <a:lstStyle>
            <a:lvl1pPr marL="0" indent="0">
              <a:buNone/>
              <a:defRPr sz="2000" kern="0" spc="0" baseline="0">
                <a:solidFill>
                  <a:srgbClr val="55565A"/>
                </a:solidFill>
                <a:latin typeface="Arial" panose="020B0604020202020204" pitchFamily="34" charset="0"/>
                <a:cs typeface="Arial" panose="020B0604020202020204" pitchFamily="34" charset="0"/>
              </a:defRPr>
            </a:lvl1pPr>
          </a:lstStyle>
          <a:p>
            <a:pPr lvl="0"/>
            <a:r>
              <a:rPr lang="en-GB" noProof="0" dirty="0"/>
              <a:t>Title here</a:t>
            </a:r>
          </a:p>
        </p:txBody>
      </p:sp>
      <p:sp>
        <p:nvSpPr>
          <p:cNvPr id="10" name="TextBox 9"/>
          <p:cNvSpPr txBox="1"/>
          <p:nvPr userDrawn="1"/>
        </p:nvSpPr>
        <p:spPr>
          <a:xfrm>
            <a:off x="11144015" y="6456841"/>
            <a:ext cx="356188" cy="261610"/>
          </a:xfrm>
          <a:prstGeom prst="rect">
            <a:avLst/>
          </a:prstGeom>
          <a:noFill/>
        </p:spPr>
        <p:txBody>
          <a:bodyPr wrap="none" rtlCol="0">
            <a:spAutoFit/>
          </a:bodyPr>
          <a:lstStyle/>
          <a:p>
            <a:fld id="{DCB9605B-05B2-4139-97EC-E5FED2E08089}" type="slidenum">
              <a:rPr lang="en-GB" sz="1100" b="0" noProof="0" smtClean="0">
                <a:latin typeface="+mj-lt"/>
              </a:rPr>
              <a:t>‹#›</a:t>
            </a:fld>
            <a:endParaRPr lang="en-GB" sz="1100" b="0" noProof="0" dirty="0">
              <a:latin typeface="+mj-lt"/>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27392" y="457108"/>
            <a:ext cx="633246" cy="269123"/>
          </a:xfrm>
          <a:prstGeom prst="rect">
            <a:avLst/>
          </a:prstGeom>
        </p:spPr>
      </p:pic>
    </p:spTree>
    <p:extLst>
      <p:ext uri="{BB962C8B-B14F-4D97-AF65-F5344CB8AC3E}">
        <p14:creationId xmlns:p14="http://schemas.microsoft.com/office/powerpoint/2010/main" val="96280263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x 2 + Content x 2">
    <p:spTree>
      <p:nvGrpSpPr>
        <p:cNvPr id="1" name=""/>
        <p:cNvGrpSpPr/>
        <p:nvPr/>
      </p:nvGrpSpPr>
      <p:grpSpPr>
        <a:xfrm>
          <a:off x="0" y="0"/>
          <a:ext cx="0" cy="0"/>
          <a:chOff x="0" y="0"/>
          <a:chExt cx="0" cy="0"/>
        </a:xfrm>
      </p:grpSpPr>
      <p:sp>
        <p:nvSpPr>
          <p:cNvPr id="6" name="object 2"/>
          <p:cNvSpPr/>
          <p:nvPr userDrawn="1"/>
        </p:nvSpPr>
        <p:spPr>
          <a:xfrm>
            <a:off x="508002" y="56905"/>
            <a:ext cx="339817" cy="972746"/>
          </a:xfrm>
          <a:custGeom>
            <a:avLst/>
            <a:gdLst/>
            <a:ahLst/>
            <a:cxnLst/>
            <a:rect l="l" t="t" r="r" b="b"/>
            <a:pathLst>
              <a:path w="1053464" h="4020820">
                <a:moveTo>
                  <a:pt x="1052998" y="0"/>
                </a:moveTo>
                <a:lnTo>
                  <a:pt x="0" y="607916"/>
                </a:lnTo>
                <a:lnTo>
                  <a:pt x="0" y="4020820"/>
                </a:lnTo>
                <a:lnTo>
                  <a:pt x="1052998" y="4020820"/>
                </a:lnTo>
                <a:lnTo>
                  <a:pt x="1052998" y="0"/>
                </a:lnTo>
                <a:close/>
              </a:path>
            </a:pathLst>
          </a:custGeom>
          <a:solidFill>
            <a:srgbClr val="FFCB05"/>
          </a:solidFill>
        </p:spPr>
        <p:txBody>
          <a:bodyPr wrap="square" lIns="0" tIns="0" rIns="0" bIns="0" rtlCol="0"/>
          <a:lstStyle/>
          <a:p>
            <a:endParaRPr lang="en-GB" sz="1662" noProof="0" dirty="0"/>
          </a:p>
        </p:txBody>
      </p:sp>
      <p:sp>
        <p:nvSpPr>
          <p:cNvPr id="7" name="object 11"/>
          <p:cNvSpPr txBox="1"/>
          <p:nvPr userDrawn="1"/>
        </p:nvSpPr>
        <p:spPr>
          <a:xfrm>
            <a:off x="7065343" y="16934"/>
            <a:ext cx="4533054" cy="205184"/>
          </a:xfrm>
          <a:prstGeom prst="rect">
            <a:avLst/>
          </a:prstGeom>
        </p:spPr>
        <p:txBody>
          <a:bodyPr vert="horz" wrap="square" lIns="0" tIns="0" rIns="0" bIns="0" rtlCol="0">
            <a:spAutoFit/>
          </a:bodyPr>
          <a:lstStyle/>
          <a:p>
            <a:pPr marL="11723" algn="r">
              <a:lnSpc>
                <a:spcPts val="1605"/>
              </a:lnSpc>
            </a:pPr>
            <a:r>
              <a:rPr lang="en-GB" sz="923" spc="14"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69" noProof="0" dirty="0">
                <a:solidFill>
                  <a:srgbClr val="55565A"/>
                </a:solidFill>
                <a:latin typeface="Arial Unicode MS"/>
                <a:cs typeface="Arial Unicode MS"/>
              </a:rPr>
              <a:t>GIB </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The</a:t>
            </a:r>
            <a:r>
              <a:rPr lang="en-GB" sz="923" spc="-74" noProof="0" dirty="0">
                <a:solidFill>
                  <a:srgbClr val="55565A"/>
                </a:solidFill>
                <a:latin typeface="Arial Unicode MS"/>
                <a:cs typeface="Arial Unicode MS"/>
              </a:rPr>
              <a:t> </a:t>
            </a:r>
            <a:r>
              <a:rPr lang="en-GB" sz="923" spc="-14" noProof="0" dirty="0">
                <a:solidFill>
                  <a:srgbClr val="55565A"/>
                </a:solidFill>
                <a:latin typeface="Arial Unicode MS"/>
                <a:cs typeface="Arial Unicode MS"/>
              </a:rPr>
              <a:t>Gulf’s</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International</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Bank</a:t>
            </a:r>
            <a:endParaRPr lang="en-GB" sz="923" noProof="0" dirty="0">
              <a:latin typeface="Arial Unicode MS"/>
              <a:cs typeface="Arial Unicode MS"/>
            </a:endParaRPr>
          </a:p>
        </p:txBody>
      </p:sp>
      <p:sp>
        <p:nvSpPr>
          <p:cNvPr id="13" name="TextBox 12"/>
          <p:cNvSpPr txBox="1"/>
          <p:nvPr userDrawn="1"/>
        </p:nvSpPr>
        <p:spPr>
          <a:xfrm>
            <a:off x="11144015" y="6456841"/>
            <a:ext cx="356188" cy="261610"/>
          </a:xfrm>
          <a:prstGeom prst="rect">
            <a:avLst/>
          </a:prstGeom>
          <a:noFill/>
        </p:spPr>
        <p:txBody>
          <a:bodyPr wrap="none" rtlCol="0">
            <a:spAutoFit/>
          </a:bodyPr>
          <a:lstStyle/>
          <a:p>
            <a:fld id="{DCB9605B-05B2-4139-97EC-E5FED2E08089}" type="slidenum">
              <a:rPr lang="en-GB" sz="1100" b="0" noProof="0" smtClean="0">
                <a:latin typeface="+mj-lt"/>
              </a:rPr>
              <a:t>‹#›</a:t>
            </a:fld>
            <a:endParaRPr lang="en-GB" sz="1100" b="0" noProof="0" dirty="0">
              <a:latin typeface="+mj-lt"/>
            </a:endParaRPr>
          </a:p>
        </p:txBody>
      </p:sp>
      <p:sp>
        <p:nvSpPr>
          <p:cNvPr id="10" name="Text Placeholder 2"/>
          <p:cNvSpPr>
            <a:spLocks noGrp="1"/>
          </p:cNvSpPr>
          <p:nvPr>
            <p:ph type="body" sz="quarter" idx="16"/>
          </p:nvPr>
        </p:nvSpPr>
        <p:spPr>
          <a:xfrm>
            <a:off x="1031629" y="1257301"/>
            <a:ext cx="5176911" cy="5067299"/>
          </a:xfrm>
          <a:prstGeom prst="rect">
            <a:avLst/>
          </a:prstGeom>
        </p:spPr>
        <p:txBody>
          <a:bodyPr/>
          <a:lstStyle>
            <a:lvl1pPr marL="171450" indent="-171450">
              <a:lnSpc>
                <a:spcPct val="100000"/>
              </a:lnSpc>
              <a:spcBef>
                <a:spcPts val="600"/>
              </a:spcBef>
              <a:buClr>
                <a:srgbClr val="FFCB05"/>
              </a:buClr>
              <a:buFont typeface="Wingdings" panose="05000000000000000000" pitchFamily="2" charset="2"/>
              <a:buChar char="§"/>
              <a:defRPr sz="1100">
                <a:latin typeface="Arial" panose="020B0604020202020204" pitchFamily="34" charset="0"/>
                <a:cs typeface="Arial" panose="020B0604020202020204" pitchFamily="34" charset="0"/>
              </a:defRPr>
            </a:lvl1pPr>
            <a:lvl2pPr marL="341313" indent="-169863">
              <a:lnSpc>
                <a:spcPct val="100000"/>
              </a:lnSpc>
              <a:spcBef>
                <a:spcPts val="600"/>
              </a:spcBef>
              <a:buClr>
                <a:srgbClr val="5A5A5A"/>
              </a:buClr>
              <a:buFont typeface="Wingdings" panose="05000000000000000000" pitchFamily="2" charset="2"/>
              <a:buChar char="§"/>
              <a:defRPr sz="1100">
                <a:latin typeface="Arial" panose="020B0604020202020204" pitchFamily="34" charset="0"/>
                <a:cs typeface="Arial" panose="020B0604020202020204" pitchFamily="34" charset="0"/>
              </a:defRPr>
            </a:lvl2pPr>
            <a:lvl3pPr marL="512763" indent="-171450">
              <a:lnSpc>
                <a:spcPct val="100000"/>
              </a:lnSpc>
              <a:spcBef>
                <a:spcPts val="600"/>
              </a:spcBef>
              <a:buClr>
                <a:schemeClr val="accent1"/>
              </a:buClr>
              <a:buFont typeface="Wingdings" panose="05000000000000000000" pitchFamily="2" charset="2"/>
              <a:buChar char="§"/>
              <a:defRPr sz="1100">
                <a:latin typeface="Arial" panose="020B0604020202020204" pitchFamily="34" charset="0"/>
                <a:cs typeface="Arial" panose="020B0604020202020204"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1" name="Text Placeholder 2"/>
          <p:cNvSpPr>
            <a:spLocks noGrp="1"/>
          </p:cNvSpPr>
          <p:nvPr>
            <p:ph type="body" sz="quarter" idx="17"/>
          </p:nvPr>
        </p:nvSpPr>
        <p:spPr>
          <a:xfrm>
            <a:off x="6405489" y="1257301"/>
            <a:ext cx="5176911" cy="5067299"/>
          </a:xfrm>
          <a:prstGeom prst="rect">
            <a:avLst/>
          </a:prstGeom>
        </p:spPr>
        <p:txBody>
          <a:bodyPr/>
          <a:lstStyle>
            <a:lvl1pPr marL="171450" indent="-171450">
              <a:lnSpc>
                <a:spcPct val="100000"/>
              </a:lnSpc>
              <a:spcBef>
                <a:spcPts val="600"/>
              </a:spcBef>
              <a:buClr>
                <a:srgbClr val="FFCB05"/>
              </a:buClr>
              <a:buFont typeface="Wingdings" panose="05000000000000000000" pitchFamily="2" charset="2"/>
              <a:buChar char="§"/>
              <a:defRPr sz="1100">
                <a:latin typeface="Arial" panose="020B0604020202020204" pitchFamily="34" charset="0"/>
                <a:cs typeface="Arial" panose="020B0604020202020204" pitchFamily="34" charset="0"/>
              </a:defRPr>
            </a:lvl1pPr>
            <a:lvl2pPr marL="341313" indent="-169863">
              <a:lnSpc>
                <a:spcPct val="100000"/>
              </a:lnSpc>
              <a:spcBef>
                <a:spcPts val="600"/>
              </a:spcBef>
              <a:buClr>
                <a:srgbClr val="5A5A5A"/>
              </a:buClr>
              <a:buFont typeface="Wingdings" panose="05000000000000000000" pitchFamily="2" charset="2"/>
              <a:buChar char="§"/>
              <a:defRPr sz="1100">
                <a:latin typeface="Arial" panose="020B0604020202020204" pitchFamily="34" charset="0"/>
                <a:cs typeface="Arial" panose="020B0604020202020204" pitchFamily="34" charset="0"/>
              </a:defRPr>
            </a:lvl2pPr>
            <a:lvl3pPr marL="512763" indent="-171450">
              <a:lnSpc>
                <a:spcPct val="100000"/>
              </a:lnSpc>
              <a:spcBef>
                <a:spcPts val="600"/>
              </a:spcBef>
              <a:buClr>
                <a:schemeClr val="accent1"/>
              </a:buClr>
              <a:buFont typeface="Wingdings" panose="05000000000000000000" pitchFamily="2" charset="2"/>
              <a:buChar char="§"/>
              <a:defRPr sz="1100">
                <a:latin typeface="Arial" panose="020B0604020202020204" pitchFamily="34" charset="0"/>
                <a:cs typeface="Arial" panose="020B0604020202020204"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2" name="Text Placeholder 11"/>
          <p:cNvSpPr>
            <a:spLocks noGrp="1"/>
          </p:cNvSpPr>
          <p:nvPr>
            <p:ph type="body" sz="quarter" idx="18" hasCustomPrompt="1"/>
          </p:nvPr>
        </p:nvSpPr>
        <p:spPr>
          <a:xfrm>
            <a:off x="1031629" y="1028700"/>
            <a:ext cx="5176911" cy="228600"/>
          </a:xfrm>
          <a:prstGeom prst="rect">
            <a:avLst/>
          </a:prstGeom>
          <a:solidFill>
            <a:srgbClr val="FFCB05"/>
          </a:solidFill>
        </p:spPr>
        <p:txBody>
          <a:bodyPr anchor="ctr"/>
          <a:lstStyle>
            <a:lvl1pPr marL="0" indent="0">
              <a:lnSpc>
                <a:spcPct val="100000"/>
              </a:lnSpc>
              <a:spcBef>
                <a:spcPts val="0"/>
              </a:spcBef>
              <a:buNone/>
              <a:defRPr sz="1100" b="1">
                <a:solidFill>
                  <a:srgbClr val="55565A"/>
                </a:solidFill>
                <a:latin typeface="Arial" panose="020B0604020202020204" pitchFamily="34" charset="0"/>
                <a:cs typeface="Arial" panose="020B0604020202020204" pitchFamily="34" charset="0"/>
              </a:defRPr>
            </a:lvl1pPr>
          </a:lstStyle>
          <a:p>
            <a:pPr lvl="0"/>
            <a:r>
              <a:rPr lang="en-GB" noProof="0" dirty="0"/>
              <a:t>Title</a:t>
            </a:r>
          </a:p>
        </p:txBody>
      </p:sp>
      <p:sp>
        <p:nvSpPr>
          <p:cNvPr id="14" name="Text Placeholder 11"/>
          <p:cNvSpPr>
            <a:spLocks noGrp="1"/>
          </p:cNvSpPr>
          <p:nvPr>
            <p:ph type="body" sz="quarter" idx="19" hasCustomPrompt="1"/>
          </p:nvPr>
        </p:nvSpPr>
        <p:spPr>
          <a:xfrm>
            <a:off x="6405489" y="1031676"/>
            <a:ext cx="5176911" cy="228600"/>
          </a:xfrm>
          <a:prstGeom prst="rect">
            <a:avLst/>
          </a:prstGeom>
          <a:solidFill>
            <a:srgbClr val="FFCB05"/>
          </a:solidFill>
        </p:spPr>
        <p:txBody>
          <a:bodyPr anchor="ctr"/>
          <a:lstStyle>
            <a:lvl1pPr marL="0" indent="0">
              <a:lnSpc>
                <a:spcPct val="100000"/>
              </a:lnSpc>
              <a:spcBef>
                <a:spcPts val="0"/>
              </a:spcBef>
              <a:buNone/>
              <a:defRPr sz="1100" b="1">
                <a:solidFill>
                  <a:srgbClr val="55565A"/>
                </a:solidFill>
                <a:latin typeface="Arial" panose="020B0604020202020204" pitchFamily="34" charset="0"/>
                <a:cs typeface="Arial" panose="020B0604020202020204" pitchFamily="34" charset="0"/>
              </a:defRPr>
            </a:lvl1pPr>
          </a:lstStyle>
          <a:p>
            <a:pPr lvl="0"/>
            <a:r>
              <a:rPr lang="en-GB" noProof="0" dirty="0"/>
              <a:t>Title</a:t>
            </a:r>
          </a:p>
        </p:txBody>
      </p:sp>
      <p:sp>
        <p:nvSpPr>
          <p:cNvPr id="17" name="Text Placeholder 2"/>
          <p:cNvSpPr>
            <a:spLocks noGrp="1"/>
          </p:cNvSpPr>
          <p:nvPr>
            <p:ph type="body" sz="quarter" idx="15" hasCustomPrompt="1"/>
          </p:nvPr>
        </p:nvSpPr>
        <p:spPr>
          <a:xfrm>
            <a:off x="1031631" y="610160"/>
            <a:ext cx="9666436" cy="280246"/>
          </a:xfrm>
          <a:prstGeom prst="rect">
            <a:avLst/>
          </a:prstGeom>
        </p:spPr>
        <p:txBody>
          <a:bodyPr/>
          <a:lstStyle>
            <a:lvl1pPr marL="0" indent="0">
              <a:buNone/>
              <a:defRPr sz="1400" b="1" spc="0" baseline="0">
                <a:solidFill>
                  <a:srgbClr val="FFCB05"/>
                </a:solidFill>
                <a:latin typeface="Arial" panose="020B0604020202020204" pitchFamily="34" charset="0"/>
                <a:cs typeface="Arial" panose="020B0604020202020204" pitchFamily="34" charset="0"/>
              </a:defRPr>
            </a:lvl1pPr>
          </a:lstStyle>
          <a:p>
            <a:pPr lvl="0"/>
            <a:r>
              <a:rPr lang="en-GB" noProof="0" dirty="0"/>
              <a:t>Sub title here</a:t>
            </a:r>
          </a:p>
        </p:txBody>
      </p:sp>
      <p:sp>
        <p:nvSpPr>
          <p:cNvPr id="18" name="Text Placeholder 11"/>
          <p:cNvSpPr>
            <a:spLocks noGrp="1"/>
          </p:cNvSpPr>
          <p:nvPr>
            <p:ph type="body" sz="quarter" idx="12" hasCustomPrompt="1"/>
          </p:nvPr>
        </p:nvSpPr>
        <p:spPr>
          <a:xfrm>
            <a:off x="1031631" y="299420"/>
            <a:ext cx="9666437" cy="318325"/>
          </a:xfrm>
          <a:prstGeom prst="rect">
            <a:avLst/>
          </a:prstGeom>
        </p:spPr>
        <p:txBody>
          <a:bodyPr/>
          <a:lstStyle>
            <a:lvl1pPr marL="0" indent="0">
              <a:buNone/>
              <a:defRPr sz="2000" kern="0" spc="0" baseline="0">
                <a:solidFill>
                  <a:schemeClr val="tx1"/>
                </a:solidFill>
                <a:latin typeface="Arial" panose="020B0604020202020204" pitchFamily="34" charset="0"/>
                <a:cs typeface="Arial" panose="020B0604020202020204" pitchFamily="34" charset="0"/>
              </a:defRPr>
            </a:lvl1pPr>
          </a:lstStyle>
          <a:p>
            <a:pPr lvl="0"/>
            <a:r>
              <a:rPr lang="en-GB" noProof="0" dirty="0"/>
              <a:t>Title here</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27392" y="457108"/>
            <a:ext cx="633246" cy="269123"/>
          </a:xfrm>
          <a:prstGeom prst="rect">
            <a:avLst/>
          </a:prstGeom>
        </p:spPr>
      </p:pic>
    </p:spTree>
    <p:extLst>
      <p:ext uri="{BB962C8B-B14F-4D97-AF65-F5344CB8AC3E}">
        <p14:creationId xmlns:p14="http://schemas.microsoft.com/office/powerpoint/2010/main" val="3559084039"/>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x 1 + Content x 2">
    <p:spTree>
      <p:nvGrpSpPr>
        <p:cNvPr id="1" name=""/>
        <p:cNvGrpSpPr/>
        <p:nvPr/>
      </p:nvGrpSpPr>
      <p:grpSpPr>
        <a:xfrm>
          <a:off x="0" y="0"/>
          <a:ext cx="0" cy="0"/>
          <a:chOff x="0" y="0"/>
          <a:chExt cx="0" cy="0"/>
        </a:xfrm>
      </p:grpSpPr>
      <p:sp>
        <p:nvSpPr>
          <p:cNvPr id="6" name="object 2"/>
          <p:cNvSpPr/>
          <p:nvPr userDrawn="1"/>
        </p:nvSpPr>
        <p:spPr>
          <a:xfrm>
            <a:off x="508002" y="56905"/>
            <a:ext cx="339817" cy="972746"/>
          </a:xfrm>
          <a:custGeom>
            <a:avLst/>
            <a:gdLst/>
            <a:ahLst/>
            <a:cxnLst/>
            <a:rect l="l" t="t" r="r" b="b"/>
            <a:pathLst>
              <a:path w="1053464" h="4020820">
                <a:moveTo>
                  <a:pt x="1052998" y="0"/>
                </a:moveTo>
                <a:lnTo>
                  <a:pt x="0" y="607916"/>
                </a:lnTo>
                <a:lnTo>
                  <a:pt x="0" y="4020820"/>
                </a:lnTo>
                <a:lnTo>
                  <a:pt x="1052998" y="4020820"/>
                </a:lnTo>
                <a:lnTo>
                  <a:pt x="1052998" y="0"/>
                </a:lnTo>
                <a:close/>
              </a:path>
            </a:pathLst>
          </a:custGeom>
          <a:solidFill>
            <a:srgbClr val="FFCB05"/>
          </a:solidFill>
        </p:spPr>
        <p:txBody>
          <a:bodyPr wrap="square" lIns="0" tIns="0" rIns="0" bIns="0" rtlCol="0"/>
          <a:lstStyle/>
          <a:p>
            <a:endParaRPr lang="en-GB" sz="1662" noProof="0" dirty="0"/>
          </a:p>
        </p:txBody>
      </p:sp>
      <p:sp>
        <p:nvSpPr>
          <p:cNvPr id="7" name="object 11"/>
          <p:cNvSpPr txBox="1"/>
          <p:nvPr userDrawn="1"/>
        </p:nvSpPr>
        <p:spPr>
          <a:xfrm>
            <a:off x="7065343" y="16934"/>
            <a:ext cx="4533054" cy="205184"/>
          </a:xfrm>
          <a:prstGeom prst="rect">
            <a:avLst/>
          </a:prstGeom>
        </p:spPr>
        <p:txBody>
          <a:bodyPr vert="horz" wrap="square" lIns="0" tIns="0" rIns="0" bIns="0" rtlCol="0">
            <a:spAutoFit/>
          </a:bodyPr>
          <a:lstStyle/>
          <a:p>
            <a:pPr marL="11723" algn="r">
              <a:lnSpc>
                <a:spcPts val="1605"/>
              </a:lnSpc>
            </a:pPr>
            <a:r>
              <a:rPr lang="en-GB" sz="923" spc="14"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69" noProof="0" dirty="0">
                <a:solidFill>
                  <a:srgbClr val="55565A"/>
                </a:solidFill>
                <a:latin typeface="Arial Unicode MS"/>
                <a:cs typeface="Arial Unicode MS"/>
              </a:rPr>
              <a:t>GIB </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a:t>
            </a:r>
            <a:r>
              <a:rPr lang="en-GB" sz="923" spc="-74" noProof="0" dirty="0">
                <a:solidFill>
                  <a:srgbClr val="55565A"/>
                </a:solidFill>
                <a:latin typeface="Arial Unicode MS"/>
                <a:cs typeface="Arial Unicode MS"/>
              </a:rPr>
              <a:t> </a:t>
            </a:r>
            <a:r>
              <a:rPr lang="en-GB" sz="923" spc="-28" noProof="0" dirty="0">
                <a:solidFill>
                  <a:srgbClr val="55565A"/>
                </a:solidFill>
                <a:latin typeface="Arial Unicode MS"/>
                <a:cs typeface="Arial Unicode MS"/>
              </a:rPr>
              <a:t>The</a:t>
            </a:r>
            <a:r>
              <a:rPr lang="en-GB" sz="923" spc="-74" noProof="0" dirty="0">
                <a:solidFill>
                  <a:srgbClr val="55565A"/>
                </a:solidFill>
                <a:latin typeface="Arial Unicode MS"/>
                <a:cs typeface="Arial Unicode MS"/>
              </a:rPr>
              <a:t> </a:t>
            </a:r>
            <a:r>
              <a:rPr lang="en-GB" sz="923" spc="-14" noProof="0" dirty="0">
                <a:solidFill>
                  <a:srgbClr val="55565A"/>
                </a:solidFill>
                <a:latin typeface="Arial Unicode MS"/>
                <a:cs typeface="Arial Unicode MS"/>
              </a:rPr>
              <a:t>Gulf’s</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International</a:t>
            </a:r>
            <a:r>
              <a:rPr lang="en-GB" sz="923" spc="-74" noProof="0" dirty="0">
                <a:solidFill>
                  <a:srgbClr val="55565A"/>
                </a:solidFill>
                <a:latin typeface="Arial Unicode MS"/>
                <a:cs typeface="Arial Unicode MS"/>
              </a:rPr>
              <a:t> </a:t>
            </a:r>
            <a:r>
              <a:rPr lang="en-GB" sz="923" spc="-18" noProof="0" dirty="0">
                <a:solidFill>
                  <a:srgbClr val="55565A"/>
                </a:solidFill>
                <a:latin typeface="Arial Unicode MS"/>
                <a:cs typeface="Arial Unicode MS"/>
              </a:rPr>
              <a:t>Bank</a:t>
            </a:r>
            <a:endParaRPr lang="en-GB" sz="923" noProof="0" dirty="0">
              <a:latin typeface="Arial Unicode MS"/>
              <a:cs typeface="Arial Unicode MS"/>
            </a:endParaRPr>
          </a:p>
        </p:txBody>
      </p:sp>
      <p:sp>
        <p:nvSpPr>
          <p:cNvPr id="13" name="TextBox 12"/>
          <p:cNvSpPr txBox="1"/>
          <p:nvPr userDrawn="1"/>
        </p:nvSpPr>
        <p:spPr>
          <a:xfrm>
            <a:off x="11144015" y="6456841"/>
            <a:ext cx="356188" cy="261610"/>
          </a:xfrm>
          <a:prstGeom prst="rect">
            <a:avLst/>
          </a:prstGeom>
          <a:noFill/>
        </p:spPr>
        <p:txBody>
          <a:bodyPr wrap="none" rtlCol="0">
            <a:spAutoFit/>
          </a:bodyPr>
          <a:lstStyle/>
          <a:p>
            <a:fld id="{DCB9605B-05B2-4139-97EC-E5FED2E08089}" type="slidenum">
              <a:rPr lang="en-GB" sz="1100" b="0" noProof="0" smtClean="0">
                <a:latin typeface="+mj-lt"/>
              </a:rPr>
              <a:t>‹#›</a:t>
            </a:fld>
            <a:endParaRPr lang="en-GB" sz="1100" b="0" noProof="0" dirty="0">
              <a:latin typeface="+mj-lt"/>
            </a:endParaRPr>
          </a:p>
        </p:txBody>
      </p:sp>
      <p:sp>
        <p:nvSpPr>
          <p:cNvPr id="10" name="Text Placeholder 2"/>
          <p:cNvSpPr>
            <a:spLocks noGrp="1"/>
          </p:cNvSpPr>
          <p:nvPr>
            <p:ph type="body" sz="quarter" idx="16"/>
          </p:nvPr>
        </p:nvSpPr>
        <p:spPr>
          <a:xfrm>
            <a:off x="1031629" y="1257301"/>
            <a:ext cx="5176911" cy="5067299"/>
          </a:xfrm>
          <a:prstGeom prst="rect">
            <a:avLst/>
          </a:prstGeom>
        </p:spPr>
        <p:txBody>
          <a:bodyPr/>
          <a:lstStyle>
            <a:lvl1pPr marL="171450" indent="-171450">
              <a:lnSpc>
                <a:spcPct val="100000"/>
              </a:lnSpc>
              <a:spcBef>
                <a:spcPts val="600"/>
              </a:spcBef>
              <a:buClr>
                <a:srgbClr val="FFCB05"/>
              </a:buClr>
              <a:buFont typeface="Wingdings" panose="05000000000000000000" pitchFamily="2" charset="2"/>
              <a:buChar char="§"/>
              <a:defRPr sz="1100">
                <a:latin typeface="Arial" panose="020B0604020202020204" pitchFamily="34" charset="0"/>
                <a:cs typeface="Arial" panose="020B0604020202020204" pitchFamily="34" charset="0"/>
              </a:defRPr>
            </a:lvl1pPr>
            <a:lvl2pPr marL="341313" indent="-169863">
              <a:lnSpc>
                <a:spcPct val="100000"/>
              </a:lnSpc>
              <a:spcBef>
                <a:spcPts val="600"/>
              </a:spcBef>
              <a:buClr>
                <a:srgbClr val="5A5A5A"/>
              </a:buClr>
              <a:buFont typeface="Wingdings" panose="05000000000000000000" pitchFamily="2" charset="2"/>
              <a:buChar char="§"/>
              <a:defRPr sz="1100">
                <a:latin typeface="Arial" panose="020B0604020202020204" pitchFamily="34" charset="0"/>
                <a:cs typeface="Arial" panose="020B0604020202020204" pitchFamily="34" charset="0"/>
              </a:defRPr>
            </a:lvl2pPr>
            <a:lvl3pPr marL="512763" indent="-171450">
              <a:lnSpc>
                <a:spcPct val="100000"/>
              </a:lnSpc>
              <a:spcBef>
                <a:spcPts val="600"/>
              </a:spcBef>
              <a:buClr>
                <a:schemeClr val="accent1"/>
              </a:buClr>
              <a:buFont typeface="Wingdings" panose="05000000000000000000" pitchFamily="2" charset="2"/>
              <a:buChar char="§"/>
              <a:defRPr sz="1100">
                <a:latin typeface="Arial" panose="020B0604020202020204" pitchFamily="34" charset="0"/>
                <a:cs typeface="Arial" panose="020B0604020202020204"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1" name="Text Placeholder 2"/>
          <p:cNvSpPr>
            <a:spLocks noGrp="1"/>
          </p:cNvSpPr>
          <p:nvPr>
            <p:ph type="body" sz="quarter" idx="17"/>
          </p:nvPr>
        </p:nvSpPr>
        <p:spPr>
          <a:xfrm>
            <a:off x="6405489" y="1257301"/>
            <a:ext cx="5176911" cy="5067299"/>
          </a:xfrm>
          <a:prstGeom prst="rect">
            <a:avLst/>
          </a:prstGeom>
        </p:spPr>
        <p:txBody>
          <a:bodyPr/>
          <a:lstStyle>
            <a:lvl1pPr marL="171450" indent="-171450">
              <a:lnSpc>
                <a:spcPct val="100000"/>
              </a:lnSpc>
              <a:spcBef>
                <a:spcPts val="600"/>
              </a:spcBef>
              <a:buClr>
                <a:srgbClr val="FFCB05"/>
              </a:buClr>
              <a:buFont typeface="Wingdings" panose="05000000000000000000" pitchFamily="2" charset="2"/>
              <a:buChar char="§"/>
              <a:defRPr sz="1100">
                <a:latin typeface="Arial" panose="020B0604020202020204" pitchFamily="34" charset="0"/>
                <a:cs typeface="Arial" panose="020B0604020202020204" pitchFamily="34" charset="0"/>
              </a:defRPr>
            </a:lvl1pPr>
            <a:lvl2pPr marL="341313" indent="-169863">
              <a:lnSpc>
                <a:spcPct val="100000"/>
              </a:lnSpc>
              <a:spcBef>
                <a:spcPts val="600"/>
              </a:spcBef>
              <a:buClr>
                <a:srgbClr val="5A5A5A"/>
              </a:buClr>
              <a:buFont typeface="Wingdings" panose="05000000000000000000" pitchFamily="2" charset="2"/>
              <a:buChar char="§"/>
              <a:defRPr sz="1100">
                <a:latin typeface="Arial" panose="020B0604020202020204" pitchFamily="34" charset="0"/>
                <a:cs typeface="Arial" panose="020B0604020202020204" pitchFamily="34" charset="0"/>
              </a:defRPr>
            </a:lvl2pPr>
            <a:lvl3pPr marL="512763" indent="-171450">
              <a:lnSpc>
                <a:spcPct val="100000"/>
              </a:lnSpc>
              <a:spcBef>
                <a:spcPts val="600"/>
              </a:spcBef>
              <a:buClr>
                <a:schemeClr val="accent1"/>
              </a:buClr>
              <a:buFont typeface="Wingdings" panose="05000000000000000000" pitchFamily="2" charset="2"/>
              <a:buChar char="§"/>
              <a:defRPr sz="1100">
                <a:latin typeface="Arial" panose="020B0604020202020204" pitchFamily="34" charset="0"/>
                <a:cs typeface="Arial" panose="020B0604020202020204"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2" name="Text Placeholder 11"/>
          <p:cNvSpPr>
            <a:spLocks noGrp="1"/>
          </p:cNvSpPr>
          <p:nvPr>
            <p:ph type="body" sz="quarter" idx="18" hasCustomPrompt="1"/>
          </p:nvPr>
        </p:nvSpPr>
        <p:spPr>
          <a:xfrm>
            <a:off x="1031629" y="1028700"/>
            <a:ext cx="5176911" cy="228600"/>
          </a:xfrm>
          <a:prstGeom prst="rect">
            <a:avLst/>
          </a:prstGeom>
          <a:solidFill>
            <a:srgbClr val="FFCB05"/>
          </a:solidFill>
        </p:spPr>
        <p:txBody>
          <a:bodyPr anchor="ctr"/>
          <a:lstStyle>
            <a:lvl1pPr marL="0" indent="0">
              <a:lnSpc>
                <a:spcPct val="100000"/>
              </a:lnSpc>
              <a:spcBef>
                <a:spcPts val="0"/>
              </a:spcBef>
              <a:buNone/>
              <a:defRPr sz="1100" b="1">
                <a:solidFill>
                  <a:srgbClr val="55565A"/>
                </a:solidFill>
                <a:latin typeface="Arial" panose="020B0604020202020204" pitchFamily="34" charset="0"/>
                <a:cs typeface="Arial" panose="020B0604020202020204" pitchFamily="34" charset="0"/>
              </a:defRPr>
            </a:lvl1pPr>
          </a:lstStyle>
          <a:p>
            <a:pPr lvl="0"/>
            <a:r>
              <a:rPr lang="en-GB" noProof="0" dirty="0"/>
              <a:t>Title</a:t>
            </a:r>
          </a:p>
        </p:txBody>
      </p:sp>
      <p:sp>
        <p:nvSpPr>
          <p:cNvPr id="14" name="Text Placeholder 11"/>
          <p:cNvSpPr>
            <a:spLocks noGrp="1"/>
          </p:cNvSpPr>
          <p:nvPr>
            <p:ph type="body" sz="quarter" idx="19" hasCustomPrompt="1"/>
          </p:nvPr>
        </p:nvSpPr>
        <p:spPr>
          <a:xfrm>
            <a:off x="6405489" y="1031676"/>
            <a:ext cx="5176911" cy="228600"/>
          </a:xfrm>
          <a:prstGeom prst="rect">
            <a:avLst/>
          </a:prstGeom>
          <a:solidFill>
            <a:srgbClr val="FFCB05"/>
          </a:solidFill>
        </p:spPr>
        <p:txBody>
          <a:bodyPr anchor="ctr"/>
          <a:lstStyle>
            <a:lvl1pPr marL="0" indent="0">
              <a:lnSpc>
                <a:spcPct val="100000"/>
              </a:lnSpc>
              <a:spcBef>
                <a:spcPts val="0"/>
              </a:spcBef>
              <a:buNone/>
              <a:defRPr sz="1100" b="1">
                <a:solidFill>
                  <a:srgbClr val="55565A"/>
                </a:solidFill>
                <a:latin typeface="Arial" panose="020B0604020202020204" pitchFamily="34" charset="0"/>
                <a:cs typeface="Arial" panose="020B0604020202020204" pitchFamily="34" charset="0"/>
              </a:defRPr>
            </a:lvl1pPr>
          </a:lstStyle>
          <a:p>
            <a:pPr lvl="0"/>
            <a:r>
              <a:rPr lang="en-GB" noProof="0" dirty="0"/>
              <a:t>Title</a:t>
            </a:r>
          </a:p>
        </p:txBody>
      </p:sp>
      <p:sp>
        <p:nvSpPr>
          <p:cNvPr id="15" name="Text Placeholder 11"/>
          <p:cNvSpPr>
            <a:spLocks noGrp="1"/>
          </p:cNvSpPr>
          <p:nvPr>
            <p:ph type="body" sz="quarter" idx="12" hasCustomPrompt="1"/>
          </p:nvPr>
        </p:nvSpPr>
        <p:spPr>
          <a:xfrm>
            <a:off x="1031631" y="289708"/>
            <a:ext cx="9666436" cy="620795"/>
          </a:xfrm>
          <a:prstGeom prst="rect">
            <a:avLst/>
          </a:prstGeom>
        </p:spPr>
        <p:txBody>
          <a:bodyPr anchor="ctr"/>
          <a:lstStyle>
            <a:lvl1pPr marL="0" indent="0">
              <a:buNone/>
              <a:defRPr sz="2000" kern="0" spc="0" baseline="0">
                <a:solidFill>
                  <a:srgbClr val="55565A"/>
                </a:solidFill>
                <a:latin typeface="Arial" panose="020B0604020202020204" pitchFamily="34" charset="0"/>
                <a:cs typeface="Arial" panose="020B0604020202020204" pitchFamily="34" charset="0"/>
              </a:defRPr>
            </a:lvl1pPr>
          </a:lstStyle>
          <a:p>
            <a:pPr lvl="0"/>
            <a:r>
              <a:rPr lang="en-GB" noProof="0" dirty="0"/>
              <a:t>Title</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27392" y="457108"/>
            <a:ext cx="633246" cy="269123"/>
          </a:xfrm>
          <a:prstGeom prst="rect">
            <a:avLst/>
          </a:prstGeom>
        </p:spPr>
      </p:pic>
    </p:spTree>
    <p:extLst>
      <p:ext uri="{BB962C8B-B14F-4D97-AF65-F5344CB8AC3E}">
        <p14:creationId xmlns:p14="http://schemas.microsoft.com/office/powerpoint/2010/main" val="276673536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440197"/>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hf hdr="0" ftr="0" dt="0"/>
  <p:txStyles>
    <p:titleStyle>
      <a:lvl1pPr algn="l" defTabSz="633062" rtl="0" eaLnBrk="1" latinLnBrk="0" hangingPunct="1">
        <a:lnSpc>
          <a:spcPct val="90000"/>
        </a:lnSpc>
        <a:spcBef>
          <a:spcPct val="0"/>
        </a:spcBef>
        <a:buNone/>
        <a:defRPr sz="3046" kern="1200">
          <a:solidFill>
            <a:schemeClr val="tx1"/>
          </a:solidFill>
          <a:latin typeface="Glosa Roman" panose="02000503000000020004" pitchFamily="50" charset="0"/>
          <a:ea typeface="Verdana" panose="020B0604030504040204" pitchFamily="34" charset="0"/>
          <a:cs typeface="Verdana" panose="020B0604030504040204" pitchFamily="34" charset="0"/>
        </a:defRPr>
      </a:lvl1pPr>
    </p:titleStyle>
    <p:bodyStyle>
      <a:lvl1pPr marL="158265" indent="-158265" algn="l" defTabSz="633062" rtl="0" eaLnBrk="1" latinLnBrk="0" hangingPunct="1">
        <a:lnSpc>
          <a:spcPct val="90000"/>
        </a:lnSpc>
        <a:spcBef>
          <a:spcPts val="692"/>
        </a:spcBef>
        <a:buFont typeface="Arial" panose="020B0604020202020204" pitchFamily="34" charset="0"/>
        <a:buChar char="•"/>
        <a:defRPr sz="1939" kern="1200">
          <a:solidFill>
            <a:schemeClr val="tx1"/>
          </a:solidFill>
          <a:latin typeface="Glosa Roman" panose="02000503000000020004" pitchFamily="50" charset="0"/>
          <a:ea typeface="Verdana" panose="020B0604030504040204" pitchFamily="34" charset="0"/>
          <a:cs typeface="Verdana" panose="020B0604030504040204" pitchFamily="34" charset="0"/>
        </a:defRPr>
      </a:lvl1pPr>
      <a:lvl2pPr marL="474796" indent="-158265" algn="l" defTabSz="633062" rtl="0" eaLnBrk="1" latinLnBrk="0" hangingPunct="1">
        <a:lnSpc>
          <a:spcPct val="90000"/>
        </a:lnSpc>
        <a:spcBef>
          <a:spcPts val="346"/>
        </a:spcBef>
        <a:buFont typeface="Arial" panose="020B0604020202020204" pitchFamily="34" charset="0"/>
        <a:buChar char="•"/>
        <a:defRPr sz="1662" kern="1200">
          <a:solidFill>
            <a:schemeClr val="tx1"/>
          </a:solidFill>
          <a:latin typeface="Glosa Roman" panose="02000503000000020004" pitchFamily="50" charset="0"/>
          <a:ea typeface="Verdana" panose="020B0604030504040204" pitchFamily="34" charset="0"/>
          <a:cs typeface="Verdana" panose="020B0604030504040204" pitchFamily="34" charset="0"/>
        </a:defRPr>
      </a:lvl2pPr>
      <a:lvl3pPr marL="791327" indent="-158265" algn="l" defTabSz="633062" rtl="0" eaLnBrk="1" latinLnBrk="0" hangingPunct="1">
        <a:lnSpc>
          <a:spcPct val="90000"/>
        </a:lnSpc>
        <a:spcBef>
          <a:spcPts val="346"/>
        </a:spcBef>
        <a:buFont typeface="Arial" panose="020B0604020202020204" pitchFamily="34" charset="0"/>
        <a:buChar char="•"/>
        <a:defRPr sz="1385" kern="1200">
          <a:solidFill>
            <a:schemeClr val="tx1"/>
          </a:solidFill>
          <a:latin typeface="Glosa Roman" panose="02000503000000020004" pitchFamily="50" charset="0"/>
          <a:ea typeface="Verdana" panose="020B0604030504040204" pitchFamily="34" charset="0"/>
          <a:cs typeface="Verdana" panose="020B0604030504040204" pitchFamily="34" charset="0"/>
        </a:defRPr>
      </a:lvl3pPr>
      <a:lvl4pPr marL="1107858" indent="-158265" algn="l" defTabSz="633062" rtl="0" eaLnBrk="1" latinLnBrk="0" hangingPunct="1">
        <a:lnSpc>
          <a:spcPct val="90000"/>
        </a:lnSpc>
        <a:spcBef>
          <a:spcPts val="346"/>
        </a:spcBef>
        <a:buFont typeface="Arial" panose="020B0604020202020204" pitchFamily="34" charset="0"/>
        <a:buChar char="•"/>
        <a:defRPr sz="1246" kern="1200">
          <a:solidFill>
            <a:schemeClr val="tx1"/>
          </a:solidFill>
          <a:latin typeface="Glosa Roman" panose="02000503000000020004" pitchFamily="50" charset="0"/>
          <a:ea typeface="Verdana" panose="020B0604030504040204" pitchFamily="34" charset="0"/>
          <a:cs typeface="Verdana" panose="020B0604030504040204" pitchFamily="34" charset="0"/>
        </a:defRPr>
      </a:lvl4pPr>
      <a:lvl5pPr marL="1424389" indent="-158265" algn="l" defTabSz="633062" rtl="0" eaLnBrk="1" latinLnBrk="0" hangingPunct="1">
        <a:lnSpc>
          <a:spcPct val="90000"/>
        </a:lnSpc>
        <a:spcBef>
          <a:spcPts val="346"/>
        </a:spcBef>
        <a:buFont typeface="Arial" panose="020B0604020202020204" pitchFamily="34" charset="0"/>
        <a:buChar char="•"/>
        <a:defRPr sz="1246" kern="1200">
          <a:solidFill>
            <a:schemeClr val="tx1"/>
          </a:solidFill>
          <a:latin typeface="Glosa Roman" panose="02000503000000020004" pitchFamily="50" charset="0"/>
          <a:ea typeface="Verdana" panose="020B0604030504040204" pitchFamily="34" charset="0"/>
          <a:cs typeface="Verdana" panose="020B0604030504040204" pitchFamily="34" charset="0"/>
        </a:defRPr>
      </a:lvl5pPr>
      <a:lvl6pPr marL="1740920" indent="-158265" algn="l" defTabSz="633062"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451" indent="-158265" algn="l" defTabSz="633062"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982" indent="-158265" algn="l" defTabSz="633062"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513" indent="-158265" algn="l" defTabSz="633062"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p:bodyStyle>
    <p:otherStyle>
      <a:defPPr>
        <a:defRPr lang="en-US"/>
      </a:defPPr>
      <a:lvl1pPr marL="0" algn="l" defTabSz="633062" rtl="0" eaLnBrk="1" latinLnBrk="0" hangingPunct="1">
        <a:defRPr sz="1246" kern="1200">
          <a:solidFill>
            <a:schemeClr val="tx1"/>
          </a:solidFill>
          <a:latin typeface="+mn-lt"/>
          <a:ea typeface="+mn-ea"/>
          <a:cs typeface="+mn-cs"/>
        </a:defRPr>
      </a:lvl1pPr>
      <a:lvl2pPr marL="316531" algn="l" defTabSz="633062" rtl="0" eaLnBrk="1" latinLnBrk="0" hangingPunct="1">
        <a:defRPr sz="1246" kern="1200">
          <a:solidFill>
            <a:schemeClr val="tx1"/>
          </a:solidFill>
          <a:latin typeface="+mn-lt"/>
          <a:ea typeface="+mn-ea"/>
          <a:cs typeface="+mn-cs"/>
        </a:defRPr>
      </a:lvl2pPr>
      <a:lvl3pPr marL="633062" algn="l" defTabSz="633062" rtl="0" eaLnBrk="1" latinLnBrk="0" hangingPunct="1">
        <a:defRPr sz="1246" kern="1200">
          <a:solidFill>
            <a:schemeClr val="tx1"/>
          </a:solidFill>
          <a:latin typeface="+mn-lt"/>
          <a:ea typeface="+mn-ea"/>
          <a:cs typeface="+mn-cs"/>
        </a:defRPr>
      </a:lvl3pPr>
      <a:lvl4pPr marL="949593" algn="l" defTabSz="633062" rtl="0" eaLnBrk="1" latinLnBrk="0" hangingPunct="1">
        <a:defRPr sz="1246" kern="1200">
          <a:solidFill>
            <a:schemeClr val="tx1"/>
          </a:solidFill>
          <a:latin typeface="+mn-lt"/>
          <a:ea typeface="+mn-ea"/>
          <a:cs typeface="+mn-cs"/>
        </a:defRPr>
      </a:lvl4pPr>
      <a:lvl5pPr marL="1266124" algn="l" defTabSz="633062" rtl="0" eaLnBrk="1" latinLnBrk="0" hangingPunct="1">
        <a:defRPr sz="1246" kern="1200">
          <a:solidFill>
            <a:schemeClr val="tx1"/>
          </a:solidFill>
          <a:latin typeface="+mn-lt"/>
          <a:ea typeface="+mn-ea"/>
          <a:cs typeface="+mn-cs"/>
        </a:defRPr>
      </a:lvl5pPr>
      <a:lvl6pPr marL="1582655" algn="l" defTabSz="633062" rtl="0" eaLnBrk="1" latinLnBrk="0" hangingPunct="1">
        <a:defRPr sz="1246" kern="1200">
          <a:solidFill>
            <a:schemeClr val="tx1"/>
          </a:solidFill>
          <a:latin typeface="+mn-lt"/>
          <a:ea typeface="+mn-ea"/>
          <a:cs typeface="+mn-cs"/>
        </a:defRPr>
      </a:lvl6pPr>
      <a:lvl7pPr marL="1899186" algn="l" defTabSz="633062" rtl="0" eaLnBrk="1" latinLnBrk="0" hangingPunct="1">
        <a:defRPr sz="1246" kern="1200">
          <a:solidFill>
            <a:schemeClr val="tx1"/>
          </a:solidFill>
          <a:latin typeface="+mn-lt"/>
          <a:ea typeface="+mn-ea"/>
          <a:cs typeface="+mn-cs"/>
        </a:defRPr>
      </a:lvl7pPr>
      <a:lvl8pPr marL="2215717" algn="l" defTabSz="633062" rtl="0" eaLnBrk="1" latinLnBrk="0" hangingPunct="1">
        <a:defRPr sz="1246" kern="1200">
          <a:solidFill>
            <a:schemeClr val="tx1"/>
          </a:solidFill>
          <a:latin typeface="+mn-lt"/>
          <a:ea typeface="+mn-ea"/>
          <a:cs typeface="+mn-cs"/>
        </a:defRPr>
      </a:lvl8pPr>
      <a:lvl9pPr marL="2532248" algn="l" defTabSz="633062" rtl="0" eaLnBrk="1" latinLnBrk="0" hangingPunct="1">
        <a:defRPr sz="124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086949"/>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Lst>
  <p:hf hdr="0" ftr="0" dt="0"/>
  <p:txStyles>
    <p:titleStyle>
      <a:lvl1pPr algn="l" defTabSz="844083" rtl="0" eaLnBrk="1" latinLnBrk="0" hangingPunct="1">
        <a:lnSpc>
          <a:spcPct val="90000"/>
        </a:lnSpc>
        <a:spcBef>
          <a:spcPct val="0"/>
        </a:spcBef>
        <a:buNone/>
        <a:defRPr sz="4062" kern="1200">
          <a:solidFill>
            <a:schemeClr val="tx1"/>
          </a:solidFill>
          <a:latin typeface="+mj-lt"/>
          <a:ea typeface="+mj-ea"/>
          <a:cs typeface="+mj-cs"/>
        </a:defRPr>
      </a:lvl1pPr>
    </p:titleStyle>
    <p:bodyStyle>
      <a:lvl1pPr marL="211021" indent="-211021" algn="l" defTabSz="844083" rtl="0" eaLnBrk="1" latinLnBrk="0" hangingPunct="1">
        <a:lnSpc>
          <a:spcPct val="90000"/>
        </a:lnSpc>
        <a:spcBef>
          <a:spcPts val="923"/>
        </a:spcBef>
        <a:buFont typeface="Arial" panose="020B0604020202020204" pitchFamily="34" charset="0"/>
        <a:buChar char="•"/>
        <a:defRPr sz="2585" kern="1200">
          <a:solidFill>
            <a:schemeClr val="tx1"/>
          </a:solidFill>
          <a:latin typeface="+mn-lt"/>
          <a:ea typeface="+mn-ea"/>
          <a:cs typeface="+mn-cs"/>
        </a:defRPr>
      </a:lvl1pPr>
      <a:lvl2pPr marL="633062" indent="-211021" algn="l" defTabSz="844083" rtl="0" eaLnBrk="1" latinLnBrk="0" hangingPunct="1">
        <a:lnSpc>
          <a:spcPct val="90000"/>
        </a:lnSpc>
        <a:spcBef>
          <a:spcPts val="462"/>
        </a:spcBef>
        <a:buFont typeface="Arial" panose="020B0604020202020204" pitchFamily="34" charset="0"/>
        <a:buChar char="•"/>
        <a:defRPr sz="2215" kern="1200">
          <a:solidFill>
            <a:schemeClr val="tx1"/>
          </a:solidFill>
          <a:latin typeface="+mn-lt"/>
          <a:ea typeface="+mn-ea"/>
          <a:cs typeface="+mn-cs"/>
        </a:defRPr>
      </a:lvl2pPr>
      <a:lvl3pPr marL="1055103" indent="-211021" algn="l" defTabSz="844083" rtl="0" eaLnBrk="1" latinLnBrk="0" hangingPunct="1">
        <a:lnSpc>
          <a:spcPct val="90000"/>
        </a:lnSpc>
        <a:spcBef>
          <a:spcPts val="462"/>
        </a:spcBef>
        <a:buFont typeface="Arial" panose="020B0604020202020204" pitchFamily="34" charset="0"/>
        <a:buChar char="•"/>
        <a:defRPr sz="1846" kern="1200">
          <a:solidFill>
            <a:schemeClr val="tx1"/>
          </a:solidFill>
          <a:latin typeface="+mn-lt"/>
          <a:ea typeface="+mn-ea"/>
          <a:cs typeface="+mn-cs"/>
        </a:defRPr>
      </a:lvl3pPr>
      <a:lvl4pPr marL="1477145"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4pPr>
      <a:lvl5pPr marL="1899186"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5pPr>
      <a:lvl6pPr marL="2321227"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6pPr>
      <a:lvl7pPr marL="2743269"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7pPr>
      <a:lvl8pPr marL="3165310"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6.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package" Target="../embeddings/Microsoft_Excel_Worksheet1.xlsx"/><Relationship Id="rId7" Type="http://schemas.openxmlformats.org/officeDocument/2006/relationships/diagramQuickStyle" Target="../diagrams/quickStyle3.xml"/><Relationship Id="rId12" Type="http://schemas.openxmlformats.org/officeDocument/2006/relationships/image" Target="../media/image17.png"/><Relationship Id="rId2" Type="http://schemas.openxmlformats.org/officeDocument/2006/relationships/slideLayout" Target="../slideLayouts/slideLayout16.xml"/><Relationship Id="rId1" Type="http://schemas.openxmlformats.org/officeDocument/2006/relationships/vmlDrawing" Target="../drawings/vmlDrawing1.vml"/><Relationship Id="rId6" Type="http://schemas.openxmlformats.org/officeDocument/2006/relationships/diagramLayout" Target="../diagrams/layout3.xml"/><Relationship Id="rId11" Type="http://schemas.openxmlformats.org/officeDocument/2006/relationships/image" Target="../media/image16.png"/><Relationship Id="rId5" Type="http://schemas.openxmlformats.org/officeDocument/2006/relationships/diagramData" Target="../diagrams/data3.xml"/><Relationship Id="rId10" Type="http://schemas.openxmlformats.org/officeDocument/2006/relationships/image" Target="../media/image15.jpg"/><Relationship Id="rId4" Type="http://schemas.openxmlformats.org/officeDocument/2006/relationships/image" Target="../media/image14.wmf"/><Relationship Id="rId9" Type="http://schemas.microsoft.com/office/2007/relationships/diagramDrawing" Target="../diagrams/drawing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97DCBB6-2F4E-432B-8082-3F6931922F6D}"/>
              </a:ext>
            </a:extLst>
          </p:cNvPr>
          <p:cNvSpPr>
            <a:spLocks noGrp="1"/>
          </p:cNvSpPr>
          <p:nvPr>
            <p:ph type="title"/>
          </p:nvPr>
        </p:nvSpPr>
        <p:spPr/>
        <p:txBody>
          <a:bodyPr/>
          <a:lstStyle/>
          <a:p>
            <a:r>
              <a:rPr lang="en-IN" dirty="0"/>
              <a:t>GIB Retail Performance Testing</a:t>
            </a:r>
            <a:endParaRPr lang="en-GB" dirty="0"/>
          </a:p>
        </p:txBody>
      </p:sp>
      <p:sp>
        <p:nvSpPr>
          <p:cNvPr id="6" name="Text Placeholder 5">
            <a:extLst>
              <a:ext uri="{FF2B5EF4-FFF2-40B4-BE49-F238E27FC236}">
                <a16:creationId xmlns:a16="http://schemas.microsoft.com/office/drawing/2014/main" xmlns="" id="{645775FC-142A-4F19-90C1-5B0E8A8FC71A}"/>
              </a:ext>
            </a:extLst>
          </p:cNvPr>
          <p:cNvSpPr>
            <a:spLocks noGrp="1"/>
          </p:cNvSpPr>
          <p:nvPr>
            <p:ph type="body" sz="quarter" idx="12"/>
          </p:nvPr>
        </p:nvSpPr>
        <p:spPr>
          <a:xfrm>
            <a:off x="603056" y="2807474"/>
            <a:ext cx="4164037" cy="457200"/>
          </a:xfrm>
        </p:spPr>
        <p:txBody>
          <a:bodyPr/>
          <a:lstStyle/>
          <a:p>
            <a:r>
              <a:rPr lang="en-IN" dirty="0"/>
              <a:t>3</a:t>
            </a:r>
            <a:r>
              <a:rPr lang="en-IN" baseline="30000" dirty="0"/>
              <a:t>rd</a:t>
            </a:r>
            <a:r>
              <a:rPr lang="en-IN" dirty="0"/>
              <a:t> March’2020</a:t>
            </a:r>
          </a:p>
        </p:txBody>
      </p:sp>
    </p:spTree>
    <p:extLst>
      <p:ext uri="{BB962C8B-B14F-4D97-AF65-F5344CB8AC3E}">
        <p14:creationId xmlns:p14="http://schemas.microsoft.com/office/powerpoint/2010/main" val="37876606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IN" dirty="0"/>
              <a:t>Project Team Structure</a:t>
            </a:r>
          </a:p>
        </p:txBody>
      </p:sp>
      <p:graphicFrame>
        <p:nvGraphicFramePr>
          <p:cNvPr id="4" name="Diagram 3"/>
          <p:cNvGraphicFramePr/>
          <p:nvPr>
            <p:extLst>
              <p:ext uri="{D42A27DB-BD31-4B8C-83A1-F6EECF244321}">
                <p14:modId xmlns:p14="http://schemas.microsoft.com/office/powerpoint/2010/main" val="3533090620"/>
              </p:ext>
            </p:extLst>
          </p:nvPr>
        </p:nvGraphicFramePr>
        <p:xfrm>
          <a:off x="364353" y="1039124"/>
          <a:ext cx="11463294"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857357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9E9A79EB-4FD6-4479-93FD-0935F977C81B}"/>
              </a:ext>
            </a:extLst>
          </p:cNvPr>
          <p:cNvSpPr>
            <a:spLocks noGrp="1"/>
          </p:cNvSpPr>
          <p:nvPr>
            <p:ph type="body" sz="quarter" idx="12"/>
          </p:nvPr>
        </p:nvSpPr>
        <p:spPr/>
        <p:txBody>
          <a:bodyPr/>
          <a:lstStyle/>
          <a:p>
            <a:r>
              <a:rPr lang="en-US" dirty="0"/>
              <a:t>Support Required</a:t>
            </a:r>
            <a:endParaRPr lang="en-GB" dirty="0"/>
          </a:p>
        </p:txBody>
      </p:sp>
      <p:graphicFrame>
        <p:nvGraphicFramePr>
          <p:cNvPr id="4" name="Table 3">
            <a:extLst>
              <a:ext uri="{FF2B5EF4-FFF2-40B4-BE49-F238E27FC236}">
                <a16:creationId xmlns:a16="http://schemas.microsoft.com/office/drawing/2014/main" xmlns="" id="{8DC9E932-F357-44CA-A128-64F7BB93504C}"/>
              </a:ext>
            </a:extLst>
          </p:cNvPr>
          <p:cNvGraphicFramePr>
            <a:graphicFrameLocks noGrp="1"/>
          </p:cNvGraphicFramePr>
          <p:nvPr>
            <p:extLst>
              <p:ext uri="{D42A27DB-BD31-4B8C-83A1-F6EECF244321}">
                <p14:modId xmlns:p14="http://schemas.microsoft.com/office/powerpoint/2010/main" val="546358597"/>
              </p:ext>
            </p:extLst>
          </p:nvPr>
        </p:nvGraphicFramePr>
        <p:xfrm>
          <a:off x="933418" y="1180000"/>
          <a:ext cx="9662487" cy="5408388"/>
        </p:xfrm>
        <a:graphic>
          <a:graphicData uri="http://schemas.openxmlformats.org/drawingml/2006/table">
            <a:tbl>
              <a:tblPr firstRow="1" firstCol="1" bandRow="1">
                <a:tableStyleId>{5C22544A-7EE6-4342-B048-85BDC9FD1C3A}</a:tableStyleId>
              </a:tblPr>
              <a:tblGrid>
                <a:gridCol w="1592240">
                  <a:extLst>
                    <a:ext uri="{9D8B030D-6E8A-4147-A177-3AD203B41FA5}">
                      <a16:colId xmlns:a16="http://schemas.microsoft.com/office/drawing/2014/main" xmlns="" val="1079480404"/>
                    </a:ext>
                  </a:extLst>
                </a:gridCol>
                <a:gridCol w="8070247">
                  <a:extLst>
                    <a:ext uri="{9D8B030D-6E8A-4147-A177-3AD203B41FA5}">
                      <a16:colId xmlns:a16="http://schemas.microsoft.com/office/drawing/2014/main" xmlns="" val="4159100700"/>
                    </a:ext>
                  </a:extLst>
                </a:gridCol>
              </a:tblGrid>
              <a:tr h="472475">
                <a:tc>
                  <a:txBody>
                    <a:bodyPr/>
                    <a:lstStyle/>
                    <a:p>
                      <a:pPr>
                        <a:spcAft>
                          <a:spcPts val="0"/>
                        </a:spcAft>
                      </a:pPr>
                      <a:r>
                        <a:rPr lang="en-GB" sz="1300" kern="1200" dirty="0">
                          <a:solidFill>
                            <a:schemeClr val="bg1">
                              <a:lumMod val="10000"/>
                            </a:schemeClr>
                          </a:solidFill>
                          <a:latin typeface="Calibri" panose="020F0502020204030204" pitchFamily="34" charset="0"/>
                          <a:ea typeface="+mn-ea"/>
                          <a:cs typeface="Calibri" panose="020F0502020204030204" pitchFamily="34" charset="0"/>
                        </a:rPr>
                        <a:t>Teams</a:t>
                      </a:r>
                    </a:p>
                  </a:txBody>
                  <a:tcPr marL="68580" marR="68580" marT="9525" marB="9525" anchor="ctr"/>
                </a:tc>
                <a:tc>
                  <a:txBody>
                    <a:bodyPr/>
                    <a:lstStyle/>
                    <a:p>
                      <a:pPr>
                        <a:spcAft>
                          <a:spcPts val="0"/>
                        </a:spcAft>
                      </a:pPr>
                      <a:r>
                        <a:rPr lang="en-GB" sz="1300" b="1" kern="1200" dirty="0">
                          <a:solidFill>
                            <a:schemeClr val="bg1">
                              <a:lumMod val="10000"/>
                            </a:schemeClr>
                          </a:solidFill>
                          <a:latin typeface="Calibri" panose="020F0502020204030204" pitchFamily="34" charset="0"/>
                          <a:ea typeface="+mn-ea"/>
                          <a:cs typeface="Calibri" panose="020F0502020204030204" pitchFamily="34" charset="0"/>
                        </a:rPr>
                        <a:t>Support Required</a:t>
                      </a:r>
                    </a:p>
                  </a:txBody>
                  <a:tcPr marL="68580" marR="68580" marT="9525" marB="9525" anchor="ctr"/>
                </a:tc>
                <a:extLst>
                  <a:ext uri="{0D108BD9-81ED-4DB2-BD59-A6C34878D82A}">
                    <a16:rowId xmlns:a16="http://schemas.microsoft.com/office/drawing/2014/main" xmlns="" val="3314687986"/>
                  </a:ext>
                </a:extLst>
              </a:tr>
              <a:tr h="807804">
                <a:tc>
                  <a:txBody>
                    <a:bodyPr/>
                    <a:lstStyle/>
                    <a:p>
                      <a:pPr>
                        <a:spcAft>
                          <a:spcPts val="0"/>
                        </a:spcAft>
                      </a:pPr>
                      <a:r>
                        <a:rPr lang="en-GB" sz="1300" kern="1200" dirty="0">
                          <a:solidFill>
                            <a:schemeClr val="bg1">
                              <a:lumMod val="10000"/>
                            </a:schemeClr>
                          </a:solidFill>
                          <a:latin typeface="Calibri" panose="020F0502020204030204" pitchFamily="34" charset="0"/>
                          <a:ea typeface="+mn-ea"/>
                          <a:cs typeface="Calibri" panose="020F0502020204030204" pitchFamily="34" charset="0"/>
                        </a:rPr>
                        <a:t>Infrastructure</a:t>
                      </a:r>
                    </a:p>
                  </a:txBody>
                  <a:tcPr marL="68580" marR="68580" marT="9525" marB="9525" anchor="ctr"/>
                </a:tc>
                <a:tc>
                  <a:txBody>
                    <a:bodyPr/>
                    <a:lstStyle/>
                    <a:p>
                      <a:pPr marL="285750" lvl="0" indent="-285750" algn="l" defTabSz="914400" rtl="0" eaLnBrk="1" latinLnBrk="0" hangingPunct="1">
                        <a:spcAft>
                          <a:spcPts val="0"/>
                        </a:spcAft>
                        <a:buFont typeface="Wingdings" panose="05000000000000000000" pitchFamily="2" charset="2"/>
                        <a:buChar char="§"/>
                      </a:pPr>
                      <a:r>
                        <a:rPr lang="en-GB" sz="1300" kern="1200" dirty="0">
                          <a:solidFill>
                            <a:schemeClr val="bg1">
                              <a:lumMod val="10000"/>
                            </a:schemeClr>
                          </a:solidFill>
                          <a:latin typeface="Calibri" panose="020F0502020204030204" pitchFamily="34" charset="0"/>
                          <a:ea typeface="+mn-ea"/>
                          <a:cs typeface="Calibri" panose="020F0502020204030204" pitchFamily="34" charset="0"/>
                        </a:rPr>
                        <a:t>Enabling monitoring tools(Dynatrace, SCOM &amp; Oracle Enterprise Monitor) in test environment</a:t>
                      </a:r>
                    </a:p>
                    <a:p>
                      <a:pPr marL="285750" lvl="0" indent="-285750" algn="l" defTabSz="914400" rtl="0" eaLnBrk="1" latinLnBrk="0" hangingPunct="1">
                        <a:spcAft>
                          <a:spcPts val="0"/>
                        </a:spcAft>
                        <a:buFont typeface="Wingdings" panose="05000000000000000000" pitchFamily="2" charset="2"/>
                        <a:buChar char="§"/>
                      </a:pPr>
                      <a:r>
                        <a:rPr lang="en-GB" sz="1300" kern="1200" dirty="0">
                          <a:solidFill>
                            <a:schemeClr val="bg1">
                              <a:lumMod val="10000"/>
                            </a:schemeClr>
                          </a:solidFill>
                          <a:latin typeface="Calibri" panose="020F0502020204030204" pitchFamily="34" charset="0"/>
                          <a:ea typeface="+mn-ea"/>
                          <a:cs typeface="Calibri" panose="020F0502020204030204" pitchFamily="34" charset="0"/>
                        </a:rPr>
                        <a:t>Provide access to servers(App &amp; DB), monitoring tools in test environment</a:t>
                      </a:r>
                    </a:p>
                    <a:p>
                      <a:pPr marL="285750" lvl="0" indent="-285750" algn="l" defTabSz="914400" rtl="0" eaLnBrk="1" latinLnBrk="0" hangingPunct="1">
                        <a:spcAft>
                          <a:spcPts val="0"/>
                        </a:spcAft>
                        <a:buFont typeface="Wingdings" panose="05000000000000000000" pitchFamily="2" charset="2"/>
                        <a:buChar char="§"/>
                      </a:pPr>
                      <a:r>
                        <a:rPr lang="en-GB" sz="1300" kern="1200" dirty="0">
                          <a:solidFill>
                            <a:schemeClr val="bg1">
                              <a:lumMod val="10000"/>
                            </a:schemeClr>
                          </a:solidFill>
                          <a:latin typeface="Calibri" panose="020F0502020204030204" pitchFamily="34" charset="0"/>
                          <a:ea typeface="+mn-ea"/>
                          <a:cs typeface="Calibri" panose="020F0502020204030204" pitchFamily="34" charset="0"/>
                        </a:rPr>
                        <a:t>Provide technical details/sizing of test and production environment</a:t>
                      </a:r>
                    </a:p>
                  </a:txBody>
                  <a:tcPr marL="68580" marR="68580" marT="9525" marB="9525" anchor="ctr"/>
                </a:tc>
                <a:extLst>
                  <a:ext uri="{0D108BD9-81ED-4DB2-BD59-A6C34878D82A}">
                    <a16:rowId xmlns:a16="http://schemas.microsoft.com/office/drawing/2014/main" xmlns="" val="2829015268"/>
                  </a:ext>
                </a:extLst>
              </a:tr>
              <a:tr h="473774">
                <a:tc>
                  <a:txBody>
                    <a:bodyPr/>
                    <a:lstStyle/>
                    <a:p>
                      <a:pPr>
                        <a:spcAft>
                          <a:spcPts val="0"/>
                        </a:spcAft>
                      </a:pPr>
                      <a:r>
                        <a:rPr lang="en-US" sz="1300" kern="1200" dirty="0">
                          <a:solidFill>
                            <a:schemeClr val="bg1">
                              <a:lumMod val="10000"/>
                            </a:schemeClr>
                          </a:solidFill>
                          <a:latin typeface="Calibri" panose="020F0502020204030204" pitchFamily="34" charset="0"/>
                          <a:ea typeface="+mn-ea"/>
                          <a:cs typeface="Calibri" panose="020F0502020204030204" pitchFamily="34" charset="0"/>
                        </a:rPr>
                        <a:t>ITCC &amp; Staging Team</a:t>
                      </a:r>
                      <a:endParaRPr lang="en-GB" sz="1300" kern="1200" dirty="0">
                        <a:solidFill>
                          <a:schemeClr val="bg1">
                            <a:lumMod val="10000"/>
                          </a:schemeClr>
                        </a:solidFill>
                        <a:latin typeface="Calibri" panose="020F0502020204030204" pitchFamily="34" charset="0"/>
                        <a:ea typeface="+mn-ea"/>
                        <a:cs typeface="Calibri" panose="020F0502020204030204" pitchFamily="34" charset="0"/>
                      </a:endParaRPr>
                    </a:p>
                  </a:txBody>
                  <a:tcPr marL="68580" marR="68580" marT="9525" marB="9525" anchor="ctr"/>
                </a:tc>
                <a:tc>
                  <a:txBody>
                    <a:bodyPr/>
                    <a:lstStyle/>
                    <a:p>
                      <a:pPr marL="285750" lvl="0" indent="-285750" algn="l" defTabSz="914400" rtl="0" eaLnBrk="1" latinLnBrk="0" hangingPunct="1">
                        <a:spcAft>
                          <a:spcPts val="0"/>
                        </a:spcAft>
                        <a:buFont typeface="Wingdings" panose="05000000000000000000" pitchFamily="2" charset="2"/>
                        <a:buChar char="§"/>
                      </a:pPr>
                      <a:r>
                        <a:rPr lang="en-US" sz="1300" kern="1200" dirty="0">
                          <a:solidFill>
                            <a:schemeClr val="bg1">
                              <a:lumMod val="10000"/>
                            </a:schemeClr>
                          </a:solidFill>
                          <a:latin typeface="Calibri" panose="020F0502020204030204" pitchFamily="34" charset="0"/>
                          <a:ea typeface="+mn-ea"/>
                          <a:cs typeface="Calibri" panose="020F0502020204030204" pitchFamily="34" charset="0"/>
                        </a:rPr>
                        <a:t>Provide customer usage data(User base, User logins, transaction volume, etc..) from production to analyze trend</a:t>
                      </a:r>
                      <a:endParaRPr lang="en-GB" sz="1300" kern="1200" dirty="0">
                        <a:solidFill>
                          <a:schemeClr val="bg1">
                            <a:lumMod val="10000"/>
                          </a:schemeClr>
                        </a:solidFill>
                        <a:latin typeface="Calibri" panose="020F0502020204030204" pitchFamily="34" charset="0"/>
                        <a:ea typeface="+mn-ea"/>
                        <a:cs typeface="Calibri" panose="020F0502020204030204" pitchFamily="34" charset="0"/>
                      </a:endParaRPr>
                    </a:p>
                  </a:txBody>
                  <a:tcPr marL="68580" marR="68580" marT="9525" marB="9525" anchor="ctr"/>
                </a:tc>
                <a:extLst>
                  <a:ext uri="{0D108BD9-81ED-4DB2-BD59-A6C34878D82A}">
                    <a16:rowId xmlns:a16="http://schemas.microsoft.com/office/drawing/2014/main" xmlns="" val="482975779"/>
                  </a:ext>
                </a:extLst>
              </a:tr>
              <a:tr h="1346704">
                <a:tc>
                  <a:txBody>
                    <a:bodyPr/>
                    <a:lstStyle/>
                    <a:p>
                      <a:pPr>
                        <a:spcAft>
                          <a:spcPts val="0"/>
                        </a:spcAft>
                      </a:pPr>
                      <a:r>
                        <a:rPr lang="en-GB" sz="1300" kern="1200" dirty="0">
                          <a:solidFill>
                            <a:schemeClr val="bg1">
                              <a:lumMod val="10000"/>
                            </a:schemeClr>
                          </a:solidFill>
                          <a:latin typeface="Calibri" panose="020F0502020204030204" pitchFamily="34" charset="0"/>
                          <a:ea typeface="+mn-ea"/>
                          <a:cs typeface="Calibri" panose="020F0502020204030204" pitchFamily="34" charset="0"/>
                        </a:rPr>
                        <a:t>Application (Kony/VBL)</a:t>
                      </a:r>
                    </a:p>
                  </a:txBody>
                  <a:tcPr marL="68580" marR="68580" marT="9525" marB="9525" anchor="ctr"/>
                </a:tc>
                <a:tc>
                  <a:txBody>
                    <a:bodyPr/>
                    <a:lstStyle/>
                    <a:p>
                      <a:pPr marL="285750" lvl="0" indent="-285750" algn="l" defTabSz="914400" rtl="0" eaLnBrk="1" latinLnBrk="0" hangingPunct="1">
                        <a:spcAft>
                          <a:spcPts val="0"/>
                        </a:spcAft>
                        <a:buFont typeface="Wingdings" panose="05000000000000000000" pitchFamily="2" charset="2"/>
                        <a:buChar char="§"/>
                      </a:pPr>
                      <a:r>
                        <a:rPr lang="en-GB" sz="1300" kern="1200" dirty="0">
                          <a:solidFill>
                            <a:schemeClr val="bg1">
                              <a:lumMod val="10000"/>
                            </a:schemeClr>
                          </a:solidFill>
                          <a:latin typeface="Calibri" panose="020F0502020204030204" pitchFamily="34" charset="0"/>
                          <a:ea typeface="+mn-ea"/>
                          <a:cs typeface="Calibri" panose="020F0502020204030204" pitchFamily="34" charset="0"/>
                        </a:rPr>
                        <a:t>Application readiness in test environment</a:t>
                      </a:r>
                    </a:p>
                    <a:p>
                      <a:pPr marL="285750" lvl="0" indent="-285750" algn="l" defTabSz="914400" rtl="0" eaLnBrk="1" latinLnBrk="0" hangingPunct="1">
                        <a:spcAft>
                          <a:spcPts val="0"/>
                        </a:spcAft>
                        <a:buFont typeface="Wingdings" panose="05000000000000000000" pitchFamily="2" charset="2"/>
                        <a:buChar char="§"/>
                      </a:pPr>
                      <a:r>
                        <a:rPr lang="en-GB" sz="1300" kern="1200" dirty="0">
                          <a:solidFill>
                            <a:schemeClr val="bg1">
                              <a:lumMod val="10000"/>
                            </a:schemeClr>
                          </a:solidFill>
                          <a:latin typeface="Calibri" panose="020F0502020204030204" pitchFamily="34" charset="0"/>
                          <a:ea typeface="+mn-ea"/>
                          <a:cs typeface="Calibri" panose="020F0502020204030204" pitchFamily="34" charset="0"/>
                        </a:rPr>
                        <a:t>Providing mobile application build to install in emulator </a:t>
                      </a:r>
                    </a:p>
                    <a:p>
                      <a:pPr marL="285750" lvl="0" indent="-285750" algn="l" defTabSz="914400" rtl="0" eaLnBrk="1" latinLnBrk="0" hangingPunct="1">
                        <a:spcAft>
                          <a:spcPts val="0"/>
                        </a:spcAft>
                        <a:buFont typeface="Wingdings" panose="05000000000000000000" pitchFamily="2" charset="2"/>
                        <a:buChar char="§"/>
                      </a:pPr>
                      <a:r>
                        <a:rPr lang="en-GB" sz="1300" kern="1200" dirty="0">
                          <a:solidFill>
                            <a:schemeClr val="bg1">
                              <a:lumMod val="10000"/>
                            </a:schemeClr>
                          </a:solidFill>
                          <a:latin typeface="Calibri" panose="020F0502020204030204" pitchFamily="34" charset="0"/>
                          <a:ea typeface="+mn-ea"/>
                          <a:cs typeface="Calibri" panose="020F0502020204030204" pitchFamily="34" charset="0"/>
                        </a:rPr>
                        <a:t>Disabling OTP/Encryption in there are any</a:t>
                      </a:r>
                    </a:p>
                    <a:p>
                      <a:pPr marL="285750" lvl="0" indent="-285750" algn="l" defTabSz="914400" rtl="0" eaLnBrk="1" latinLnBrk="0" hangingPunct="1">
                        <a:spcAft>
                          <a:spcPts val="0"/>
                        </a:spcAft>
                        <a:buFont typeface="Wingdings" panose="05000000000000000000" pitchFamily="2" charset="2"/>
                        <a:buChar char="§"/>
                      </a:pPr>
                      <a:r>
                        <a:rPr lang="en-GB" sz="1300" kern="1200" dirty="0">
                          <a:solidFill>
                            <a:schemeClr val="bg1">
                              <a:lumMod val="10000"/>
                            </a:schemeClr>
                          </a:solidFill>
                          <a:latin typeface="Calibri" panose="020F0502020204030204" pitchFamily="34" charset="0"/>
                          <a:ea typeface="+mn-ea"/>
                          <a:cs typeface="Calibri" panose="020F0502020204030204" pitchFamily="34" charset="0"/>
                        </a:rPr>
                        <a:t>Support in providing required test data</a:t>
                      </a:r>
                    </a:p>
                    <a:p>
                      <a:pPr marL="285750" lvl="0" indent="-285750" algn="l" defTabSz="914400" rtl="0" eaLnBrk="1" latinLnBrk="0" hangingPunct="1">
                        <a:spcAft>
                          <a:spcPts val="0"/>
                        </a:spcAft>
                        <a:buFont typeface="Wingdings" panose="05000000000000000000" pitchFamily="2" charset="2"/>
                        <a:buChar char="§"/>
                      </a:pPr>
                      <a:r>
                        <a:rPr lang="en-GB" sz="1300" kern="1200" dirty="0">
                          <a:solidFill>
                            <a:schemeClr val="bg1">
                              <a:lumMod val="10000"/>
                            </a:schemeClr>
                          </a:solidFill>
                          <a:latin typeface="Calibri" panose="020F0502020204030204" pitchFamily="34" charset="0"/>
                          <a:ea typeface="+mn-ea"/>
                          <a:cs typeface="Calibri" panose="020F0502020204030204" pitchFamily="34" charset="0"/>
                        </a:rPr>
                        <a:t>Pre &amp; post execution support in terms of application setup, logs, etc.</a:t>
                      </a:r>
                    </a:p>
                    <a:p>
                      <a:pPr marL="285750" lvl="0" indent="-285750" algn="l" defTabSz="914400" rtl="0" eaLnBrk="1" latinLnBrk="0" hangingPunct="1">
                        <a:spcAft>
                          <a:spcPts val="0"/>
                        </a:spcAft>
                        <a:buFont typeface="Wingdings" panose="05000000000000000000" pitchFamily="2" charset="2"/>
                        <a:buChar char="§"/>
                      </a:pPr>
                      <a:r>
                        <a:rPr lang="en-GB" sz="1300" kern="1200" dirty="0">
                          <a:solidFill>
                            <a:schemeClr val="bg1">
                              <a:lumMod val="10000"/>
                            </a:schemeClr>
                          </a:solidFill>
                          <a:latin typeface="Calibri" panose="020F0502020204030204" pitchFamily="34" charset="0"/>
                          <a:ea typeface="+mn-ea"/>
                          <a:cs typeface="Calibri" panose="020F0502020204030204" pitchFamily="34" charset="0"/>
                        </a:rPr>
                        <a:t>Performance Tuning/Defect fixes if any in case of critical/showstopper issue </a:t>
                      </a:r>
                    </a:p>
                  </a:txBody>
                  <a:tcPr marL="68580" marR="68580" marT="9525" marB="9525" anchor="ctr"/>
                </a:tc>
                <a:extLst>
                  <a:ext uri="{0D108BD9-81ED-4DB2-BD59-A6C34878D82A}">
                    <a16:rowId xmlns:a16="http://schemas.microsoft.com/office/drawing/2014/main" xmlns="" val="98280299"/>
                  </a:ext>
                </a:extLst>
              </a:tr>
              <a:tr h="401223">
                <a:tc>
                  <a:txBody>
                    <a:bodyPr/>
                    <a:lstStyle/>
                    <a:p>
                      <a:pPr>
                        <a:spcAft>
                          <a:spcPts val="0"/>
                        </a:spcAft>
                      </a:pPr>
                      <a:r>
                        <a:rPr lang="en-GB" sz="1300" kern="1200">
                          <a:solidFill>
                            <a:schemeClr val="bg1">
                              <a:lumMod val="10000"/>
                            </a:schemeClr>
                          </a:solidFill>
                          <a:latin typeface="Calibri" panose="020F0502020204030204" pitchFamily="34" charset="0"/>
                          <a:ea typeface="+mn-ea"/>
                          <a:cs typeface="Calibri" panose="020F0502020204030204" pitchFamily="34" charset="0"/>
                        </a:rPr>
                        <a:t>SI &amp; B2B</a:t>
                      </a:r>
                    </a:p>
                  </a:txBody>
                  <a:tcPr marL="68580" marR="68580" marT="9525" marB="9525" anchor="ctr"/>
                </a:tc>
                <a:tc>
                  <a:txBody>
                    <a:bodyPr/>
                    <a:lstStyle/>
                    <a:p>
                      <a:pPr marL="285750" lvl="0" indent="-285750" algn="l" defTabSz="914400" rtl="0" eaLnBrk="1" latinLnBrk="0" hangingPunct="1">
                        <a:spcAft>
                          <a:spcPts val="0"/>
                        </a:spcAft>
                        <a:buFont typeface="Wingdings" panose="05000000000000000000" pitchFamily="2" charset="2"/>
                        <a:buChar char="§"/>
                      </a:pPr>
                      <a:r>
                        <a:rPr lang="en-US" sz="1300" kern="1200" dirty="0">
                          <a:solidFill>
                            <a:schemeClr val="bg1">
                              <a:lumMod val="10000"/>
                            </a:schemeClr>
                          </a:solidFill>
                          <a:latin typeface="Calibri" panose="020F0502020204030204" pitchFamily="34" charset="0"/>
                          <a:ea typeface="+mn-ea"/>
                          <a:cs typeface="Calibri" panose="020F0502020204030204" pitchFamily="34" charset="0"/>
                        </a:rPr>
                        <a:t>Stub configuration for external systems/gateways if required</a:t>
                      </a:r>
                    </a:p>
                    <a:p>
                      <a:pPr marL="285750" lvl="0" indent="-285750" algn="l" defTabSz="914400" rtl="0" eaLnBrk="1" latinLnBrk="0" hangingPunct="1">
                        <a:spcAft>
                          <a:spcPts val="0"/>
                        </a:spcAft>
                        <a:buFont typeface="Wingdings" panose="05000000000000000000" pitchFamily="2" charset="2"/>
                        <a:buChar char="§"/>
                      </a:pPr>
                      <a:r>
                        <a:rPr lang="en-GB" sz="1300" kern="1200" dirty="0">
                          <a:solidFill>
                            <a:schemeClr val="bg1">
                              <a:lumMod val="10000"/>
                            </a:schemeClr>
                          </a:solidFill>
                          <a:latin typeface="Calibri" panose="020F0502020204030204" pitchFamily="34" charset="0"/>
                          <a:ea typeface="+mn-ea"/>
                          <a:cs typeface="Calibri" panose="020F0502020204030204" pitchFamily="34" charset="0"/>
                        </a:rPr>
                        <a:t>Pre &amp; post execution support in terms of application setup, logs if required</a:t>
                      </a:r>
                    </a:p>
                  </a:txBody>
                  <a:tcPr marL="68580" marR="68580" marT="9525" marB="9525" anchor="ctr"/>
                </a:tc>
                <a:extLst>
                  <a:ext uri="{0D108BD9-81ED-4DB2-BD59-A6C34878D82A}">
                    <a16:rowId xmlns:a16="http://schemas.microsoft.com/office/drawing/2014/main" xmlns="" val="1647124392"/>
                  </a:ext>
                </a:extLst>
              </a:tr>
              <a:tr h="819827">
                <a:tc>
                  <a:txBody>
                    <a:bodyPr/>
                    <a:lstStyle/>
                    <a:p>
                      <a:pPr>
                        <a:spcAft>
                          <a:spcPts val="0"/>
                        </a:spcAft>
                      </a:pPr>
                      <a:r>
                        <a:rPr lang="en-GB" sz="1300" kern="1200">
                          <a:solidFill>
                            <a:schemeClr val="bg1">
                              <a:lumMod val="10000"/>
                            </a:schemeClr>
                          </a:solidFill>
                          <a:latin typeface="Calibri" panose="020F0502020204030204" pitchFamily="34" charset="0"/>
                          <a:ea typeface="+mn-ea"/>
                          <a:cs typeface="Calibri" panose="020F0502020204030204" pitchFamily="34" charset="0"/>
                        </a:rPr>
                        <a:t>UBS</a:t>
                      </a:r>
                    </a:p>
                  </a:txBody>
                  <a:tcPr marL="68580" marR="68580" marT="9525" marB="9525" anchor="ctr"/>
                </a:tc>
                <a:tc>
                  <a:txBody>
                    <a:bodyPr/>
                    <a:lstStyle/>
                    <a:p>
                      <a:pPr marL="285750" lvl="0" indent="-285750" algn="l" defTabSz="914400" rtl="0" eaLnBrk="1" latinLnBrk="0" hangingPunct="1">
                        <a:spcAft>
                          <a:spcPts val="0"/>
                        </a:spcAft>
                        <a:buFont typeface="Wingdings" panose="05000000000000000000" pitchFamily="2" charset="2"/>
                        <a:buChar char="§"/>
                      </a:pPr>
                      <a:r>
                        <a:rPr lang="en-GB" sz="1300" kern="1200" dirty="0">
                          <a:solidFill>
                            <a:schemeClr val="bg1">
                              <a:lumMod val="10000"/>
                            </a:schemeClr>
                          </a:solidFill>
                          <a:latin typeface="Calibri" panose="020F0502020204030204" pitchFamily="34" charset="0"/>
                          <a:ea typeface="+mn-ea"/>
                          <a:cs typeface="Calibri" panose="020F0502020204030204" pitchFamily="34" charset="0"/>
                        </a:rPr>
                        <a:t>Provide valid required test data(CIF’s, active account numbers with sufficient balance)</a:t>
                      </a:r>
                    </a:p>
                    <a:p>
                      <a:pPr marL="285750" lvl="0" indent="-285750" algn="l" defTabSz="914400" rtl="0" eaLnBrk="1" latinLnBrk="0" hangingPunct="1">
                        <a:spcAft>
                          <a:spcPts val="0"/>
                        </a:spcAft>
                        <a:buFont typeface="Wingdings" panose="05000000000000000000" pitchFamily="2" charset="2"/>
                        <a:buChar char="§"/>
                      </a:pPr>
                      <a:r>
                        <a:rPr lang="en-GB" sz="1300" kern="1200" dirty="0">
                          <a:solidFill>
                            <a:schemeClr val="bg1">
                              <a:lumMod val="10000"/>
                            </a:schemeClr>
                          </a:solidFill>
                          <a:latin typeface="Calibri" panose="020F0502020204030204" pitchFamily="34" charset="0"/>
                          <a:ea typeface="+mn-ea"/>
                          <a:cs typeface="Calibri" panose="020F0502020204030204" pitchFamily="34" charset="0"/>
                        </a:rPr>
                        <a:t>Provide application logs post execution if required</a:t>
                      </a:r>
                    </a:p>
                  </a:txBody>
                  <a:tcPr marL="68580" marR="68580" marT="9525" marB="9525" anchor="ctr"/>
                </a:tc>
                <a:extLst>
                  <a:ext uri="{0D108BD9-81ED-4DB2-BD59-A6C34878D82A}">
                    <a16:rowId xmlns:a16="http://schemas.microsoft.com/office/drawing/2014/main" xmlns="" val="2257655160"/>
                  </a:ext>
                </a:extLst>
              </a:tr>
              <a:tr h="459104">
                <a:tc>
                  <a:txBody>
                    <a:bodyPr/>
                    <a:lstStyle/>
                    <a:p>
                      <a:pPr>
                        <a:spcAft>
                          <a:spcPts val="0"/>
                        </a:spcAft>
                      </a:pPr>
                      <a:r>
                        <a:rPr lang="en-GB" sz="1300" kern="1200" dirty="0">
                          <a:solidFill>
                            <a:schemeClr val="bg1">
                              <a:lumMod val="10000"/>
                            </a:schemeClr>
                          </a:solidFill>
                          <a:latin typeface="Calibri" panose="020F0502020204030204" pitchFamily="34" charset="0"/>
                          <a:ea typeface="+mn-ea"/>
                          <a:cs typeface="Calibri" panose="020F0502020204030204" pitchFamily="34" charset="0"/>
                        </a:rPr>
                        <a:t>Datacentre</a:t>
                      </a:r>
                    </a:p>
                  </a:txBody>
                  <a:tcPr marL="68580" marR="68580" marT="9525" marB="9525" anchor="ctr"/>
                </a:tc>
                <a:tc>
                  <a:txBody>
                    <a:bodyPr/>
                    <a:lstStyle/>
                    <a:p>
                      <a:pPr marL="285750" lvl="0" indent="-285750" algn="l" defTabSz="914400" rtl="0" eaLnBrk="1" latinLnBrk="0" hangingPunct="1">
                        <a:spcAft>
                          <a:spcPts val="0"/>
                        </a:spcAft>
                        <a:buFont typeface="Wingdings" panose="05000000000000000000" pitchFamily="2" charset="2"/>
                        <a:buChar char="§"/>
                      </a:pPr>
                      <a:r>
                        <a:rPr lang="en-GB" sz="1300" kern="1200" dirty="0">
                          <a:solidFill>
                            <a:schemeClr val="bg1">
                              <a:lumMod val="10000"/>
                            </a:schemeClr>
                          </a:solidFill>
                          <a:latin typeface="Calibri" panose="020F0502020204030204" pitchFamily="34" charset="0"/>
                          <a:ea typeface="+mn-ea"/>
                          <a:cs typeface="Calibri" panose="020F0502020204030204" pitchFamily="34" charset="0"/>
                        </a:rPr>
                        <a:t>Execute EOD jobs and provide jobs elapse / logs for analysis if any</a:t>
                      </a:r>
                    </a:p>
                  </a:txBody>
                  <a:tcPr marL="68580" marR="68580" marT="9525" marB="9525" anchor="ctr"/>
                </a:tc>
                <a:extLst>
                  <a:ext uri="{0D108BD9-81ED-4DB2-BD59-A6C34878D82A}">
                    <a16:rowId xmlns:a16="http://schemas.microsoft.com/office/drawing/2014/main" xmlns="" val="3735880260"/>
                  </a:ext>
                </a:extLst>
              </a:tr>
              <a:tr h="592632">
                <a:tc>
                  <a:txBody>
                    <a:bodyPr/>
                    <a:lstStyle/>
                    <a:p>
                      <a:pPr>
                        <a:spcAft>
                          <a:spcPts val="0"/>
                        </a:spcAft>
                      </a:pPr>
                      <a:r>
                        <a:rPr lang="en-US" sz="1300" kern="1200" dirty="0">
                          <a:solidFill>
                            <a:schemeClr val="bg1">
                              <a:lumMod val="10000"/>
                            </a:schemeClr>
                          </a:solidFill>
                          <a:latin typeface="Calibri" panose="020F0502020204030204" pitchFamily="34" charset="0"/>
                          <a:ea typeface="+mn-ea"/>
                          <a:cs typeface="Calibri" panose="020F0502020204030204" pitchFamily="34" charset="0"/>
                        </a:rPr>
                        <a:t>Functional Team</a:t>
                      </a:r>
                      <a:endParaRPr lang="en-GB" sz="1300" kern="1200" dirty="0">
                        <a:solidFill>
                          <a:schemeClr val="bg1">
                            <a:lumMod val="10000"/>
                          </a:schemeClr>
                        </a:solidFill>
                        <a:latin typeface="Calibri" panose="020F0502020204030204" pitchFamily="34" charset="0"/>
                        <a:ea typeface="+mn-ea"/>
                        <a:cs typeface="Calibri" panose="020F0502020204030204" pitchFamily="34" charset="0"/>
                      </a:endParaRPr>
                    </a:p>
                  </a:txBody>
                  <a:tcPr marL="68580" marR="68580" marT="9525" marB="9525" anchor="ctr"/>
                </a:tc>
                <a:tc>
                  <a:txBody>
                    <a:bodyPr/>
                    <a:lstStyle/>
                    <a:p>
                      <a:pPr marL="285750" lvl="0" indent="-285750" algn="l" defTabSz="914400" rtl="0" eaLnBrk="1" latinLnBrk="0" hangingPunct="1">
                        <a:spcAft>
                          <a:spcPts val="0"/>
                        </a:spcAft>
                        <a:buFont typeface="Wingdings" panose="05000000000000000000" pitchFamily="2" charset="2"/>
                        <a:buChar char="§"/>
                      </a:pPr>
                      <a:r>
                        <a:rPr lang="en-US" sz="1300" kern="1200" dirty="0">
                          <a:solidFill>
                            <a:schemeClr val="bg1">
                              <a:lumMod val="10000"/>
                            </a:schemeClr>
                          </a:solidFill>
                          <a:latin typeface="Calibri" panose="020F0502020204030204" pitchFamily="34" charset="0"/>
                          <a:ea typeface="+mn-ea"/>
                          <a:cs typeface="Calibri" panose="020F0502020204030204" pitchFamily="34" charset="0"/>
                        </a:rPr>
                        <a:t>Application walkthrough</a:t>
                      </a:r>
                    </a:p>
                    <a:p>
                      <a:pPr marL="285750" lvl="0" indent="-285750" algn="l" defTabSz="914400" rtl="0" eaLnBrk="1" latinLnBrk="0" hangingPunct="1">
                        <a:spcAft>
                          <a:spcPts val="0"/>
                        </a:spcAft>
                        <a:buFont typeface="Wingdings" panose="05000000000000000000" pitchFamily="2" charset="2"/>
                        <a:buChar char="§"/>
                      </a:pPr>
                      <a:r>
                        <a:rPr lang="en-US" sz="1300" kern="1200" dirty="0">
                          <a:solidFill>
                            <a:schemeClr val="bg1">
                              <a:lumMod val="10000"/>
                            </a:schemeClr>
                          </a:solidFill>
                          <a:latin typeface="Calibri" panose="020F0502020204030204" pitchFamily="34" charset="0"/>
                          <a:ea typeface="+mn-ea"/>
                          <a:cs typeface="Calibri" panose="020F0502020204030204" pitchFamily="34" charset="0"/>
                        </a:rPr>
                        <a:t>Functional support if required</a:t>
                      </a:r>
                    </a:p>
                    <a:p>
                      <a:pPr marL="285750" lvl="0" indent="-285750" algn="l" defTabSz="914400" rtl="0" eaLnBrk="1" latinLnBrk="0" hangingPunct="1">
                        <a:spcAft>
                          <a:spcPts val="0"/>
                        </a:spcAft>
                        <a:buFont typeface="Wingdings" panose="05000000000000000000" pitchFamily="2" charset="2"/>
                        <a:buChar char="§"/>
                      </a:pPr>
                      <a:endParaRPr lang="en-GB" sz="1300" kern="1200" dirty="0">
                        <a:solidFill>
                          <a:schemeClr val="bg1">
                            <a:lumMod val="10000"/>
                          </a:schemeClr>
                        </a:solidFill>
                        <a:latin typeface="Calibri" panose="020F0502020204030204" pitchFamily="34" charset="0"/>
                        <a:ea typeface="+mn-ea"/>
                        <a:cs typeface="Calibri" panose="020F0502020204030204" pitchFamily="34" charset="0"/>
                      </a:endParaRPr>
                    </a:p>
                  </a:txBody>
                  <a:tcPr marL="68580" marR="68580" marT="9525" marB="9525" anchor="ctr"/>
                </a:tc>
                <a:extLst>
                  <a:ext uri="{0D108BD9-81ED-4DB2-BD59-A6C34878D82A}">
                    <a16:rowId xmlns:a16="http://schemas.microsoft.com/office/drawing/2014/main" xmlns="" val="1510117112"/>
                  </a:ext>
                </a:extLst>
              </a:tr>
            </a:tbl>
          </a:graphicData>
        </a:graphic>
      </p:graphicFrame>
    </p:spTree>
    <p:extLst>
      <p:ext uri="{BB962C8B-B14F-4D97-AF65-F5344CB8AC3E}">
        <p14:creationId xmlns:p14="http://schemas.microsoft.com/office/powerpoint/2010/main" val="39746506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0B71A488-B4C5-42D1-85DE-1E48A5CB49DF}"/>
              </a:ext>
            </a:extLst>
          </p:cNvPr>
          <p:cNvSpPr>
            <a:spLocks noGrp="1"/>
          </p:cNvSpPr>
          <p:nvPr>
            <p:ph type="body" sz="quarter" idx="12"/>
          </p:nvPr>
        </p:nvSpPr>
        <p:spPr/>
        <p:txBody>
          <a:bodyPr/>
          <a:lstStyle/>
          <a:p>
            <a:r>
              <a:rPr lang="en-IN" dirty="0"/>
              <a:t>Challenges &amp; Assumptions</a:t>
            </a:r>
            <a:endParaRPr lang="en-GB" dirty="0"/>
          </a:p>
        </p:txBody>
      </p:sp>
      <p:sp>
        <p:nvSpPr>
          <p:cNvPr id="33" name="Rectangle 32">
            <a:extLst>
              <a:ext uri="{FF2B5EF4-FFF2-40B4-BE49-F238E27FC236}">
                <a16:creationId xmlns:a16="http://schemas.microsoft.com/office/drawing/2014/main" xmlns="" id="{C5A3A4D7-ECCE-4512-B501-B8B1722858E6}"/>
              </a:ext>
            </a:extLst>
          </p:cNvPr>
          <p:cNvSpPr/>
          <p:nvPr/>
        </p:nvSpPr>
        <p:spPr>
          <a:xfrm>
            <a:off x="1001485" y="1207884"/>
            <a:ext cx="9670232" cy="2793072"/>
          </a:xfrm>
          <a:prstGeom prst="rect">
            <a:avLst/>
          </a:prstGeom>
        </p:spPr>
        <p:txBody>
          <a:bodyPr wrap="square">
            <a:spAutoFit/>
          </a:bodyPr>
          <a:lstStyle/>
          <a:p>
            <a:pPr marL="203200" lvl="1" indent="-203200" defTabSz="342900" fontAlgn="base">
              <a:lnSpc>
                <a:spcPct val="150000"/>
              </a:lnSpc>
              <a:spcAft>
                <a:spcPct val="0"/>
              </a:spcAft>
              <a:buSzPct val="120000"/>
              <a:buFont typeface="Wingdings" panose="05000000000000000000" pitchFamily="2" charset="2"/>
              <a:buChar char="§"/>
              <a:tabLst>
                <a:tab pos="188913" algn="l"/>
              </a:tabLst>
              <a:defRPr/>
            </a:pPr>
            <a:r>
              <a:rPr lang="en-US" sz="1300" dirty="0">
                <a:solidFill>
                  <a:schemeClr val="bg1">
                    <a:lumMod val="10000"/>
                  </a:schemeClr>
                </a:solidFill>
                <a:latin typeface="Calibri"/>
                <a:cs typeface="Times New Roman" panose="02020603050405020304" pitchFamily="18" charset="0"/>
              </a:rPr>
              <a:t>Performance Testing of Kony platform and ATM were not performed earlier</a:t>
            </a:r>
          </a:p>
          <a:p>
            <a:pPr marL="203200" lvl="1" indent="-203200" defTabSz="342900" fontAlgn="base">
              <a:lnSpc>
                <a:spcPct val="150000"/>
              </a:lnSpc>
              <a:spcAft>
                <a:spcPct val="0"/>
              </a:spcAft>
              <a:buSzPct val="120000"/>
              <a:buFont typeface="Wingdings" panose="05000000000000000000" pitchFamily="2" charset="2"/>
              <a:buChar char="§"/>
              <a:tabLst>
                <a:tab pos="188913" algn="l"/>
              </a:tabLst>
              <a:defRPr/>
            </a:pPr>
            <a:r>
              <a:rPr lang="en-US" sz="1300" dirty="0">
                <a:solidFill>
                  <a:schemeClr val="bg1">
                    <a:lumMod val="10000"/>
                  </a:schemeClr>
                </a:solidFill>
                <a:latin typeface="Calibri"/>
                <a:cs typeface="Times New Roman" panose="02020603050405020304" pitchFamily="18" charset="0"/>
              </a:rPr>
              <a:t>Production similar environment is required to conduct benchmarking activity</a:t>
            </a:r>
          </a:p>
          <a:p>
            <a:pPr marL="203200" lvl="1" indent="-203200" defTabSz="342900" fontAlgn="base">
              <a:lnSpc>
                <a:spcPct val="150000"/>
              </a:lnSpc>
              <a:spcAft>
                <a:spcPct val="0"/>
              </a:spcAft>
              <a:buSzPct val="120000"/>
              <a:buFont typeface="Wingdings" panose="05000000000000000000" pitchFamily="2" charset="2"/>
              <a:buChar char="§"/>
              <a:tabLst>
                <a:tab pos="188913" algn="l"/>
              </a:tabLst>
              <a:defRPr/>
            </a:pPr>
            <a:r>
              <a:rPr lang="en-US" sz="1300" dirty="0">
                <a:solidFill>
                  <a:schemeClr val="bg1">
                    <a:lumMod val="10000"/>
                  </a:schemeClr>
                </a:solidFill>
                <a:latin typeface="Calibri"/>
                <a:cs typeface="Times New Roman" panose="02020603050405020304" pitchFamily="18" charset="0"/>
              </a:rPr>
              <a:t>In case of any show stopper defects(Infra/App due to performance ) in between the execution, load and volume achieved till that point will be considered as break point.</a:t>
            </a:r>
          </a:p>
          <a:p>
            <a:pPr marL="203200" lvl="1" indent="-203200" defTabSz="342900" fontAlgn="base">
              <a:lnSpc>
                <a:spcPct val="150000"/>
              </a:lnSpc>
              <a:spcAft>
                <a:spcPct val="0"/>
              </a:spcAft>
              <a:buSzPct val="120000"/>
              <a:buFont typeface="Wingdings" panose="05000000000000000000" pitchFamily="2" charset="2"/>
              <a:buChar char="§"/>
              <a:tabLst>
                <a:tab pos="188913" algn="l"/>
              </a:tabLst>
              <a:defRPr/>
            </a:pPr>
            <a:r>
              <a:rPr lang="en-US" sz="1300" dirty="0">
                <a:solidFill>
                  <a:schemeClr val="bg1">
                    <a:lumMod val="10000"/>
                  </a:schemeClr>
                </a:solidFill>
                <a:latin typeface="Calibri"/>
                <a:cs typeface="Times New Roman" panose="02020603050405020304" pitchFamily="18" charset="0"/>
              </a:rPr>
              <a:t>Performance benchmarking exercise will encounter challenge if any critical/showstopper performance defects are identified during execution phase</a:t>
            </a:r>
          </a:p>
          <a:p>
            <a:pPr marL="203200" lvl="1" indent="-203200" defTabSz="342900" fontAlgn="base">
              <a:lnSpc>
                <a:spcPct val="150000"/>
              </a:lnSpc>
              <a:spcAft>
                <a:spcPct val="0"/>
              </a:spcAft>
              <a:buSzPct val="120000"/>
              <a:buFont typeface="Wingdings" panose="05000000000000000000" pitchFamily="2" charset="2"/>
              <a:buChar char="§"/>
              <a:tabLst>
                <a:tab pos="188913" algn="l"/>
              </a:tabLst>
              <a:defRPr/>
            </a:pPr>
            <a:r>
              <a:rPr lang="en-US" sz="1300" dirty="0">
                <a:solidFill>
                  <a:schemeClr val="bg1">
                    <a:lumMod val="10000"/>
                  </a:schemeClr>
                </a:solidFill>
                <a:latin typeface="Calibri"/>
                <a:cs typeface="Times New Roman" panose="02020603050405020304" pitchFamily="18" charset="0"/>
              </a:rPr>
              <a:t>In case if any of the performance defects raised during execution are agreed for fixes by stakeholders, we need to reiterate the test to validate provided fixes and proceed further. This might affect overall planned timeline and efforts.</a:t>
            </a:r>
          </a:p>
          <a:p>
            <a:pPr marL="203200" lvl="1" indent="-203200" defTabSz="342900" fontAlgn="base">
              <a:lnSpc>
                <a:spcPct val="150000"/>
              </a:lnSpc>
              <a:spcAft>
                <a:spcPct val="0"/>
              </a:spcAft>
              <a:buClr>
                <a:srgbClr val="6C99D6">
                  <a:lumMod val="50000"/>
                </a:srgbClr>
              </a:buClr>
              <a:buSzPct val="120000"/>
              <a:buFont typeface="Wingdings" panose="05000000000000000000" pitchFamily="2" charset="2"/>
              <a:buChar char="§"/>
              <a:tabLst>
                <a:tab pos="188913" algn="l"/>
              </a:tabLst>
              <a:defRPr/>
            </a:pPr>
            <a:endParaRPr lang="en-US" sz="1300" dirty="0">
              <a:solidFill>
                <a:srgbClr val="234E8F"/>
              </a:solidFill>
              <a:latin typeface="Calibri"/>
              <a:cs typeface="Times New Roman" panose="02020603050405020304" pitchFamily="18" charset="0"/>
            </a:endParaRPr>
          </a:p>
        </p:txBody>
      </p:sp>
    </p:spTree>
    <p:extLst>
      <p:ext uri="{BB962C8B-B14F-4D97-AF65-F5344CB8AC3E}">
        <p14:creationId xmlns:p14="http://schemas.microsoft.com/office/powerpoint/2010/main" val="24427369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IN" dirty="0"/>
              <a:t>Key Action Points</a:t>
            </a:r>
          </a:p>
        </p:txBody>
      </p:sp>
      <p:graphicFrame>
        <p:nvGraphicFramePr>
          <p:cNvPr id="4" name="Table 3"/>
          <p:cNvGraphicFramePr>
            <a:graphicFrameLocks noGrp="1"/>
          </p:cNvGraphicFramePr>
          <p:nvPr>
            <p:extLst>
              <p:ext uri="{D42A27DB-BD31-4B8C-83A1-F6EECF244321}">
                <p14:modId xmlns:p14="http://schemas.microsoft.com/office/powerpoint/2010/main" val="3910784116"/>
              </p:ext>
            </p:extLst>
          </p:nvPr>
        </p:nvGraphicFramePr>
        <p:xfrm>
          <a:off x="419262" y="1449365"/>
          <a:ext cx="10895121" cy="2909641"/>
        </p:xfrm>
        <a:graphic>
          <a:graphicData uri="http://schemas.openxmlformats.org/drawingml/2006/table">
            <a:tbl>
              <a:tblPr firstRow="1" firstCol="1" bandRow="1">
                <a:tableStyleId>{5C22544A-7EE6-4342-B048-85BDC9FD1C3A}</a:tableStyleId>
              </a:tblPr>
              <a:tblGrid>
                <a:gridCol w="590126">
                  <a:extLst>
                    <a:ext uri="{9D8B030D-6E8A-4147-A177-3AD203B41FA5}">
                      <a16:colId xmlns:a16="http://schemas.microsoft.com/office/drawing/2014/main" xmlns="" val="20000"/>
                    </a:ext>
                  </a:extLst>
                </a:gridCol>
                <a:gridCol w="5744437">
                  <a:extLst>
                    <a:ext uri="{9D8B030D-6E8A-4147-A177-3AD203B41FA5}">
                      <a16:colId xmlns:a16="http://schemas.microsoft.com/office/drawing/2014/main" xmlns="" val="20001"/>
                    </a:ext>
                  </a:extLst>
                </a:gridCol>
                <a:gridCol w="1058782">
                  <a:extLst>
                    <a:ext uri="{9D8B030D-6E8A-4147-A177-3AD203B41FA5}">
                      <a16:colId xmlns:a16="http://schemas.microsoft.com/office/drawing/2014/main" xmlns="" val="20002"/>
                    </a:ext>
                  </a:extLst>
                </a:gridCol>
                <a:gridCol w="1220137">
                  <a:extLst>
                    <a:ext uri="{9D8B030D-6E8A-4147-A177-3AD203B41FA5}">
                      <a16:colId xmlns:a16="http://schemas.microsoft.com/office/drawing/2014/main" xmlns="" val="20003"/>
                    </a:ext>
                  </a:extLst>
                </a:gridCol>
                <a:gridCol w="2281639">
                  <a:extLst>
                    <a:ext uri="{9D8B030D-6E8A-4147-A177-3AD203B41FA5}">
                      <a16:colId xmlns:a16="http://schemas.microsoft.com/office/drawing/2014/main" xmlns="" val="20004"/>
                    </a:ext>
                  </a:extLst>
                </a:gridCol>
              </a:tblGrid>
              <a:tr h="405193">
                <a:tc>
                  <a:txBody>
                    <a:bodyPr/>
                    <a:lstStyle/>
                    <a:p>
                      <a:pPr algn="ctr">
                        <a:spcAft>
                          <a:spcPts val="0"/>
                        </a:spcAft>
                      </a:pPr>
                      <a:r>
                        <a:rPr lang="en-IN" sz="1200" dirty="0">
                          <a:solidFill>
                            <a:srgbClr val="53565A"/>
                          </a:solidFill>
                          <a:effectLst/>
                          <a:latin typeface="Calibri" panose="020F0502020204030204" pitchFamily="34" charset="0"/>
                          <a:cs typeface="Calibri" panose="020F0502020204030204" pitchFamily="34" charset="0"/>
                        </a:rPr>
                        <a:t>S. No</a:t>
                      </a:r>
                      <a:endParaRPr lang="en-IN" sz="1200" dirty="0">
                        <a:solidFill>
                          <a:srgbClr val="53565A"/>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lgn="ctr">
                        <a:spcAft>
                          <a:spcPts val="0"/>
                        </a:spcAft>
                      </a:pPr>
                      <a:r>
                        <a:rPr lang="en-IN" sz="1200">
                          <a:solidFill>
                            <a:srgbClr val="53565A"/>
                          </a:solidFill>
                          <a:effectLst/>
                          <a:latin typeface="Calibri" panose="020F0502020204030204" pitchFamily="34" charset="0"/>
                          <a:cs typeface="Calibri" panose="020F0502020204030204" pitchFamily="34" charset="0"/>
                        </a:rPr>
                        <a:t>Key Action Points</a:t>
                      </a:r>
                      <a:endParaRPr lang="en-IN" sz="1200">
                        <a:solidFill>
                          <a:srgbClr val="53565A"/>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lgn="ctr">
                        <a:spcAft>
                          <a:spcPts val="0"/>
                        </a:spcAft>
                      </a:pPr>
                      <a:r>
                        <a:rPr lang="en-IN" sz="1200">
                          <a:solidFill>
                            <a:srgbClr val="53565A"/>
                          </a:solidFill>
                          <a:effectLst/>
                          <a:latin typeface="Calibri" panose="020F0502020204030204" pitchFamily="34" charset="0"/>
                          <a:cs typeface="Calibri" panose="020F0502020204030204" pitchFamily="34" charset="0"/>
                        </a:rPr>
                        <a:t>Assigned To</a:t>
                      </a:r>
                      <a:endParaRPr lang="en-IN" sz="1200">
                        <a:solidFill>
                          <a:srgbClr val="53565A"/>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lgn="ctr">
                        <a:spcAft>
                          <a:spcPts val="0"/>
                        </a:spcAft>
                      </a:pPr>
                      <a:r>
                        <a:rPr lang="en-IN" sz="1200">
                          <a:solidFill>
                            <a:srgbClr val="53565A"/>
                          </a:solidFill>
                          <a:effectLst/>
                          <a:latin typeface="Calibri" panose="020F0502020204030204" pitchFamily="34" charset="0"/>
                          <a:cs typeface="Calibri" panose="020F0502020204030204" pitchFamily="34" charset="0"/>
                        </a:rPr>
                        <a:t>Status</a:t>
                      </a:r>
                      <a:endParaRPr lang="en-IN" sz="1200">
                        <a:solidFill>
                          <a:srgbClr val="53565A"/>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lgn="ctr">
                        <a:spcAft>
                          <a:spcPts val="0"/>
                        </a:spcAft>
                      </a:pPr>
                      <a:r>
                        <a:rPr lang="en-IN" sz="1200">
                          <a:solidFill>
                            <a:srgbClr val="53565A"/>
                          </a:solidFill>
                          <a:effectLst/>
                          <a:latin typeface="Calibri" panose="020F0502020204030204" pitchFamily="34" charset="0"/>
                          <a:cs typeface="Calibri" panose="020F0502020204030204" pitchFamily="34" charset="0"/>
                        </a:rPr>
                        <a:t>Comment</a:t>
                      </a:r>
                      <a:endParaRPr lang="en-IN" sz="1200">
                        <a:solidFill>
                          <a:srgbClr val="53565A"/>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extLst>
                  <a:ext uri="{0D108BD9-81ED-4DB2-BD59-A6C34878D82A}">
                    <a16:rowId xmlns:a16="http://schemas.microsoft.com/office/drawing/2014/main" xmlns="" val="10000"/>
                  </a:ext>
                </a:extLst>
              </a:tr>
              <a:tr h="537387">
                <a:tc>
                  <a:txBody>
                    <a:bodyPr/>
                    <a:lstStyle/>
                    <a:p>
                      <a:pPr algn="ctr">
                        <a:spcAft>
                          <a:spcPts val="0"/>
                        </a:spcAft>
                      </a:pPr>
                      <a:r>
                        <a:rPr lang="en-IN" sz="1200" dirty="0">
                          <a:solidFill>
                            <a:srgbClr val="53565A"/>
                          </a:solidFill>
                          <a:effectLst/>
                          <a:latin typeface="Calibri" panose="020F0502020204030204" pitchFamily="34" charset="0"/>
                          <a:cs typeface="Calibri" panose="020F0502020204030204" pitchFamily="34" charset="0"/>
                        </a:rPr>
                        <a:t>1</a:t>
                      </a:r>
                      <a:endParaRPr lang="en-IN" sz="1200" dirty="0">
                        <a:solidFill>
                          <a:srgbClr val="53565A"/>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spcAft>
                          <a:spcPts val="0"/>
                        </a:spcAft>
                      </a:pPr>
                      <a:r>
                        <a:rPr lang="en-IN" sz="1200" dirty="0">
                          <a:solidFill>
                            <a:schemeClr val="bg1">
                              <a:lumMod val="10000"/>
                            </a:schemeClr>
                          </a:solidFill>
                          <a:effectLst/>
                          <a:latin typeface="Calibri" panose="020F0502020204030204" pitchFamily="34" charset="0"/>
                          <a:cs typeface="Calibri" panose="020F0502020204030204" pitchFamily="34" charset="0"/>
                        </a:rPr>
                        <a:t>Gather customer usage trend (Logins</a:t>
                      </a:r>
                      <a:r>
                        <a:rPr lang="en-IN" sz="1200" baseline="0" dirty="0">
                          <a:solidFill>
                            <a:schemeClr val="bg1">
                              <a:lumMod val="10000"/>
                            </a:schemeClr>
                          </a:solidFill>
                          <a:effectLst/>
                          <a:latin typeface="Calibri" panose="020F0502020204030204" pitchFamily="34" charset="0"/>
                          <a:cs typeface="Calibri" panose="020F0502020204030204" pitchFamily="34" charset="0"/>
                        </a:rPr>
                        <a:t> and Transaction volume </a:t>
                      </a:r>
                      <a:r>
                        <a:rPr lang="en-IN" sz="1200" dirty="0">
                          <a:solidFill>
                            <a:schemeClr val="bg1">
                              <a:lumMod val="10000"/>
                            </a:schemeClr>
                          </a:solidFill>
                          <a:effectLst/>
                          <a:latin typeface="Calibri" panose="020F0502020204030204" pitchFamily="34" charset="0"/>
                          <a:cs typeface="Calibri" panose="020F0502020204030204" pitchFamily="34" charset="0"/>
                        </a:rPr>
                        <a:t>) from production for past 6 months</a:t>
                      </a:r>
                    </a:p>
                  </a:txBody>
                  <a:tcPr marL="68580" marR="68580" marT="0" marB="0" anchor="ctr"/>
                </a:tc>
                <a:tc>
                  <a:txBody>
                    <a:bodyPr/>
                    <a:lstStyle/>
                    <a:p>
                      <a:pPr algn="ctr">
                        <a:spcAft>
                          <a:spcPts val="0"/>
                        </a:spcAft>
                      </a:pPr>
                      <a:r>
                        <a:rPr lang="en-IN" sz="1200">
                          <a:solidFill>
                            <a:schemeClr val="bg1">
                              <a:lumMod val="10000"/>
                            </a:schemeClr>
                          </a:solidFill>
                          <a:effectLst/>
                          <a:latin typeface="Calibri" panose="020F0502020204030204" pitchFamily="34" charset="0"/>
                          <a:cs typeface="Calibri" panose="020F0502020204030204" pitchFamily="34" charset="0"/>
                        </a:rPr>
                        <a:t>Reporting Team</a:t>
                      </a:r>
                      <a:endParaRPr lang="en-IN" sz="1200">
                        <a:solidFill>
                          <a:schemeClr val="bg1">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lgn="ctr">
                        <a:spcAft>
                          <a:spcPts val="0"/>
                        </a:spcAft>
                      </a:pPr>
                      <a:r>
                        <a:rPr lang="en-IN" sz="1200" dirty="0">
                          <a:solidFill>
                            <a:schemeClr val="bg1">
                              <a:lumMod val="10000"/>
                            </a:schemeClr>
                          </a:solidFill>
                          <a:effectLst/>
                          <a:latin typeface="Calibri" panose="020F0502020204030204" pitchFamily="34" charset="0"/>
                          <a:cs typeface="Calibri" panose="020F0502020204030204" pitchFamily="34" charset="0"/>
                        </a:rPr>
                        <a:t>Pending</a:t>
                      </a:r>
                      <a:endParaRPr lang="en-IN" sz="1200" dirty="0">
                        <a:solidFill>
                          <a:schemeClr val="bg1">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solidFill>
                      <a:srgbClr val="FF0000"/>
                    </a:solidFill>
                  </a:tcPr>
                </a:tc>
                <a:tc>
                  <a:txBody>
                    <a:bodyPr/>
                    <a:lstStyle/>
                    <a:p>
                      <a:pPr>
                        <a:spcAft>
                          <a:spcPts val="0"/>
                        </a:spcAft>
                      </a:pPr>
                      <a:r>
                        <a:rPr lang="en-IN" sz="1200">
                          <a:solidFill>
                            <a:schemeClr val="bg1">
                              <a:lumMod val="10000"/>
                            </a:schemeClr>
                          </a:solidFill>
                          <a:effectLst/>
                          <a:latin typeface="Calibri" panose="020F0502020204030204" pitchFamily="34" charset="0"/>
                          <a:cs typeface="Calibri" panose="020F0502020204030204" pitchFamily="34" charset="0"/>
                        </a:rPr>
                        <a:t> </a:t>
                      </a:r>
                      <a:endParaRPr lang="en-IN" sz="1200">
                        <a:solidFill>
                          <a:schemeClr val="bg1">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b"/>
                </a:tc>
                <a:extLst>
                  <a:ext uri="{0D108BD9-81ED-4DB2-BD59-A6C34878D82A}">
                    <a16:rowId xmlns:a16="http://schemas.microsoft.com/office/drawing/2014/main" xmlns="" val="10001"/>
                  </a:ext>
                </a:extLst>
              </a:tr>
              <a:tr h="537387">
                <a:tc>
                  <a:txBody>
                    <a:bodyPr/>
                    <a:lstStyle/>
                    <a:p>
                      <a:pPr algn="ctr">
                        <a:spcAft>
                          <a:spcPts val="0"/>
                        </a:spcAft>
                      </a:pPr>
                      <a:r>
                        <a:rPr lang="en-IN" sz="1200" dirty="0">
                          <a:solidFill>
                            <a:srgbClr val="53565A"/>
                          </a:solidFill>
                          <a:effectLst/>
                          <a:latin typeface="Calibri" panose="020F0502020204030204" pitchFamily="34" charset="0"/>
                          <a:cs typeface="Calibri" panose="020F0502020204030204" pitchFamily="34" charset="0"/>
                        </a:rPr>
                        <a:t>2</a:t>
                      </a:r>
                      <a:endParaRPr lang="en-IN" sz="1200" dirty="0">
                        <a:solidFill>
                          <a:srgbClr val="53565A"/>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spcAft>
                          <a:spcPts val="0"/>
                        </a:spcAft>
                      </a:pPr>
                      <a:r>
                        <a:rPr lang="en-US" sz="1200" dirty="0">
                          <a:solidFill>
                            <a:schemeClr val="bg1">
                              <a:lumMod val="10000"/>
                            </a:schemeClr>
                          </a:solidFill>
                          <a:effectLst/>
                          <a:latin typeface="Calibri" panose="020F0502020204030204" pitchFamily="34" charset="0"/>
                          <a:cs typeface="Calibri" panose="020F0502020204030204" pitchFamily="34" charset="0"/>
                        </a:rPr>
                        <a:t>Analyze gather information form production to understand usage trend and identify scope</a:t>
                      </a:r>
                      <a:endParaRPr lang="en-IN" sz="1200" dirty="0">
                        <a:solidFill>
                          <a:schemeClr val="bg1">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lgn="ctr">
                        <a:spcAft>
                          <a:spcPts val="0"/>
                        </a:spcAft>
                      </a:pPr>
                      <a:r>
                        <a:rPr lang="en-IN" sz="1200" dirty="0">
                          <a:solidFill>
                            <a:schemeClr val="bg1">
                              <a:lumMod val="10000"/>
                            </a:schemeClr>
                          </a:solidFill>
                          <a:effectLst/>
                          <a:latin typeface="Calibri" panose="020F0502020204030204" pitchFamily="34" charset="0"/>
                          <a:cs typeface="Calibri" panose="020F0502020204030204" pitchFamily="34" charset="0"/>
                        </a:rPr>
                        <a:t>PT Team</a:t>
                      </a:r>
                      <a:endParaRPr lang="en-IN" sz="1200" dirty="0">
                        <a:solidFill>
                          <a:schemeClr val="bg1">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lgn="ctr">
                        <a:spcAft>
                          <a:spcPts val="0"/>
                        </a:spcAft>
                      </a:pPr>
                      <a:r>
                        <a:rPr lang="en-IN" sz="1200" dirty="0">
                          <a:solidFill>
                            <a:schemeClr val="bg1">
                              <a:lumMod val="10000"/>
                            </a:schemeClr>
                          </a:solidFill>
                          <a:effectLst/>
                          <a:latin typeface="Calibri" panose="020F0502020204030204" pitchFamily="34" charset="0"/>
                          <a:cs typeface="Calibri" panose="020F0502020204030204" pitchFamily="34" charset="0"/>
                        </a:rPr>
                        <a:t>Open</a:t>
                      </a:r>
                      <a:endParaRPr lang="en-IN" sz="1200" dirty="0">
                        <a:solidFill>
                          <a:schemeClr val="bg1">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spcAft>
                          <a:spcPts val="0"/>
                        </a:spcAft>
                      </a:pPr>
                      <a:r>
                        <a:rPr lang="en-IN" sz="1200" dirty="0">
                          <a:solidFill>
                            <a:schemeClr val="bg1">
                              <a:lumMod val="10000"/>
                            </a:schemeClr>
                          </a:solidFill>
                          <a:effectLst/>
                          <a:latin typeface="Calibri" panose="020F0502020204030204" pitchFamily="34" charset="0"/>
                          <a:cs typeface="Calibri" panose="020F0502020204030204" pitchFamily="34" charset="0"/>
                        </a:rPr>
                        <a:t>Dependent on action point one</a:t>
                      </a:r>
                      <a:endParaRPr lang="en-IN" sz="1200" dirty="0">
                        <a:solidFill>
                          <a:schemeClr val="bg1">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extLst>
                  <a:ext uri="{0D108BD9-81ED-4DB2-BD59-A6C34878D82A}">
                    <a16:rowId xmlns:a16="http://schemas.microsoft.com/office/drawing/2014/main" xmlns="" val="10002"/>
                  </a:ext>
                </a:extLst>
              </a:tr>
              <a:tr h="354900">
                <a:tc>
                  <a:txBody>
                    <a:bodyPr/>
                    <a:lstStyle/>
                    <a:p>
                      <a:pPr algn="ctr">
                        <a:spcAft>
                          <a:spcPts val="0"/>
                        </a:spcAft>
                      </a:pPr>
                      <a:r>
                        <a:rPr lang="en-IN" sz="1200" dirty="0">
                          <a:solidFill>
                            <a:srgbClr val="53565A"/>
                          </a:solidFill>
                          <a:effectLst/>
                          <a:latin typeface="Calibri" panose="020F0502020204030204" pitchFamily="34" charset="0"/>
                          <a:cs typeface="Calibri" panose="020F0502020204030204" pitchFamily="34" charset="0"/>
                        </a:rPr>
                        <a:t>3</a:t>
                      </a:r>
                      <a:endParaRPr lang="en-IN" sz="1200" dirty="0">
                        <a:solidFill>
                          <a:srgbClr val="53565A"/>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spcAft>
                          <a:spcPts val="0"/>
                        </a:spcAft>
                      </a:pPr>
                      <a:r>
                        <a:rPr lang="en-IN" sz="1200" dirty="0">
                          <a:solidFill>
                            <a:schemeClr val="bg1">
                              <a:lumMod val="10000"/>
                            </a:schemeClr>
                          </a:solidFill>
                          <a:effectLst/>
                          <a:latin typeface="Calibri" panose="020F0502020204030204" pitchFamily="34" charset="0"/>
                          <a:cs typeface="Calibri" panose="020F0502020204030204" pitchFamily="34" charset="0"/>
                        </a:rPr>
                        <a:t>Finalize application and transaction scope</a:t>
                      </a:r>
                      <a:endParaRPr lang="en-IN" sz="1200" dirty="0">
                        <a:solidFill>
                          <a:schemeClr val="bg1">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lgn="ctr">
                        <a:spcAft>
                          <a:spcPts val="0"/>
                        </a:spcAft>
                      </a:pPr>
                      <a:r>
                        <a:rPr lang="en-IN" sz="1200" dirty="0">
                          <a:solidFill>
                            <a:schemeClr val="bg1">
                              <a:lumMod val="10000"/>
                            </a:schemeClr>
                          </a:solidFill>
                          <a:effectLst/>
                          <a:latin typeface="Calibri" panose="020F0502020204030204" pitchFamily="34" charset="0"/>
                          <a:cs typeface="Calibri" panose="020F0502020204030204" pitchFamily="34" charset="0"/>
                        </a:rPr>
                        <a:t>-</a:t>
                      </a:r>
                      <a:endParaRPr lang="en-IN" sz="1200" dirty="0">
                        <a:solidFill>
                          <a:schemeClr val="bg1">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lgn="ctr">
                        <a:spcAft>
                          <a:spcPts val="0"/>
                        </a:spcAft>
                      </a:pPr>
                      <a:r>
                        <a:rPr lang="en-IN" sz="1200" dirty="0">
                          <a:solidFill>
                            <a:schemeClr val="bg1">
                              <a:lumMod val="10000"/>
                            </a:schemeClr>
                          </a:solidFill>
                          <a:effectLst/>
                          <a:latin typeface="Calibri" panose="020F0502020204030204" pitchFamily="34" charset="0"/>
                          <a:cs typeface="Calibri" panose="020F0502020204030204" pitchFamily="34" charset="0"/>
                        </a:rPr>
                        <a:t>Open</a:t>
                      </a:r>
                      <a:endParaRPr lang="en-IN" sz="1200" dirty="0">
                        <a:solidFill>
                          <a:schemeClr val="bg1">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spcAft>
                          <a:spcPts val="0"/>
                        </a:spcAft>
                      </a:pPr>
                      <a:r>
                        <a:rPr lang="en-IN" sz="1200">
                          <a:solidFill>
                            <a:schemeClr val="bg1">
                              <a:lumMod val="10000"/>
                            </a:schemeClr>
                          </a:solidFill>
                          <a:effectLst/>
                          <a:latin typeface="Calibri" panose="020F0502020204030204" pitchFamily="34" charset="0"/>
                          <a:cs typeface="Calibri" panose="020F0502020204030204" pitchFamily="34" charset="0"/>
                        </a:rPr>
                        <a:t> </a:t>
                      </a:r>
                      <a:endParaRPr lang="en-IN" sz="1200">
                        <a:solidFill>
                          <a:schemeClr val="bg1">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b"/>
                </a:tc>
                <a:extLst>
                  <a:ext uri="{0D108BD9-81ED-4DB2-BD59-A6C34878D82A}">
                    <a16:rowId xmlns:a16="http://schemas.microsoft.com/office/drawing/2014/main" xmlns="" val="10003"/>
                  </a:ext>
                </a:extLst>
              </a:tr>
              <a:tr h="537387">
                <a:tc>
                  <a:txBody>
                    <a:bodyPr/>
                    <a:lstStyle/>
                    <a:p>
                      <a:pPr algn="ctr">
                        <a:spcAft>
                          <a:spcPts val="0"/>
                        </a:spcAft>
                      </a:pPr>
                      <a:r>
                        <a:rPr lang="en-IN" sz="1200" dirty="0">
                          <a:solidFill>
                            <a:srgbClr val="53565A"/>
                          </a:solidFill>
                          <a:effectLst/>
                          <a:latin typeface="Calibri" panose="020F0502020204030204" pitchFamily="34" charset="0"/>
                          <a:cs typeface="Calibri" panose="020F0502020204030204" pitchFamily="34" charset="0"/>
                        </a:rPr>
                        <a:t>4</a:t>
                      </a:r>
                      <a:endParaRPr lang="en-IN" sz="1200" dirty="0">
                        <a:solidFill>
                          <a:srgbClr val="53565A"/>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spcAft>
                          <a:spcPts val="0"/>
                        </a:spcAft>
                      </a:pPr>
                      <a:r>
                        <a:rPr lang="en-US" sz="1200">
                          <a:solidFill>
                            <a:schemeClr val="bg1">
                              <a:lumMod val="10000"/>
                            </a:schemeClr>
                          </a:solidFill>
                          <a:effectLst/>
                          <a:latin typeface="Calibri" panose="020F0502020204030204" pitchFamily="34" charset="0"/>
                          <a:cs typeface="Calibri" panose="020F0502020204030204" pitchFamily="34" charset="0"/>
                        </a:rPr>
                        <a:t>Identification and preparation of environment dedicated for Performance Testing</a:t>
                      </a:r>
                      <a:endParaRPr lang="en-IN" sz="1200">
                        <a:solidFill>
                          <a:schemeClr val="bg1">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lgn="ctr">
                        <a:spcAft>
                          <a:spcPts val="0"/>
                        </a:spcAft>
                      </a:pPr>
                      <a:r>
                        <a:rPr lang="en-IN" sz="1200">
                          <a:solidFill>
                            <a:schemeClr val="bg1">
                              <a:lumMod val="10000"/>
                            </a:schemeClr>
                          </a:solidFill>
                          <a:effectLst/>
                          <a:latin typeface="Calibri" panose="020F0502020204030204" pitchFamily="34" charset="0"/>
                          <a:cs typeface="Calibri" panose="020F0502020204030204" pitchFamily="34" charset="0"/>
                        </a:rPr>
                        <a:t>-</a:t>
                      </a:r>
                      <a:endParaRPr lang="en-IN" sz="1200">
                        <a:solidFill>
                          <a:schemeClr val="bg1">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lgn="ctr">
                        <a:spcAft>
                          <a:spcPts val="0"/>
                        </a:spcAft>
                      </a:pPr>
                      <a:r>
                        <a:rPr lang="en-IN" sz="1200" dirty="0">
                          <a:solidFill>
                            <a:schemeClr val="bg1">
                              <a:lumMod val="10000"/>
                            </a:schemeClr>
                          </a:solidFill>
                          <a:effectLst/>
                          <a:latin typeface="Calibri" panose="020F0502020204030204" pitchFamily="34" charset="0"/>
                          <a:cs typeface="Calibri" panose="020F0502020204030204" pitchFamily="34" charset="0"/>
                        </a:rPr>
                        <a:t>Open</a:t>
                      </a:r>
                      <a:endParaRPr lang="en-IN" sz="1200" dirty="0">
                        <a:solidFill>
                          <a:schemeClr val="bg1">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spcAft>
                          <a:spcPts val="0"/>
                        </a:spcAft>
                      </a:pPr>
                      <a:r>
                        <a:rPr lang="en-IN" sz="1200" dirty="0">
                          <a:solidFill>
                            <a:schemeClr val="bg1">
                              <a:lumMod val="10000"/>
                            </a:schemeClr>
                          </a:solidFill>
                          <a:effectLst/>
                          <a:latin typeface="Calibri" panose="020F0502020204030204" pitchFamily="34" charset="0"/>
                          <a:cs typeface="Calibri" panose="020F0502020204030204" pitchFamily="34" charset="0"/>
                        </a:rPr>
                        <a:t> </a:t>
                      </a:r>
                      <a:endParaRPr lang="en-IN" sz="1200" dirty="0">
                        <a:solidFill>
                          <a:schemeClr val="bg1">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b"/>
                </a:tc>
                <a:extLst>
                  <a:ext uri="{0D108BD9-81ED-4DB2-BD59-A6C34878D82A}">
                    <a16:rowId xmlns:a16="http://schemas.microsoft.com/office/drawing/2014/main" xmlns="" val="10004"/>
                  </a:ext>
                </a:extLst>
              </a:tr>
              <a:tr h="537387">
                <a:tc>
                  <a:txBody>
                    <a:bodyPr/>
                    <a:lstStyle/>
                    <a:p>
                      <a:pPr algn="ctr">
                        <a:spcAft>
                          <a:spcPts val="0"/>
                        </a:spcAft>
                      </a:pPr>
                      <a:r>
                        <a:rPr lang="en-IN" sz="1200" dirty="0">
                          <a:solidFill>
                            <a:srgbClr val="53565A"/>
                          </a:solidFill>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nchor="ctr"/>
                </a:tc>
                <a:tc>
                  <a:txBody>
                    <a:bodyPr/>
                    <a:lstStyle/>
                    <a:p>
                      <a:pPr>
                        <a:spcAft>
                          <a:spcPts val="0"/>
                        </a:spcAft>
                      </a:pPr>
                      <a:r>
                        <a:rPr lang="en-IN" sz="1200" dirty="0">
                          <a:solidFill>
                            <a:schemeClr val="bg1">
                              <a:lumMod val="10000"/>
                            </a:schemeClr>
                          </a:solidFill>
                          <a:effectLst/>
                          <a:latin typeface="Calibri" panose="020F0502020204030204" pitchFamily="34" charset="0"/>
                          <a:ea typeface="Calibri" panose="020F0502020204030204" pitchFamily="34" charset="0"/>
                          <a:cs typeface="Calibri" panose="020F0502020204030204" pitchFamily="34" charset="0"/>
                        </a:rPr>
                        <a:t>Workstation allocation and tools installation</a:t>
                      </a:r>
                    </a:p>
                  </a:txBody>
                  <a:tcPr marL="68580" marR="68580" marT="0" marB="0" anchor="ctr"/>
                </a:tc>
                <a:tc>
                  <a:txBody>
                    <a:bodyPr/>
                    <a:lstStyle/>
                    <a:p>
                      <a:pPr algn="ctr">
                        <a:spcAft>
                          <a:spcPts val="0"/>
                        </a:spcAft>
                      </a:pPr>
                      <a:r>
                        <a:rPr lang="en-IN" sz="1200" dirty="0">
                          <a:solidFill>
                            <a:schemeClr val="bg1">
                              <a:lumMod val="10000"/>
                            </a:schemeClr>
                          </a:solidFill>
                          <a:effectLst/>
                          <a:latin typeface="Calibri" panose="020F0502020204030204" pitchFamily="34" charset="0"/>
                          <a:ea typeface="Calibri" panose="020F0502020204030204" pitchFamily="34" charset="0"/>
                          <a:cs typeface="Calibri" panose="020F0502020204030204" pitchFamily="34" charset="0"/>
                        </a:rPr>
                        <a:t>-</a:t>
                      </a:r>
                    </a:p>
                  </a:txBody>
                  <a:tcPr marL="68580" marR="68580" marT="0" marB="0" anchor="ctr"/>
                </a:tc>
                <a:tc>
                  <a:txBody>
                    <a:bodyPr/>
                    <a:lstStyle/>
                    <a:p>
                      <a:pPr algn="ctr">
                        <a:spcAft>
                          <a:spcPts val="0"/>
                        </a:spcAft>
                      </a:pPr>
                      <a:r>
                        <a:rPr lang="en-IN" sz="1200" dirty="0">
                          <a:solidFill>
                            <a:schemeClr val="bg1">
                              <a:lumMod val="10000"/>
                            </a:schemeClr>
                          </a:solidFill>
                          <a:effectLst/>
                          <a:latin typeface="Calibri" panose="020F0502020204030204" pitchFamily="34" charset="0"/>
                          <a:ea typeface="Calibri" panose="020F0502020204030204" pitchFamily="34" charset="0"/>
                          <a:cs typeface="Calibri" panose="020F0502020204030204" pitchFamily="34" charset="0"/>
                        </a:rPr>
                        <a:t>Open</a:t>
                      </a:r>
                    </a:p>
                  </a:txBody>
                  <a:tcPr marL="68580" marR="68580" marT="0" marB="0" anchor="ctr"/>
                </a:tc>
                <a:tc>
                  <a:txBody>
                    <a:bodyPr/>
                    <a:lstStyle/>
                    <a:p>
                      <a:pPr>
                        <a:spcAft>
                          <a:spcPts val="0"/>
                        </a:spcAft>
                      </a:pPr>
                      <a:endParaRPr lang="en-IN" sz="1200" dirty="0">
                        <a:solidFill>
                          <a:schemeClr val="bg1">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b"/>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22411999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9434EEE1-28EC-4D78-B91B-1AAE86ACA454}"/>
              </a:ext>
            </a:extLst>
          </p:cNvPr>
          <p:cNvSpPr>
            <a:spLocks noGrp="1"/>
          </p:cNvSpPr>
          <p:nvPr>
            <p:ph type="body" sz="quarter" idx="12"/>
          </p:nvPr>
        </p:nvSpPr>
        <p:spPr/>
        <p:txBody>
          <a:bodyPr/>
          <a:lstStyle/>
          <a:p>
            <a:r>
              <a:rPr lang="en-US" dirty="0"/>
              <a:t>Agenda</a:t>
            </a:r>
            <a:endParaRPr lang="en-GB" dirty="0"/>
          </a:p>
        </p:txBody>
      </p:sp>
      <p:grpSp>
        <p:nvGrpSpPr>
          <p:cNvPr id="4" name="Group 3">
            <a:extLst>
              <a:ext uri="{FF2B5EF4-FFF2-40B4-BE49-F238E27FC236}">
                <a16:creationId xmlns:a16="http://schemas.microsoft.com/office/drawing/2014/main" xmlns="" id="{3ED4CB9D-6D70-4201-91D6-657D6DC142ED}"/>
              </a:ext>
            </a:extLst>
          </p:cNvPr>
          <p:cNvGrpSpPr/>
          <p:nvPr/>
        </p:nvGrpSpPr>
        <p:grpSpPr>
          <a:xfrm>
            <a:off x="8759373" y="3362643"/>
            <a:ext cx="2260578" cy="2059532"/>
            <a:chOff x="4054951" y="1950438"/>
            <a:chExt cx="1008925" cy="753881"/>
          </a:xfrm>
          <a:solidFill>
            <a:schemeClr val="accent2"/>
          </a:solidFill>
        </p:grpSpPr>
        <p:sp>
          <p:nvSpPr>
            <p:cNvPr id="5" name="Freeform 457">
              <a:extLst>
                <a:ext uri="{FF2B5EF4-FFF2-40B4-BE49-F238E27FC236}">
                  <a16:creationId xmlns:a16="http://schemas.microsoft.com/office/drawing/2014/main" xmlns="" id="{4FEC54AC-D52A-43D4-BAB2-C839A6BC9810}"/>
                </a:ext>
              </a:extLst>
            </p:cNvPr>
            <p:cNvSpPr>
              <a:spLocks noEditPoints="1"/>
            </p:cNvSpPr>
            <p:nvPr/>
          </p:nvSpPr>
          <p:spPr bwMode="auto">
            <a:xfrm rot="16200000">
              <a:off x="4080304" y="1958935"/>
              <a:ext cx="720031" cy="770737"/>
            </a:xfrm>
            <a:custGeom>
              <a:avLst/>
              <a:gdLst>
                <a:gd name="T0" fmla="*/ 223 w 246"/>
                <a:gd name="T1" fmla="*/ 34 h 264"/>
                <a:gd name="T2" fmla="*/ 223 w 246"/>
                <a:gd name="T3" fmla="*/ 34 h 264"/>
                <a:gd name="T4" fmla="*/ 223 w 246"/>
                <a:gd name="T5" fmla="*/ 19 h 264"/>
                <a:gd name="T6" fmla="*/ 207 w 246"/>
                <a:gd name="T7" fmla="*/ 0 h 264"/>
                <a:gd name="T8" fmla="*/ 192 w 246"/>
                <a:gd name="T9" fmla="*/ 19 h 264"/>
                <a:gd name="T10" fmla="*/ 192 w 246"/>
                <a:gd name="T11" fmla="*/ 34 h 264"/>
                <a:gd name="T12" fmla="*/ 167 w 246"/>
                <a:gd name="T13" fmla="*/ 34 h 264"/>
                <a:gd name="T14" fmla="*/ 167 w 246"/>
                <a:gd name="T15" fmla="*/ 19 h 264"/>
                <a:gd name="T16" fmla="*/ 151 w 246"/>
                <a:gd name="T17" fmla="*/ 0 h 264"/>
                <a:gd name="T18" fmla="*/ 136 w 246"/>
                <a:gd name="T19" fmla="*/ 19 h 264"/>
                <a:gd name="T20" fmla="*/ 136 w 246"/>
                <a:gd name="T21" fmla="*/ 34 h 264"/>
                <a:gd name="T22" fmla="*/ 111 w 246"/>
                <a:gd name="T23" fmla="*/ 34 h 264"/>
                <a:gd name="T24" fmla="*/ 111 w 246"/>
                <a:gd name="T25" fmla="*/ 19 h 264"/>
                <a:gd name="T26" fmla="*/ 96 w 246"/>
                <a:gd name="T27" fmla="*/ 0 h 264"/>
                <a:gd name="T28" fmla="*/ 80 w 246"/>
                <a:gd name="T29" fmla="*/ 19 h 264"/>
                <a:gd name="T30" fmla="*/ 80 w 246"/>
                <a:gd name="T31" fmla="*/ 34 h 264"/>
                <a:gd name="T32" fmla="*/ 55 w 246"/>
                <a:gd name="T33" fmla="*/ 34 h 264"/>
                <a:gd name="T34" fmla="*/ 55 w 246"/>
                <a:gd name="T35" fmla="*/ 19 h 264"/>
                <a:gd name="T36" fmla="*/ 40 w 246"/>
                <a:gd name="T37" fmla="*/ 0 h 264"/>
                <a:gd name="T38" fmla="*/ 24 w 246"/>
                <a:gd name="T39" fmla="*/ 19 h 264"/>
                <a:gd name="T40" fmla="*/ 24 w 246"/>
                <a:gd name="T41" fmla="*/ 34 h 264"/>
                <a:gd name="T42" fmla="*/ 23 w 246"/>
                <a:gd name="T43" fmla="*/ 34 h 264"/>
                <a:gd name="T44" fmla="*/ 0 w 246"/>
                <a:gd name="T45" fmla="*/ 57 h 264"/>
                <a:gd name="T46" fmla="*/ 0 w 246"/>
                <a:gd name="T47" fmla="*/ 241 h 264"/>
                <a:gd name="T48" fmla="*/ 23 w 246"/>
                <a:gd name="T49" fmla="*/ 264 h 264"/>
                <a:gd name="T50" fmla="*/ 223 w 246"/>
                <a:gd name="T51" fmla="*/ 264 h 264"/>
                <a:gd name="T52" fmla="*/ 246 w 246"/>
                <a:gd name="T53" fmla="*/ 241 h 264"/>
                <a:gd name="T54" fmla="*/ 246 w 246"/>
                <a:gd name="T55" fmla="*/ 57 h 264"/>
                <a:gd name="T56" fmla="*/ 223 w 246"/>
                <a:gd name="T57" fmla="*/ 34 h 264"/>
                <a:gd name="T58" fmla="*/ 203 w 246"/>
                <a:gd name="T59" fmla="*/ 231 h 264"/>
                <a:gd name="T60" fmla="*/ 43 w 246"/>
                <a:gd name="T61" fmla="*/ 231 h 264"/>
                <a:gd name="T62" fmla="*/ 33 w 246"/>
                <a:gd name="T63" fmla="*/ 221 h 264"/>
                <a:gd name="T64" fmla="*/ 33 w 246"/>
                <a:gd name="T65" fmla="*/ 77 h 264"/>
                <a:gd name="T66" fmla="*/ 40 w 246"/>
                <a:gd name="T67" fmla="*/ 78 h 264"/>
                <a:gd name="T68" fmla="*/ 54 w 246"/>
                <a:gd name="T69" fmla="*/ 67 h 264"/>
                <a:gd name="T70" fmla="*/ 81 w 246"/>
                <a:gd name="T71" fmla="*/ 67 h 264"/>
                <a:gd name="T72" fmla="*/ 96 w 246"/>
                <a:gd name="T73" fmla="*/ 78 h 264"/>
                <a:gd name="T74" fmla="*/ 110 w 246"/>
                <a:gd name="T75" fmla="*/ 67 h 264"/>
                <a:gd name="T76" fmla="*/ 137 w 246"/>
                <a:gd name="T77" fmla="*/ 67 h 264"/>
                <a:gd name="T78" fmla="*/ 151 w 246"/>
                <a:gd name="T79" fmla="*/ 78 h 264"/>
                <a:gd name="T80" fmla="*/ 166 w 246"/>
                <a:gd name="T81" fmla="*/ 67 h 264"/>
                <a:gd name="T82" fmla="*/ 193 w 246"/>
                <a:gd name="T83" fmla="*/ 67 h 264"/>
                <a:gd name="T84" fmla="*/ 207 w 246"/>
                <a:gd name="T85" fmla="*/ 78 h 264"/>
                <a:gd name="T86" fmla="*/ 213 w 246"/>
                <a:gd name="T87" fmla="*/ 77 h 264"/>
                <a:gd name="T88" fmla="*/ 213 w 246"/>
                <a:gd name="T89" fmla="*/ 221 h 264"/>
                <a:gd name="T90" fmla="*/ 203 w 246"/>
                <a:gd name="T91" fmla="*/ 231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64">
                  <a:moveTo>
                    <a:pt x="223" y="34"/>
                  </a:moveTo>
                  <a:cubicBezTo>
                    <a:pt x="223" y="34"/>
                    <a:pt x="223" y="34"/>
                    <a:pt x="223" y="34"/>
                  </a:cubicBezTo>
                  <a:cubicBezTo>
                    <a:pt x="223" y="19"/>
                    <a:pt x="223" y="19"/>
                    <a:pt x="223" y="19"/>
                  </a:cubicBezTo>
                  <a:cubicBezTo>
                    <a:pt x="223" y="9"/>
                    <a:pt x="216" y="0"/>
                    <a:pt x="207" y="0"/>
                  </a:cubicBezTo>
                  <a:cubicBezTo>
                    <a:pt x="199" y="0"/>
                    <a:pt x="192" y="9"/>
                    <a:pt x="192" y="19"/>
                  </a:cubicBezTo>
                  <a:cubicBezTo>
                    <a:pt x="192" y="34"/>
                    <a:pt x="192" y="34"/>
                    <a:pt x="192" y="34"/>
                  </a:cubicBezTo>
                  <a:cubicBezTo>
                    <a:pt x="167" y="34"/>
                    <a:pt x="167" y="34"/>
                    <a:pt x="167" y="34"/>
                  </a:cubicBezTo>
                  <a:cubicBezTo>
                    <a:pt x="167" y="19"/>
                    <a:pt x="167" y="19"/>
                    <a:pt x="167" y="19"/>
                  </a:cubicBezTo>
                  <a:cubicBezTo>
                    <a:pt x="167" y="9"/>
                    <a:pt x="160" y="0"/>
                    <a:pt x="151" y="0"/>
                  </a:cubicBezTo>
                  <a:cubicBezTo>
                    <a:pt x="143" y="0"/>
                    <a:pt x="136" y="9"/>
                    <a:pt x="136" y="19"/>
                  </a:cubicBezTo>
                  <a:cubicBezTo>
                    <a:pt x="136" y="34"/>
                    <a:pt x="136" y="34"/>
                    <a:pt x="136" y="34"/>
                  </a:cubicBezTo>
                  <a:cubicBezTo>
                    <a:pt x="111" y="34"/>
                    <a:pt x="111" y="34"/>
                    <a:pt x="111" y="34"/>
                  </a:cubicBezTo>
                  <a:cubicBezTo>
                    <a:pt x="111" y="19"/>
                    <a:pt x="111" y="19"/>
                    <a:pt x="111" y="19"/>
                  </a:cubicBezTo>
                  <a:cubicBezTo>
                    <a:pt x="111" y="9"/>
                    <a:pt x="104" y="0"/>
                    <a:pt x="96" y="0"/>
                  </a:cubicBezTo>
                  <a:cubicBezTo>
                    <a:pt x="87" y="0"/>
                    <a:pt x="80" y="9"/>
                    <a:pt x="80" y="19"/>
                  </a:cubicBezTo>
                  <a:cubicBezTo>
                    <a:pt x="80" y="34"/>
                    <a:pt x="80" y="34"/>
                    <a:pt x="80" y="34"/>
                  </a:cubicBezTo>
                  <a:cubicBezTo>
                    <a:pt x="55" y="34"/>
                    <a:pt x="55" y="34"/>
                    <a:pt x="55" y="34"/>
                  </a:cubicBezTo>
                  <a:cubicBezTo>
                    <a:pt x="55" y="19"/>
                    <a:pt x="55" y="19"/>
                    <a:pt x="55" y="19"/>
                  </a:cubicBezTo>
                  <a:cubicBezTo>
                    <a:pt x="55" y="9"/>
                    <a:pt x="48" y="0"/>
                    <a:pt x="40" y="0"/>
                  </a:cubicBezTo>
                  <a:cubicBezTo>
                    <a:pt x="31" y="0"/>
                    <a:pt x="24" y="9"/>
                    <a:pt x="24" y="19"/>
                  </a:cubicBezTo>
                  <a:cubicBezTo>
                    <a:pt x="24" y="34"/>
                    <a:pt x="24" y="34"/>
                    <a:pt x="24" y="34"/>
                  </a:cubicBezTo>
                  <a:cubicBezTo>
                    <a:pt x="23" y="34"/>
                    <a:pt x="23" y="34"/>
                    <a:pt x="23" y="34"/>
                  </a:cubicBezTo>
                  <a:cubicBezTo>
                    <a:pt x="0" y="34"/>
                    <a:pt x="0" y="51"/>
                    <a:pt x="0" y="57"/>
                  </a:cubicBezTo>
                  <a:cubicBezTo>
                    <a:pt x="0" y="241"/>
                    <a:pt x="0" y="241"/>
                    <a:pt x="0" y="241"/>
                  </a:cubicBezTo>
                  <a:cubicBezTo>
                    <a:pt x="0" y="246"/>
                    <a:pt x="0" y="264"/>
                    <a:pt x="23" y="264"/>
                  </a:cubicBezTo>
                  <a:cubicBezTo>
                    <a:pt x="223" y="264"/>
                    <a:pt x="223" y="264"/>
                    <a:pt x="223" y="264"/>
                  </a:cubicBezTo>
                  <a:cubicBezTo>
                    <a:pt x="246" y="264"/>
                    <a:pt x="246" y="246"/>
                    <a:pt x="246" y="241"/>
                  </a:cubicBezTo>
                  <a:cubicBezTo>
                    <a:pt x="246" y="57"/>
                    <a:pt x="246" y="57"/>
                    <a:pt x="246" y="57"/>
                  </a:cubicBezTo>
                  <a:cubicBezTo>
                    <a:pt x="246" y="51"/>
                    <a:pt x="246" y="34"/>
                    <a:pt x="223" y="34"/>
                  </a:cubicBezTo>
                  <a:close/>
                  <a:moveTo>
                    <a:pt x="203" y="231"/>
                  </a:moveTo>
                  <a:cubicBezTo>
                    <a:pt x="43" y="231"/>
                    <a:pt x="43" y="231"/>
                    <a:pt x="43" y="231"/>
                  </a:cubicBezTo>
                  <a:cubicBezTo>
                    <a:pt x="38" y="231"/>
                    <a:pt x="33" y="226"/>
                    <a:pt x="33" y="221"/>
                  </a:cubicBezTo>
                  <a:cubicBezTo>
                    <a:pt x="33" y="77"/>
                    <a:pt x="33" y="77"/>
                    <a:pt x="33" y="77"/>
                  </a:cubicBezTo>
                  <a:cubicBezTo>
                    <a:pt x="35" y="78"/>
                    <a:pt x="37" y="78"/>
                    <a:pt x="40" y="78"/>
                  </a:cubicBezTo>
                  <a:cubicBezTo>
                    <a:pt x="46" y="78"/>
                    <a:pt x="52" y="74"/>
                    <a:pt x="54" y="67"/>
                  </a:cubicBezTo>
                  <a:cubicBezTo>
                    <a:pt x="81" y="67"/>
                    <a:pt x="81" y="67"/>
                    <a:pt x="81" y="67"/>
                  </a:cubicBezTo>
                  <a:cubicBezTo>
                    <a:pt x="84" y="74"/>
                    <a:pt x="89" y="78"/>
                    <a:pt x="96" y="78"/>
                  </a:cubicBezTo>
                  <a:cubicBezTo>
                    <a:pt x="102" y="78"/>
                    <a:pt x="107" y="74"/>
                    <a:pt x="110" y="67"/>
                  </a:cubicBezTo>
                  <a:cubicBezTo>
                    <a:pt x="137" y="67"/>
                    <a:pt x="137" y="67"/>
                    <a:pt x="137" y="67"/>
                  </a:cubicBezTo>
                  <a:cubicBezTo>
                    <a:pt x="140" y="74"/>
                    <a:pt x="145" y="78"/>
                    <a:pt x="151" y="78"/>
                  </a:cubicBezTo>
                  <a:cubicBezTo>
                    <a:pt x="158" y="78"/>
                    <a:pt x="163" y="74"/>
                    <a:pt x="166" y="67"/>
                  </a:cubicBezTo>
                  <a:cubicBezTo>
                    <a:pt x="193" y="67"/>
                    <a:pt x="193" y="67"/>
                    <a:pt x="193" y="67"/>
                  </a:cubicBezTo>
                  <a:cubicBezTo>
                    <a:pt x="195" y="74"/>
                    <a:pt x="201" y="78"/>
                    <a:pt x="207" y="78"/>
                  </a:cubicBezTo>
                  <a:cubicBezTo>
                    <a:pt x="209" y="78"/>
                    <a:pt x="211" y="78"/>
                    <a:pt x="213" y="77"/>
                  </a:cubicBezTo>
                  <a:cubicBezTo>
                    <a:pt x="213" y="221"/>
                    <a:pt x="213" y="221"/>
                    <a:pt x="213" y="221"/>
                  </a:cubicBezTo>
                  <a:cubicBezTo>
                    <a:pt x="213" y="226"/>
                    <a:pt x="208" y="231"/>
                    <a:pt x="203" y="2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6" name="Group 5">
              <a:extLst>
                <a:ext uri="{FF2B5EF4-FFF2-40B4-BE49-F238E27FC236}">
                  <a16:creationId xmlns:a16="http://schemas.microsoft.com/office/drawing/2014/main" xmlns="" id="{34A9388F-BB77-4A0F-98DD-98DCB13671F6}"/>
                </a:ext>
              </a:extLst>
            </p:cNvPr>
            <p:cNvGrpSpPr/>
            <p:nvPr/>
          </p:nvGrpSpPr>
          <p:grpSpPr>
            <a:xfrm>
              <a:off x="4225535" y="1950438"/>
              <a:ext cx="838341" cy="726792"/>
              <a:chOff x="5685016" y="1951463"/>
              <a:chExt cx="838341" cy="726792"/>
            </a:xfrm>
            <a:grpFill/>
          </p:grpSpPr>
          <p:grpSp>
            <p:nvGrpSpPr>
              <p:cNvPr id="7" name="Group 6">
                <a:extLst>
                  <a:ext uri="{FF2B5EF4-FFF2-40B4-BE49-F238E27FC236}">
                    <a16:creationId xmlns:a16="http://schemas.microsoft.com/office/drawing/2014/main" xmlns="" id="{06F521A0-87C1-42CF-A0D6-0F47CB831137}"/>
                  </a:ext>
                </a:extLst>
              </p:cNvPr>
              <p:cNvGrpSpPr/>
              <p:nvPr/>
            </p:nvGrpSpPr>
            <p:grpSpPr>
              <a:xfrm>
                <a:off x="5707510" y="2165235"/>
                <a:ext cx="245615" cy="390249"/>
                <a:chOff x="2811463" y="2910700"/>
                <a:chExt cx="201613" cy="252412"/>
              </a:xfrm>
              <a:grpFill/>
            </p:grpSpPr>
            <p:sp>
              <p:nvSpPr>
                <p:cNvPr id="14" name="Rectangle 399">
                  <a:extLst>
                    <a:ext uri="{FF2B5EF4-FFF2-40B4-BE49-F238E27FC236}">
                      <a16:creationId xmlns:a16="http://schemas.microsoft.com/office/drawing/2014/main" xmlns="" id="{0F25BF95-2488-487E-AA9B-04DA66AF1BE4}"/>
                    </a:ext>
                  </a:extLst>
                </p:cNvPr>
                <p:cNvSpPr>
                  <a:spLocks noChangeArrowheads="1"/>
                </p:cNvSpPr>
                <p:nvPr/>
              </p:nvSpPr>
              <p:spPr bwMode="auto">
                <a:xfrm>
                  <a:off x="2811463" y="2910700"/>
                  <a:ext cx="201613"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Rectangle 400">
                  <a:extLst>
                    <a:ext uri="{FF2B5EF4-FFF2-40B4-BE49-F238E27FC236}">
                      <a16:creationId xmlns:a16="http://schemas.microsoft.com/office/drawing/2014/main" xmlns="" id="{F6FD9206-FBEA-477E-B31E-B73AF61150B8}"/>
                    </a:ext>
                  </a:extLst>
                </p:cNvPr>
                <p:cNvSpPr>
                  <a:spLocks noChangeArrowheads="1"/>
                </p:cNvSpPr>
                <p:nvPr/>
              </p:nvSpPr>
              <p:spPr bwMode="auto">
                <a:xfrm>
                  <a:off x="2811463" y="2985312"/>
                  <a:ext cx="201613"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Rectangle 401">
                  <a:extLst>
                    <a:ext uri="{FF2B5EF4-FFF2-40B4-BE49-F238E27FC236}">
                      <a16:creationId xmlns:a16="http://schemas.microsoft.com/office/drawing/2014/main" xmlns="" id="{2B79C2FF-5B57-4E7A-BE7D-B018A3CF5597}"/>
                    </a:ext>
                  </a:extLst>
                </p:cNvPr>
                <p:cNvSpPr>
                  <a:spLocks noChangeArrowheads="1"/>
                </p:cNvSpPr>
                <p:nvPr/>
              </p:nvSpPr>
              <p:spPr bwMode="auto">
                <a:xfrm>
                  <a:off x="2811463" y="3059925"/>
                  <a:ext cx="201613"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Rectangle 402">
                  <a:extLst>
                    <a:ext uri="{FF2B5EF4-FFF2-40B4-BE49-F238E27FC236}">
                      <a16:creationId xmlns:a16="http://schemas.microsoft.com/office/drawing/2014/main" xmlns="" id="{B3C4A822-9FDE-44ED-ADCB-F683CDA7FAD8}"/>
                    </a:ext>
                  </a:extLst>
                </p:cNvPr>
                <p:cNvSpPr>
                  <a:spLocks noChangeArrowheads="1"/>
                </p:cNvSpPr>
                <p:nvPr/>
              </p:nvSpPr>
              <p:spPr bwMode="auto">
                <a:xfrm>
                  <a:off x="2811463" y="3134537"/>
                  <a:ext cx="201613" cy="285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0" name="Group 9">
                <a:extLst>
                  <a:ext uri="{FF2B5EF4-FFF2-40B4-BE49-F238E27FC236}">
                    <a16:creationId xmlns:a16="http://schemas.microsoft.com/office/drawing/2014/main" xmlns="" id="{798A6A08-9E7F-4948-BB38-9001D2D088E7}"/>
                  </a:ext>
                </a:extLst>
              </p:cNvPr>
              <p:cNvGrpSpPr/>
              <p:nvPr/>
            </p:nvGrpSpPr>
            <p:grpSpPr>
              <a:xfrm>
                <a:off x="5685016" y="1951463"/>
                <a:ext cx="838341" cy="726792"/>
                <a:chOff x="5592148" y="1946821"/>
                <a:chExt cx="838341" cy="726792"/>
              </a:xfrm>
              <a:grpFill/>
            </p:grpSpPr>
            <p:sp>
              <p:nvSpPr>
                <p:cNvPr id="11" name="Freeform 454">
                  <a:extLst>
                    <a:ext uri="{FF2B5EF4-FFF2-40B4-BE49-F238E27FC236}">
                      <a16:creationId xmlns:a16="http://schemas.microsoft.com/office/drawing/2014/main" xmlns="" id="{B3AA5A90-8713-4C38-96ED-96529CC7213D}"/>
                    </a:ext>
                  </a:extLst>
                </p:cNvPr>
                <p:cNvSpPr>
                  <a:spLocks/>
                </p:cNvSpPr>
                <p:nvPr/>
              </p:nvSpPr>
              <p:spPr bwMode="auto">
                <a:xfrm>
                  <a:off x="6188805" y="2004289"/>
                  <a:ext cx="173710" cy="158881"/>
                </a:xfrm>
                <a:custGeom>
                  <a:avLst/>
                  <a:gdLst>
                    <a:gd name="T0" fmla="*/ 0 w 46"/>
                    <a:gd name="T1" fmla="*/ 22 h 47"/>
                    <a:gd name="T2" fmla="*/ 25 w 46"/>
                    <a:gd name="T3" fmla="*/ 47 h 47"/>
                    <a:gd name="T4" fmla="*/ 46 w 46"/>
                    <a:gd name="T5" fmla="*/ 26 h 47"/>
                    <a:gd name="T6" fmla="*/ 21 w 46"/>
                    <a:gd name="T7" fmla="*/ 0 h 47"/>
                    <a:gd name="T8" fmla="*/ 0 w 46"/>
                    <a:gd name="T9" fmla="*/ 22 h 47"/>
                  </a:gdLst>
                  <a:ahLst/>
                  <a:cxnLst>
                    <a:cxn ang="0">
                      <a:pos x="T0" y="T1"/>
                    </a:cxn>
                    <a:cxn ang="0">
                      <a:pos x="T2" y="T3"/>
                    </a:cxn>
                    <a:cxn ang="0">
                      <a:pos x="T4" y="T5"/>
                    </a:cxn>
                    <a:cxn ang="0">
                      <a:pos x="T6" y="T7"/>
                    </a:cxn>
                    <a:cxn ang="0">
                      <a:pos x="T8" y="T9"/>
                    </a:cxn>
                  </a:cxnLst>
                  <a:rect l="0" t="0" r="r" b="b"/>
                  <a:pathLst>
                    <a:path w="46" h="47">
                      <a:moveTo>
                        <a:pt x="0" y="22"/>
                      </a:moveTo>
                      <a:lnTo>
                        <a:pt x="25" y="47"/>
                      </a:lnTo>
                      <a:lnTo>
                        <a:pt x="46" y="26"/>
                      </a:lnTo>
                      <a:lnTo>
                        <a:pt x="21" y="0"/>
                      </a:lnTo>
                      <a:lnTo>
                        <a:pt x="0"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Freeform 455">
                  <a:extLst>
                    <a:ext uri="{FF2B5EF4-FFF2-40B4-BE49-F238E27FC236}">
                      <a16:creationId xmlns:a16="http://schemas.microsoft.com/office/drawing/2014/main" xmlns="" id="{0596F477-D39D-4CBB-833D-72447B4A1FFE}"/>
                    </a:ext>
                  </a:extLst>
                </p:cNvPr>
                <p:cNvSpPr>
                  <a:spLocks/>
                </p:cNvSpPr>
                <p:nvPr/>
              </p:nvSpPr>
              <p:spPr bwMode="auto">
                <a:xfrm>
                  <a:off x="6286989" y="1946821"/>
                  <a:ext cx="143500" cy="128456"/>
                </a:xfrm>
                <a:custGeom>
                  <a:avLst/>
                  <a:gdLst>
                    <a:gd name="T0" fmla="*/ 41 w 44"/>
                    <a:gd name="T1" fmla="*/ 22 h 44"/>
                    <a:gd name="T2" fmla="*/ 22 w 44"/>
                    <a:gd name="T3" fmla="*/ 3 h 44"/>
                    <a:gd name="T4" fmla="*/ 11 w 44"/>
                    <a:gd name="T5" fmla="*/ 3 h 44"/>
                    <a:gd name="T6" fmla="*/ 0 w 44"/>
                    <a:gd name="T7" fmla="*/ 15 h 44"/>
                    <a:gd name="T8" fmla="*/ 29 w 44"/>
                    <a:gd name="T9" fmla="*/ 44 h 44"/>
                    <a:gd name="T10" fmla="*/ 41 w 44"/>
                    <a:gd name="T11" fmla="*/ 32 h 44"/>
                    <a:gd name="T12" fmla="*/ 41 w 44"/>
                    <a:gd name="T13" fmla="*/ 22 h 44"/>
                  </a:gdLst>
                  <a:ahLst/>
                  <a:cxnLst>
                    <a:cxn ang="0">
                      <a:pos x="T0" y="T1"/>
                    </a:cxn>
                    <a:cxn ang="0">
                      <a:pos x="T2" y="T3"/>
                    </a:cxn>
                    <a:cxn ang="0">
                      <a:pos x="T4" y="T5"/>
                    </a:cxn>
                    <a:cxn ang="0">
                      <a:pos x="T6" y="T7"/>
                    </a:cxn>
                    <a:cxn ang="0">
                      <a:pos x="T8" y="T9"/>
                    </a:cxn>
                    <a:cxn ang="0">
                      <a:pos x="T10" y="T11"/>
                    </a:cxn>
                    <a:cxn ang="0">
                      <a:pos x="T12" y="T13"/>
                    </a:cxn>
                  </a:cxnLst>
                  <a:rect l="0" t="0" r="r" b="b"/>
                  <a:pathLst>
                    <a:path w="44" h="44">
                      <a:moveTo>
                        <a:pt x="41" y="22"/>
                      </a:moveTo>
                      <a:cubicBezTo>
                        <a:pt x="22" y="3"/>
                        <a:pt x="22" y="3"/>
                        <a:pt x="22" y="3"/>
                      </a:cubicBezTo>
                      <a:cubicBezTo>
                        <a:pt x="19" y="0"/>
                        <a:pt x="14" y="0"/>
                        <a:pt x="11" y="3"/>
                      </a:cubicBezTo>
                      <a:cubicBezTo>
                        <a:pt x="0" y="15"/>
                        <a:pt x="0" y="15"/>
                        <a:pt x="0" y="15"/>
                      </a:cubicBezTo>
                      <a:cubicBezTo>
                        <a:pt x="29" y="44"/>
                        <a:pt x="29" y="44"/>
                        <a:pt x="29" y="44"/>
                      </a:cubicBezTo>
                      <a:cubicBezTo>
                        <a:pt x="41" y="32"/>
                        <a:pt x="41" y="32"/>
                        <a:pt x="41" y="32"/>
                      </a:cubicBezTo>
                      <a:cubicBezTo>
                        <a:pt x="44" y="29"/>
                        <a:pt x="44" y="25"/>
                        <a:pt x="41"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Freeform 456">
                  <a:extLst>
                    <a:ext uri="{FF2B5EF4-FFF2-40B4-BE49-F238E27FC236}">
                      <a16:creationId xmlns:a16="http://schemas.microsoft.com/office/drawing/2014/main" xmlns="" id="{E5A0D563-4D2B-43D3-95F3-AD35241F5AFB}"/>
                    </a:ext>
                  </a:extLst>
                </p:cNvPr>
                <p:cNvSpPr>
                  <a:spLocks noEditPoints="1"/>
                </p:cNvSpPr>
                <p:nvPr/>
              </p:nvSpPr>
              <p:spPr bwMode="auto">
                <a:xfrm>
                  <a:off x="5592148" y="2051615"/>
                  <a:ext cx="668408" cy="621998"/>
                </a:xfrm>
                <a:custGeom>
                  <a:avLst/>
                  <a:gdLst>
                    <a:gd name="T0" fmla="*/ 152 w 177"/>
                    <a:gd name="T1" fmla="*/ 11 h 184"/>
                    <a:gd name="T2" fmla="*/ 139 w 177"/>
                    <a:gd name="T3" fmla="*/ 24 h 184"/>
                    <a:gd name="T4" fmla="*/ 139 w 177"/>
                    <a:gd name="T5" fmla="*/ 0 h 184"/>
                    <a:gd name="T6" fmla="*/ 0 w 177"/>
                    <a:gd name="T7" fmla="*/ 0 h 184"/>
                    <a:gd name="T8" fmla="*/ 0 w 177"/>
                    <a:gd name="T9" fmla="*/ 184 h 184"/>
                    <a:gd name="T10" fmla="*/ 139 w 177"/>
                    <a:gd name="T11" fmla="*/ 184 h 184"/>
                    <a:gd name="T12" fmla="*/ 139 w 177"/>
                    <a:gd name="T13" fmla="*/ 75 h 184"/>
                    <a:gd name="T14" fmla="*/ 177 w 177"/>
                    <a:gd name="T15" fmla="*/ 37 h 184"/>
                    <a:gd name="T16" fmla="*/ 152 w 177"/>
                    <a:gd name="T17" fmla="*/ 11 h 184"/>
                    <a:gd name="T18" fmla="*/ 14 w 177"/>
                    <a:gd name="T19" fmla="*/ 170 h 184"/>
                    <a:gd name="T20" fmla="*/ 14 w 177"/>
                    <a:gd name="T21" fmla="*/ 14 h 184"/>
                    <a:gd name="T22" fmla="*/ 125 w 177"/>
                    <a:gd name="T23" fmla="*/ 14 h 184"/>
                    <a:gd name="T24" fmla="*/ 125 w 177"/>
                    <a:gd name="T25" fmla="*/ 38 h 184"/>
                    <a:gd name="T26" fmla="*/ 100 w 177"/>
                    <a:gd name="T27" fmla="*/ 63 h 184"/>
                    <a:gd name="T28" fmla="*/ 68 w 177"/>
                    <a:gd name="T29" fmla="*/ 119 h 184"/>
                    <a:gd name="T30" fmla="*/ 70 w 177"/>
                    <a:gd name="T31" fmla="*/ 121 h 184"/>
                    <a:gd name="T32" fmla="*/ 125 w 177"/>
                    <a:gd name="T33" fmla="*/ 89 h 184"/>
                    <a:gd name="T34" fmla="*/ 125 w 177"/>
                    <a:gd name="T35" fmla="*/ 170 h 184"/>
                    <a:gd name="T36" fmla="*/ 14 w 177"/>
                    <a:gd name="T37" fmla="*/ 170 h 184"/>
                    <a:gd name="T38" fmla="*/ 121 w 177"/>
                    <a:gd name="T39" fmla="*/ 84 h 184"/>
                    <a:gd name="T40" fmla="*/ 90 w 177"/>
                    <a:gd name="T41" fmla="*/ 103 h 184"/>
                    <a:gd name="T42" fmla="*/ 85 w 177"/>
                    <a:gd name="T43" fmla="*/ 101 h 184"/>
                    <a:gd name="T44" fmla="*/ 104 w 177"/>
                    <a:gd name="T45" fmla="*/ 67 h 184"/>
                    <a:gd name="T46" fmla="*/ 108 w 177"/>
                    <a:gd name="T47" fmla="*/ 74 h 184"/>
                    <a:gd name="T48" fmla="*/ 119 w 177"/>
                    <a:gd name="T49" fmla="*/ 70 h 184"/>
                    <a:gd name="T50" fmla="*/ 114 w 177"/>
                    <a:gd name="T51" fmla="*/ 82 h 184"/>
                    <a:gd name="T52" fmla="*/ 121 w 177"/>
                    <a:gd name="T53" fmla="*/ 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184">
                      <a:moveTo>
                        <a:pt x="152" y="11"/>
                      </a:moveTo>
                      <a:lnTo>
                        <a:pt x="139" y="24"/>
                      </a:lnTo>
                      <a:lnTo>
                        <a:pt x="139" y="0"/>
                      </a:lnTo>
                      <a:lnTo>
                        <a:pt x="0" y="0"/>
                      </a:lnTo>
                      <a:lnTo>
                        <a:pt x="0" y="184"/>
                      </a:lnTo>
                      <a:lnTo>
                        <a:pt x="139" y="184"/>
                      </a:lnTo>
                      <a:lnTo>
                        <a:pt x="139" y="75"/>
                      </a:lnTo>
                      <a:lnTo>
                        <a:pt x="177" y="37"/>
                      </a:lnTo>
                      <a:lnTo>
                        <a:pt x="152" y="11"/>
                      </a:lnTo>
                      <a:close/>
                      <a:moveTo>
                        <a:pt x="14" y="170"/>
                      </a:moveTo>
                      <a:lnTo>
                        <a:pt x="14" y="14"/>
                      </a:lnTo>
                      <a:lnTo>
                        <a:pt x="125" y="14"/>
                      </a:lnTo>
                      <a:lnTo>
                        <a:pt x="125" y="38"/>
                      </a:lnTo>
                      <a:lnTo>
                        <a:pt x="100" y="63"/>
                      </a:lnTo>
                      <a:lnTo>
                        <a:pt x="68" y="119"/>
                      </a:lnTo>
                      <a:lnTo>
                        <a:pt x="70" y="121"/>
                      </a:lnTo>
                      <a:lnTo>
                        <a:pt x="125" y="89"/>
                      </a:lnTo>
                      <a:lnTo>
                        <a:pt x="125" y="170"/>
                      </a:lnTo>
                      <a:lnTo>
                        <a:pt x="14" y="170"/>
                      </a:lnTo>
                      <a:close/>
                      <a:moveTo>
                        <a:pt x="121" y="84"/>
                      </a:moveTo>
                      <a:lnTo>
                        <a:pt x="90" y="103"/>
                      </a:lnTo>
                      <a:lnTo>
                        <a:pt x="85" y="101"/>
                      </a:lnTo>
                      <a:lnTo>
                        <a:pt x="104" y="67"/>
                      </a:lnTo>
                      <a:lnTo>
                        <a:pt x="108" y="74"/>
                      </a:lnTo>
                      <a:lnTo>
                        <a:pt x="119" y="70"/>
                      </a:lnTo>
                      <a:lnTo>
                        <a:pt x="114" y="82"/>
                      </a:lnTo>
                      <a:lnTo>
                        <a:pt x="121" y="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sp>
        <p:nvSpPr>
          <p:cNvPr id="19" name="Rectangle 18">
            <a:extLst>
              <a:ext uri="{FF2B5EF4-FFF2-40B4-BE49-F238E27FC236}">
                <a16:creationId xmlns:a16="http://schemas.microsoft.com/office/drawing/2014/main" xmlns="" id="{BE08F419-BA1C-4BBC-A20D-4C4F8967A1FF}"/>
              </a:ext>
            </a:extLst>
          </p:cNvPr>
          <p:cNvSpPr/>
          <p:nvPr/>
        </p:nvSpPr>
        <p:spPr>
          <a:xfrm>
            <a:off x="1004018" y="2429394"/>
            <a:ext cx="6332478" cy="454003"/>
          </a:xfrm>
          <a:prstGeom prst="rect">
            <a:avLst/>
          </a:prstGeom>
          <a:solidFill>
            <a:srgbClr val="FFF4D5"/>
          </a:solidFill>
          <a:ln w="9525">
            <a:noFill/>
          </a:ln>
          <a:effectLst/>
        </p:spPr>
        <p:style>
          <a:lnRef idx="1">
            <a:schemeClr val="accent1"/>
          </a:lnRef>
          <a:fillRef idx="3">
            <a:schemeClr val="accent1"/>
          </a:fillRef>
          <a:effectRef idx="2">
            <a:schemeClr val="accent1"/>
          </a:effectRef>
          <a:fontRef idx="minor">
            <a:schemeClr val="lt1"/>
          </a:fontRef>
        </p:style>
        <p:txBody>
          <a:bodyPr lIns="144000" tIns="72000" rIns="72000" bIns="72000" rtlCol="0" anchor="ctr"/>
          <a:lstStyle/>
          <a:p>
            <a:r>
              <a:rPr lang="en-US" sz="2000" dirty="0">
                <a:solidFill>
                  <a:schemeClr val="tx1"/>
                </a:solidFill>
                <a:latin typeface="+mj-lt"/>
                <a:cs typeface="Arial" panose="020B0604020202020204" pitchFamily="34" charset="0"/>
              </a:rPr>
              <a:t>Performance Testing Process</a:t>
            </a:r>
          </a:p>
        </p:txBody>
      </p:sp>
      <p:sp>
        <p:nvSpPr>
          <p:cNvPr id="20" name="Rectangle 19">
            <a:extLst>
              <a:ext uri="{FF2B5EF4-FFF2-40B4-BE49-F238E27FC236}">
                <a16:creationId xmlns:a16="http://schemas.microsoft.com/office/drawing/2014/main" xmlns="" id="{B4E3702D-2436-4AA2-B2AE-AF5C7FDCD988}"/>
              </a:ext>
            </a:extLst>
          </p:cNvPr>
          <p:cNvSpPr/>
          <p:nvPr/>
        </p:nvSpPr>
        <p:spPr>
          <a:xfrm>
            <a:off x="1016738" y="1877012"/>
            <a:ext cx="6332478" cy="454003"/>
          </a:xfrm>
          <a:prstGeom prst="rect">
            <a:avLst/>
          </a:prstGeom>
          <a:solidFill>
            <a:srgbClr val="FFF4D5"/>
          </a:solidFill>
          <a:ln w="9525">
            <a:noFill/>
          </a:ln>
          <a:effectLst/>
        </p:spPr>
        <p:style>
          <a:lnRef idx="1">
            <a:schemeClr val="accent1"/>
          </a:lnRef>
          <a:fillRef idx="3">
            <a:schemeClr val="accent1"/>
          </a:fillRef>
          <a:effectRef idx="2">
            <a:schemeClr val="accent1"/>
          </a:effectRef>
          <a:fontRef idx="minor">
            <a:schemeClr val="lt1"/>
          </a:fontRef>
        </p:style>
        <p:txBody>
          <a:bodyPr lIns="144000" tIns="72000" rIns="72000" bIns="72000" rtlCol="0" anchor="ctr"/>
          <a:lstStyle/>
          <a:p>
            <a:r>
              <a:rPr lang="en-US" sz="2000" dirty="0">
                <a:solidFill>
                  <a:schemeClr val="tx1"/>
                </a:solidFill>
                <a:latin typeface="+mj-lt"/>
                <a:cs typeface="Arial" panose="020B0604020202020204" pitchFamily="34" charset="0"/>
              </a:rPr>
              <a:t>Performance Testing Approach</a:t>
            </a:r>
          </a:p>
        </p:txBody>
      </p:sp>
      <p:sp>
        <p:nvSpPr>
          <p:cNvPr id="21" name="Rectangle 20">
            <a:extLst>
              <a:ext uri="{FF2B5EF4-FFF2-40B4-BE49-F238E27FC236}">
                <a16:creationId xmlns:a16="http://schemas.microsoft.com/office/drawing/2014/main" xmlns="" id="{5B6D0D4E-89DC-4CE7-9D88-CA4BC3C90A02}"/>
              </a:ext>
            </a:extLst>
          </p:cNvPr>
          <p:cNvSpPr/>
          <p:nvPr/>
        </p:nvSpPr>
        <p:spPr>
          <a:xfrm>
            <a:off x="991299" y="1324630"/>
            <a:ext cx="6332478" cy="454003"/>
          </a:xfrm>
          <a:prstGeom prst="rect">
            <a:avLst/>
          </a:prstGeom>
          <a:solidFill>
            <a:srgbClr val="FFF4D5"/>
          </a:solidFill>
          <a:ln w="9525">
            <a:noFill/>
          </a:ln>
          <a:effectLst/>
        </p:spPr>
        <p:style>
          <a:lnRef idx="1">
            <a:schemeClr val="accent1"/>
          </a:lnRef>
          <a:fillRef idx="3">
            <a:schemeClr val="accent1"/>
          </a:fillRef>
          <a:effectRef idx="2">
            <a:schemeClr val="accent1"/>
          </a:effectRef>
          <a:fontRef idx="minor">
            <a:schemeClr val="lt1"/>
          </a:fontRef>
        </p:style>
        <p:txBody>
          <a:bodyPr lIns="144000" tIns="72000" rIns="72000" bIns="72000" rtlCol="0" anchor="ctr"/>
          <a:lstStyle/>
          <a:p>
            <a:r>
              <a:rPr lang="en-US" sz="2000" dirty="0">
                <a:solidFill>
                  <a:schemeClr val="tx1"/>
                </a:solidFill>
                <a:latin typeface="+mj-lt"/>
                <a:cs typeface="Arial" panose="020B0604020202020204" pitchFamily="34" charset="0"/>
              </a:rPr>
              <a:t>Performance Testing Solution - GIB Retail</a:t>
            </a:r>
          </a:p>
        </p:txBody>
      </p:sp>
      <p:sp>
        <p:nvSpPr>
          <p:cNvPr id="22" name="Rectangle 21">
            <a:extLst>
              <a:ext uri="{FF2B5EF4-FFF2-40B4-BE49-F238E27FC236}">
                <a16:creationId xmlns:a16="http://schemas.microsoft.com/office/drawing/2014/main" xmlns="" id="{AA51319C-37D1-463E-BCBB-ECEC1DFF1A37}"/>
              </a:ext>
            </a:extLst>
          </p:cNvPr>
          <p:cNvSpPr/>
          <p:nvPr/>
        </p:nvSpPr>
        <p:spPr>
          <a:xfrm>
            <a:off x="997659" y="2981776"/>
            <a:ext cx="6332478" cy="454003"/>
          </a:xfrm>
          <a:prstGeom prst="rect">
            <a:avLst/>
          </a:prstGeom>
          <a:solidFill>
            <a:srgbClr val="FFF4D5"/>
          </a:solidFill>
          <a:ln w="9525">
            <a:noFill/>
          </a:ln>
          <a:effectLst/>
        </p:spPr>
        <p:style>
          <a:lnRef idx="1">
            <a:schemeClr val="accent1"/>
          </a:lnRef>
          <a:fillRef idx="3">
            <a:schemeClr val="accent1"/>
          </a:fillRef>
          <a:effectRef idx="2">
            <a:schemeClr val="accent1"/>
          </a:effectRef>
          <a:fontRef idx="minor">
            <a:schemeClr val="lt1"/>
          </a:fontRef>
        </p:style>
        <p:txBody>
          <a:bodyPr lIns="144000" tIns="72000" rIns="72000" bIns="72000" rtlCol="0" anchor="ctr"/>
          <a:lstStyle/>
          <a:p>
            <a:r>
              <a:rPr lang="en-US" sz="2000" dirty="0">
                <a:solidFill>
                  <a:schemeClr val="tx1"/>
                </a:solidFill>
                <a:latin typeface="+mj-lt"/>
                <a:cs typeface="Arial" panose="020B0604020202020204" pitchFamily="34" charset="0"/>
              </a:rPr>
              <a:t>Project Timeline</a:t>
            </a:r>
          </a:p>
        </p:txBody>
      </p:sp>
      <p:sp>
        <p:nvSpPr>
          <p:cNvPr id="23" name="Rectangle 22">
            <a:extLst>
              <a:ext uri="{FF2B5EF4-FFF2-40B4-BE49-F238E27FC236}">
                <a16:creationId xmlns:a16="http://schemas.microsoft.com/office/drawing/2014/main" xmlns="" id="{AA51319C-37D1-463E-BCBB-ECEC1DFF1A37}"/>
              </a:ext>
            </a:extLst>
          </p:cNvPr>
          <p:cNvSpPr/>
          <p:nvPr/>
        </p:nvSpPr>
        <p:spPr>
          <a:xfrm>
            <a:off x="1023098" y="3534158"/>
            <a:ext cx="6332478" cy="454003"/>
          </a:xfrm>
          <a:prstGeom prst="rect">
            <a:avLst/>
          </a:prstGeom>
          <a:solidFill>
            <a:srgbClr val="FFF4D5"/>
          </a:solidFill>
          <a:ln w="9525">
            <a:noFill/>
          </a:ln>
          <a:effectLst/>
        </p:spPr>
        <p:style>
          <a:lnRef idx="1">
            <a:schemeClr val="accent1"/>
          </a:lnRef>
          <a:fillRef idx="3">
            <a:schemeClr val="accent1"/>
          </a:fillRef>
          <a:effectRef idx="2">
            <a:schemeClr val="accent1"/>
          </a:effectRef>
          <a:fontRef idx="minor">
            <a:schemeClr val="lt1"/>
          </a:fontRef>
        </p:style>
        <p:txBody>
          <a:bodyPr lIns="144000" tIns="72000" rIns="72000" bIns="72000" rtlCol="0" anchor="ctr"/>
          <a:lstStyle/>
          <a:p>
            <a:r>
              <a:rPr lang="en-US" sz="2000" dirty="0">
                <a:solidFill>
                  <a:schemeClr val="tx1"/>
                </a:solidFill>
                <a:latin typeface="+mj-lt"/>
                <a:cs typeface="Arial" panose="020B0604020202020204" pitchFamily="34" charset="0"/>
              </a:rPr>
              <a:t>Sprint Wise User Stories and Deliverables</a:t>
            </a:r>
          </a:p>
        </p:txBody>
      </p:sp>
      <p:sp>
        <p:nvSpPr>
          <p:cNvPr id="24" name="Rectangle 23">
            <a:extLst>
              <a:ext uri="{FF2B5EF4-FFF2-40B4-BE49-F238E27FC236}">
                <a16:creationId xmlns:a16="http://schemas.microsoft.com/office/drawing/2014/main" xmlns="" id="{AA51319C-37D1-463E-BCBB-ECEC1DFF1A37}"/>
              </a:ext>
            </a:extLst>
          </p:cNvPr>
          <p:cNvSpPr/>
          <p:nvPr/>
        </p:nvSpPr>
        <p:spPr>
          <a:xfrm>
            <a:off x="1035818" y="4086540"/>
            <a:ext cx="6332478" cy="454003"/>
          </a:xfrm>
          <a:prstGeom prst="rect">
            <a:avLst/>
          </a:prstGeom>
          <a:solidFill>
            <a:srgbClr val="FFF4D5"/>
          </a:solidFill>
          <a:ln w="9525">
            <a:noFill/>
          </a:ln>
          <a:effectLst/>
        </p:spPr>
        <p:style>
          <a:lnRef idx="1">
            <a:schemeClr val="accent1"/>
          </a:lnRef>
          <a:fillRef idx="3">
            <a:schemeClr val="accent1"/>
          </a:fillRef>
          <a:effectRef idx="2">
            <a:schemeClr val="accent1"/>
          </a:effectRef>
          <a:fontRef idx="minor">
            <a:schemeClr val="lt1"/>
          </a:fontRef>
        </p:style>
        <p:txBody>
          <a:bodyPr lIns="144000" tIns="72000" rIns="72000" bIns="72000" rtlCol="0" anchor="ctr"/>
          <a:lstStyle/>
          <a:p>
            <a:r>
              <a:rPr lang="en-US" sz="2000" dirty="0">
                <a:solidFill>
                  <a:schemeClr val="tx1"/>
                </a:solidFill>
                <a:latin typeface="+mj-lt"/>
                <a:cs typeface="Arial" panose="020B0604020202020204" pitchFamily="34" charset="0"/>
              </a:rPr>
              <a:t>Performance Testing Tool Comparison</a:t>
            </a:r>
          </a:p>
        </p:txBody>
      </p:sp>
      <p:sp>
        <p:nvSpPr>
          <p:cNvPr id="25" name="Rectangle 24">
            <a:extLst>
              <a:ext uri="{FF2B5EF4-FFF2-40B4-BE49-F238E27FC236}">
                <a16:creationId xmlns:a16="http://schemas.microsoft.com/office/drawing/2014/main" xmlns="" id="{AA51319C-37D1-463E-BCBB-ECEC1DFF1A37}"/>
              </a:ext>
            </a:extLst>
          </p:cNvPr>
          <p:cNvSpPr/>
          <p:nvPr/>
        </p:nvSpPr>
        <p:spPr>
          <a:xfrm>
            <a:off x="1010378" y="4638922"/>
            <a:ext cx="6332478" cy="454003"/>
          </a:xfrm>
          <a:prstGeom prst="rect">
            <a:avLst/>
          </a:prstGeom>
          <a:solidFill>
            <a:srgbClr val="FFF4D5"/>
          </a:solidFill>
          <a:ln w="9525">
            <a:noFill/>
          </a:ln>
          <a:effectLst/>
        </p:spPr>
        <p:style>
          <a:lnRef idx="1">
            <a:schemeClr val="accent1"/>
          </a:lnRef>
          <a:fillRef idx="3">
            <a:schemeClr val="accent1"/>
          </a:fillRef>
          <a:effectRef idx="2">
            <a:schemeClr val="accent1"/>
          </a:effectRef>
          <a:fontRef idx="minor">
            <a:schemeClr val="lt1"/>
          </a:fontRef>
        </p:style>
        <p:txBody>
          <a:bodyPr lIns="144000" tIns="72000" rIns="72000" bIns="72000" rtlCol="0" anchor="ctr"/>
          <a:lstStyle/>
          <a:p>
            <a:r>
              <a:rPr lang="en-US" sz="2000" dirty="0">
                <a:solidFill>
                  <a:schemeClr val="tx1"/>
                </a:solidFill>
                <a:latin typeface="+mj-lt"/>
                <a:cs typeface="Arial" panose="020B0604020202020204" pitchFamily="34" charset="0"/>
              </a:rPr>
              <a:t>Project Team Structure</a:t>
            </a:r>
          </a:p>
        </p:txBody>
      </p:sp>
      <p:sp>
        <p:nvSpPr>
          <p:cNvPr id="27" name="Rectangle 26">
            <a:extLst>
              <a:ext uri="{FF2B5EF4-FFF2-40B4-BE49-F238E27FC236}">
                <a16:creationId xmlns:a16="http://schemas.microsoft.com/office/drawing/2014/main" xmlns="" id="{AA51319C-37D1-463E-BCBB-ECEC1DFF1A37}"/>
              </a:ext>
            </a:extLst>
          </p:cNvPr>
          <p:cNvSpPr/>
          <p:nvPr/>
        </p:nvSpPr>
        <p:spPr>
          <a:xfrm>
            <a:off x="1029458" y="5191304"/>
            <a:ext cx="6332478" cy="454003"/>
          </a:xfrm>
          <a:prstGeom prst="rect">
            <a:avLst/>
          </a:prstGeom>
          <a:solidFill>
            <a:srgbClr val="FFF4D5"/>
          </a:solidFill>
          <a:ln w="9525">
            <a:noFill/>
          </a:ln>
          <a:effectLst/>
        </p:spPr>
        <p:style>
          <a:lnRef idx="1">
            <a:schemeClr val="accent1"/>
          </a:lnRef>
          <a:fillRef idx="3">
            <a:schemeClr val="accent1"/>
          </a:fillRef>
          <a:effectRef idx="2">
            <a:schemeClr val="accent1"/>
          </a:effectRef>
          <a:fontRef idx="minor">
            <a:schemeClr val="lt1"/>
          </a:fontRef>
        </p:style>
        <p:txBody>
          <a:bodyPr lIns="144000" tIns="72000" rIns="72000" bIns="72000" rtlCol="0" anchor="ctr"/>
          <a:lstStyle/>
          <a:p>
            <a:r>
              <a:rPr lang="en-US" sz="2000" dirty="0">
                <a:solidFill>
                  <a:schemeClr val="tx1"/>
                </a:solidFill>
                <a:latin typeface="+mj-lt"/>
                <a:cs typeface="Arial" panose="020B0604020202020204" pitchFamily="34" charset="0"/>
              </a:rPr>
              <a:t>Challenges &amp; Assumptions</a:t>
            </a:r>
          </a:p>
        </p:txBody>
      </p:sp>
      <p:sp>
        <p:nvSpPr>
          <p:cNvPr id="26" name="Rectangle 25">
            <a:extLst>
              <a:ext uri="{FF2B5EF4-FFF2-40B4-BE49-F238E27FC236}">
                <a16:creationId xmlns:a16="http://schemas.microsoft.com/office/drawing/2014/main" xmlns="" id="{AA51319C-37D1-463E-BCBB-ECEC1DFF1A37}"/>
              </a:ext>
            </a:extLst>
          </p:cNvPr>
          <p:cNvSpPr/>
          <p:nvPr/>
        </p:nvSpPr>
        <p:spPr>
          <a:xfrm>
            <a:off x="1042175" y="5743685"/>
            <a:ext cx="6332478" cy="454003"/>
          </a:xfrm>
          <a:prstGeom prst="rect">
            <a:avLst/>
          </a:prstGeom>
          <a:solidFill>
            <a:srgbClr val="FFF4D5"/>
          </a:solidFill>
          <a:ln w="9525">
            <a:noFill/>
          </a:ln>
          <a:effectLst/>
        </p:spPr>
        <p:style>
          <a:lnRef idx="1">
            <a:schemeClr val="accent1"/>
          </a:lnRef>
          <a:fillRef idx="3">
            <a:schemeClr val="accent1"/>
          </a:fillRef>
          <a:effectRef idx="2">
            <a:schemeClr val="accent1"/>
          </a:effectRef>
          <a:fontRef idx="minor">
            <a:schemeClr val="lt1"/>
          </a:fontRef>
        </p:style>
        <p:txBody>
          <a:bodyPr lIns="144000" tIns="72000" rIns="72000" bIns="72000" rtlCol="0" anchor="ctr"/>
          <a:lstStyle/>
          <a:p>
            <a:r>
              <a:rPr lang="en-US" sz="2000" dirty="0">
                <a:solidFill>
                  <a:schemeClr val="tx1"/>
                </a:solidFill>
                <a:latin typeface="+mj-lt"/>
                <a:cs typeface="Arial" panose="020B0604020202020204" pitchFamily="34" charset="0"/>
              </a:rPr>
              <a:t>Key Action Points</a:t>
            </a:r>
          </a:p>
        </p:txBody>
      </p:sp>
    </p:spTree>
    <p:extLst>
      <p:ext uri="{BB962C8B-B14F-4D97-AF65-F5344CB8AC3E}">
        <p14:creationId xmlns:p14="http://schemas.microsoft.com/office/powerpoint/2010/main" val="21616654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C637DDC1-E4A1-4DF4-B6AD-879D129EC1B4}"/>
              </a:ext>
            </a:extLst>
          </p:cNvPr>
          <p:cNvSpPr>
            <a:spLocks noGrp="1"/>
          </p:cNvSpPr>
          <p:nvPr>
            <p:ph type="body" sz="quarter" idx="12"/>
          </p:nvPr>
        </p:nvSpPr>
        <p:spPr/>
        <p:txBody>
          <a:bodyPr/>
          <a:lstStyle/>
          <a:p>
            <a:r>
              <a:rPr lang="en-US" dirty="0"/>
              <a:t>Performance Testing Solution - GIB Retail </a:t>
            </a:r>
            <a:endParaRPr lang="en-GB" dirty="0"/>
          </a:p>
        </p:txBody>
      </p:sp>
      <p:grpSp>
        <p:nvGrpSpPr>
          <p:cNvPr id="81" name="Group 80">
            <a:extLst>
              <a:ext uri="{FF2B5EF4-FFF2-40B4-BE49-F238E27FC236}">
                <a16:creationId xmlns:a16="http://schemas.microsoft.com/office/drawing/2014/main" xmlns="" id="{78C53DE2-0BB6-4D53-A7D0-6E906959D0DE}"/>
              </a:ext>
            </a:extLst>
          </p:cNvPr>
          <p:cNvGrpSpPr/>
          <p:nvPr/>
        </p:nvGrpSpPr>
        <p:grpSpPr>
          <a:xfrm>
            <a:off x="856851" y="1316755"/>
            <a:ext cx="10478297" cy="4584304"/>
            <a:chOff x="795292" y="1461000"/>
            <a:chExt cx="10478297" cy="4584304"/>
          </a:xfrm>
        </p:grpSpPr>
        <p:sp>
          <p:nvSpPr>
            <p:cNvPr id="82" name="Rectangle 81">
              <a:extLst>
                <a:ext uri="{FF2B5EF4-FFF2-40B4-BE49-F238E27FC236}">
                  <a16:creationId xmlns:a16="http://schemas.microsoft.com/office/drawing/2014/main" xmlns="" id="{342E9541-FAE3-4781-AAE0-0EC9B57C7299}"/>
                </a:ext>
              </a:extLst>
            </p:cNvPr>
            <p:cNvSpPr/>
            <p:nvPr/>
          </p:nvSpPr>
          <p:spPr>
            <a:xfrm>
              <a:off x="4526242" y="2077798"/>
              <a:ext cx="3799901" cy="872942"/>
            </a:xfrm>
            <a:prstGeom prst="rect">
              <a:avLst/>
            </a:prstGeom>
            <a:solidFill>
              <a:sysClr val="window" lastClr="FFFFFF">
                <a:lumMod val="95000"/>
              </a:sysClr>
            </a:solidFill>
            <a:ln w="9525" cap="flat" cmpd="sng" algn="ctr">
              <a:solidFill>
                <a:sysClr val="window" lastClr="FFFFFF">
                  <a:lumMod val="9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grpSp>
          <p:nvGrpSpPr>
            <p:cNvPr id="83" name="Group 82">
              <a:extLst>
                <a:ext uri="{FF2B5EF4-FFF2-40B4-BE49-F238E27FC236}">
                  <a16:creationId xmlns:a16="http://schemas.microsoft.com/office/drawing/2014/main" xmlns="" id="{ED3B080E-05E4-4B54-BACE-C17D67950B68}"/>
                </a:ext>
              </a:extLst>
            </p:cNvPr>
            <p:cNvGrpSpPr/>
            <p:nvPr/>
          </p:nvGrpSpPr>
          <p:grpSpPr>
            <a:xfrm>
              <a:off x="811007" y="1462915"/>
              <a:ext cx="2573264" cy="1817081"/>
              <a:chOff x="720683" y="1541852"/>
              <a:chExt cx="2533297" cy="898543"/>
            </a:xfrm>
          </p:grpSpPr>
          <p:sp>
            <p:nvSpPr>
              <p:cNvPr id="150" name="Rectangle 149">
                <a:extLst>
                  <a:ext uri="{FF2B5EF4-FFF2-40B4-BE49-F238E27FC236}">
                    <a16:creationId xmlns:a16="http://schemas.microsoft.com/office/drawing/2014/main" xmlns="" id="{53134A88-40C2-405F-9A4C-9C5CF923CA59}"/>
                  </a:ext>
                </a:extLst>
              </p:cNvPr>
              <p:cNvSpPr/>
              <p:nvPr/>
            </p:nvSpPr>
            <p:spPr>
              <a:xfrm>
                <a:off x="720683" y="1541852"/>
                <a:ext cx="2533297" cy="184283"/>
              </a:xfrm>
              <a:prstGeom prst="rect">
                <a:avLst/>
              </a:prstGeom>
              <a:solidFill>
                <a:srgbClr val="234E8F"/>
              </a:solidFill>
              <a:ln w="9525" cap="flat" cmpd="sng" algn="ctr">
                <a:noFill/>
                <a:prstDash val="solid"/>
              </a:ln>
              <a:effectLst/>
            </p:spPr>
            <p:txBody>
              <a:bodyPr lIns="0" tIns="0" rIns="0" bIns="0" rtlCol="0" anchor="ctr" anchorCtr="0">
                <a:noAutofit/>
              </a:bodyP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1300" b="1" i="0" u="none" strike="noStrike" kern="0" cap="none" spc="0" normalizeH="0" baseline="0" noProof="0" dirty="0">
                    <a:ln>
                      <a:noFill/>
                    </a:ln>
                    <a:solidFill>
                      <a:prstClr val="white"/>
                    </a:solidFill>
                    <a:effectLst/>
                    <a:uLnTx/>
                    <a:uFillTx/>
                    <a:latin typeface="Calibri"/>
                    <a:ea typeface="+mn-ea"/>
                    <a:cs typeface="Arial" panose="020B0604020202020204" pitchFamily="34" charset="0"/>
                  </a:rPr>
                  <a:t>Performance Testing Objective</a:t>
                </a:r>
              </a:p>
            </p:txBody>
          </p:sp>
          <p:sp>
            <p:nvSpPr>
              <p:cNvPr id="151" name="Rectangle 150">
                <a:extLst>
                  <a:ext uri="{FF2B5EF4-FFF2-40B4-BE49-F238E27FC236}">
                    <a16:creationId xmlns:a16="http://schemas.microsoft.com/office/drawing/2014/main" xmlns="" id="{2EB7AB19-3607-4485-8450-447B5EE8F22E}"/>
                  </a:ext>
                </a:extLst>
              </p:cNvPr>
              <p:cNvSpPr/>
              <p:nvPr/>
            </p:nvSpPr>
            <p:spPr>
              <a:xfrm>
                <a:off x="720683" y="1722325"/>
                <a:ext cx="2533297" cy="718070"/>
              </a:xfrm>
              <a:prstGeom prst="rect">
                <a:avLst/>
              </a:prstGeom>
              <a:solidFill>
                <a:srgbClr val="234E8F">
                  <a:lumMod val="20000"/>
                  <a:lumOff val="80000"/>
                </a:srgbClr>
              </a:solidFill>
              <a:ln w="9525" cap="flat" cmpd="sng" algn="ctr">
                <a:noFill/>
                <a:prstDash val="solid"/>
              </a:ln>
              <a:effectLst/>
            </p:spPr>
            <p:txBody>
              <a:bodyPr lIns="72000" tIns="0" rIns="0" bIns="0" rtlCol="0" anchor="ctr" anchorCtr="0">
                <a:noAutofit/>
              </a:bodyPr>
              <a:lstStyle/>
              <a:p>
                <a:pPr marL="285750" marR="0" lvl="0" indent="-285750" defTabSz="457200" eaLnBrk="0" fontAlgn="base" latinLnBrk="0" hangingPunct="0">
                  <a:lnSpc>
                    <a:spcPct val="100000"/>
                  </a:lnSpc>
                  <a:spcBef>
                    <a:spcPct val="0"/>
                  </a:spcBef>
                  <a:spcAft>
                    <a:spcPct val="0"/>
                  </a:spcAft>
                  <a:buClr>
                    <a:srgbClr val="6C99D6">
                      <a:lumMod val="50000"/>
                    </a:srgbClr>
                  </a:buClr>
                  <a:buSzTx/>
                  <a:buFont typeface="Wingdings" panose="05000000000000000000" pitchFamily="2" charset="2"/>
                  <a:buChar char="§"/>
                  <a:tabLst/>
                  <a:defRPr/>
                </a:pPr>
                <a:r>
                  <a:rPr kumimoji="0" lang="en-IN" sz="12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Baseline &amp; Benchmarking</a:t>
                </a:r>
              </a:p>
              <a:p>
                <a:pPr marL="285750" marR="0" lvl="0" indent="-285750" defTabSz="457200" eaLnBrk="0" fontAlgn="base" latinLnBrk="0" hangingPunct="0">
                  <a:lnSpc>
                    <a:spcPct val="100000"/>
                  </a:lnSpc>
                  <a:spcBef>
                    <a:spcPct val="0"/>
                  </a:spcBef>
                  <a:spcAft>
                    <a:spcPct val="0"/>
                  </a:spcAft>
                  <a:buClr>
                    <a:srgbClr val="6C99D6">
                      <a:lumMod val="50000"/>
                    </a:srgbClr>
                  </a:buClr>
                  <a:buSzTx/>
                  <a:buFont typeface="Wingdings" panose="05000000000000000000" pitchFamily="2" charset="2"/>
                  <a:buChar char="§"/>
                  <a:tabLst/>
                  <a:defRPr/>
                </a:pPr>
                <a:r>
                  <a:rPr kumimoji="0" lang="en-IN" sz="12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Load handling capacity of Target Systems and channels</a:t>
                </a:r>
              </a:p>
              <a:p>
                <a:pPr marL="285750" marR="0" lvl="0" indent="-285750" defTabSz="457200" eaLnBrk="0" fontAlgn="base" latinLnBrk="0" hangingPunct="0">
                  <a:lnSpc>
                    <a:spcPct val="100000"/>
                  </a:lnSpc>
                  <a:spcBef>
                    <a:spcPct val="0"/>
                  </a:spcBef>
                  <a:spcAft>
                    <a:spcPct val="0"/>
                  </a:spcAft>
                  <a:buClr>
                    <a:srgbClr val="6C99D6">
                      <a:lumMod val="50000"/>
                    </a:srgbClr>
                  </a:buClr>
                  <a:buSzTx/>
                  <a:buFont typeface="Wingdings" panose="05000000000000000000" pitchFamily="2" charset="2"/>
                  <a:buChar char="§"/>
                  <a:tabLst/>
                  <a:defRPr/>
                </a:pPr>
                <a:r>
                  <a:rPr kumimoji="0" lang="en-IN" sz="12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Breakpoint of Target systems and Channels</a:t>
                </a:r>
              </a:p>
              <a:p>
                <a:pPr marL="285750" marR="0" lvl="0" indent="-285750" defTabSz="457200" eaLnBrk="0" fontAlgn="base" latinLnBrk="0" hangingPunct="0">
                  <a:lnSpc>
                    <a:spcPct val="100000"/>
                  </a:lnSpc>
                  <a:spcBef>
                    <a:spcPct val="0"/>
                  </a:spcBef>
                  <a:spcAft>
                    <a:spcPct val="0"/>
                  </a:spcAft>
                  <a:buClr>
                    <a:srgbClr val="6C99D6">
                      <a:lumMod val="50000"/>
                    </a:srgbClr>
                  </a:buClr>
                  <a:buSzTx/>
                  <a:buFont typeface="Wingdings" panose="05000000000000000000" pitchFamily="2" charset="2"/>
                  <a:buChar char="§"/>
                  <a:tabLst/>
                  <a:defRPr/>
                </a:pPr>
                <a:r>
                  <a:rPr kumimoji="0" lang="en-US" sz="12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Measure Response Time</a:t>
                </a:r>
              </a:p>
              <a:p>
                <a:pPr marL="285750" marR="0" lvl="0" indent="-285750" defTabSz="457200" eaLnBrk="0" fontAlgn="base" latinLnBrk="0" hangingPunct="0">
                  <a:lnSpc>
                    <a:spcPct val="100000"/>
                  </a:lnSpc>
                  <a:spcBef>
                    <a:spcPct val="0"/>
                  </a:spcBef>
                  <a:spcAft>
                    <a:spcPct val="0"/>
                  </a:spcAft>
                  <a:buClr>
                    <a:srgbClr val="6C99D6">
                      <a:lumMod val="50000"/>
                    </a:srgbClr>
                  </a:buClr>
                  <a:buSzTx/>
                  <a:buFont typeface="Wingdings" panose="05000000000000000000" pitchFamily="2" charset="2"/>
                  <a:buChar char="§"/>
                  <a:tabLst/>
                  <a:defRPr/>
                </a:pPr>
                <a:r>
                  <a:rPr kumimoji="0" lang="en-US" sz="12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Performance Analysis</a:t>
                </a:r>
              </a:p>
            </p:txBody>
          </p:sp>
        </p:grpSp>
        <p:sp>
          <p:nvSpPr>
            <p:cNvPr id="84" name="Rounded Rectangle 101">
              <a:extLst>
                <a:ext uri="{FF2B5EF4-FFF2-40B4-BE49-F238E27FC236}">
                  <a16:creationId xmlns:a16="http://schemas.microsoft.com/office/drawing/2014/main" xmlns="" id="{F77AD872-2FE5-4E97-99A7-A636F5202555}"/>
                </a:ext>
              </a:extLst>
            </p:cNvPr>
            <p:cNvSpPr/>
            <p:nvPr/>
          </p:nvSpPr>
          <p:spPr>
            <a:xfrm>
              <a:off x="3980960" y="1879394"/>
              <a:ext cx="4703653" cy="3266002"/>
            </a:xfrm>
            <a:prstGeom prst="roundRect">
              <a:avLst>
                <a:gd name="adj" fmla="val 0"/>
              </a:avLst>
            </a:prstGeom>
            <a:noFill/>
            <a:ln w="9525" cap="flat" cmpd="sng" algn="ctr">
              <a:solidFill>
                <a:srgbClr val="4BACC6">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85" name="Chevron 102">
              <a:extLst>
                <a:ext uri="{FF2B5EF4-FFF2-40B4-BE49-F238E27FC236}">
                  <a16:creationId xmlns:a16="http://schemas.microsoft.com/office/drawing/2014/main" xmlns="" id="{646109CE-BE53-44F0-82F2-BB8A3AE3BD34}"/>
                </a:ext>
              </a:extLst>
            </p:cNvPr>
            <p:cNvSpPr/>
            <p:nvPr/>
          </p:nvSpPr>
          <p:spPr>
            <a:xfrm>
              <a:off x="3572629" y="2996625"/>
              <a:ext cx="282389" cy="524435"/>
            </a:xfrm>
            <a:prstGeom prst="chevron">
              <a:avLst/>
            </a:prstGeom>
            <a:solidFill>
              <a:sysClr val="window" lastClr="FFFFFF">
                <a:lumMod val="50000"/>
              </a:sysClr>
            </a:solidFill>
            <a:ln w="9525" cap="flat" cmpd="sng" algn="ctr">
              <a:solidFill>
                <a:sysClr val="window" lastClr="FFFFFF">
                  <a:lumMod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86" name="Rectangle 85">
              <a:extLst>
                <a:ext uri="{FF2B5EF4-FFF2-40B4-BE49-F238E27FC236}">
                  <a16:creationId xmlns:a16="http://schemas.microsoft.com/office/drawing/2014/main" xmlns="" id="{730BF269-3875-4D65-946C-A8E0D8A84664}"/>
                </a:ext>
              </a:extLst>
            </p:cNvPr>
            <p:cNvSpPr/>
            <p:nvPr/>
          </p:nvSpPr>
          <p:spPr>
            <a:xfrm>
              <a:off x="4250740" y="2017350"/>
              <a:ext cx="4289116" cy="2613016"/>
            </a:xfrm>
            <a:prstGeom prst="rect">
              <a:avLst/>
            </a:prstGeom>
            <a:noFill/>
            <a:ln w="9525" cap="flat" cmpd="sng" algn="ctr">
              <a:solidFill>
                <a:srgbClr val="92D050"/>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87" name="Rectangle 86">
              <a:extLst>
                <a:ext uri="{FF2B5EF4-FFF2-40B4-BE49-F238E27FC236}">
                  <a16:creationId xmlns:a16="http://schemas.microsoft.com/office/drawing/2014/main" xmlns="" id="{E1BF6789-5142-474B-9760-430365133DAE}"/>
                </a:ext>
              </a:extLst>
            </p:cNvPr>
            <p:cNvSpPr/>
            <p:nvPr/>
          </p:nvSpPr>
          <p:spPr>
            <a:xfrm>
              <a:off x="6071629" y="4673141"/>
              <a:ext cx="826883" cy="4001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prstClr val="black"/>
                  </a:solidFill>
                  <a:effectLst/>
                  <a:uLnTx/>
                  <a:uFillTx/>
                  <a:latin typeface="Calibri"/>
                </a:rPr>
                <a:t>End to End Simulation</a:t>
              </a:r>
            </a:p>
          </p:txBody>
        </p:sp>
        <p:sp>
          <p:nvSpPr>
            <p:cNvPr id="88" name="Rounded Rectangle 108">
              <a:extLst>
                <a:ext uri="{FF2B5EF4-FFF2-40B4-BE49-F238E27FC236}">
                  <a16:creationId xmlns:a16="http://schemas.microsoft.com/office/drawing/2014/main" xmlns="" id="{411C1EF5-6867-44D5-8F1F-B421551F124F}"/>
                </a:ext>
              </a:extLst>
            </p:cNvPr>
            <p:cNvSpPr/>
            <p:nvPr/>
          </p:nvSpPr>
          <p:spPr>
            <a:xfrm>
              <a:off x="795292" y="5280390"/>
              <a:ext cx="10478297" cy="735206"/>
            </a:xfrm>
            <a:prstGeom prst="roundRect">
              <a:avLst>
                <a:gd name="adj" fmla="val 50000"/>
              </a:avLst>
            </a:prstGeom>
            <a:solidFill>
              <a:srgbClr val="6C99D6">
                <a:lumMod val="20000"/>
                <a:lumOff val="80000"/>
              </a:srgbClr>
            </a:solidFill>
            <a:ln w="9525" cap="flat" cmpd="sng" algn="ctr">
              <a:noFill/>
              <a:prstDash val="solid"/>
            </a:ln>
            <a:effectLst/>
          </p:spPr>
          <p:txBody>
            <a:bodyPr rtlCol="0" anchor="ctr"/>
            <a:lstStyle/>
            <a:p>
              <a:pPr marL="0" marR="0" lvl="0" indent="0" algn="ctr" defTabSz="45720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grpSp>
          <p:nvGrpSpPr>
            <p:cNvPr id="89" name="Group 88">
              <a:extLst>
                <a:ext uri="{FF2B5EF4-FFF2-40B4-BE49-F238E27FC236}">
                  <a16:creationId xmlns:a16="http://schemas.microsoft.com/office/drawing/2014/main" xmlns="" id="{369F9AC9-1A14-4A50-B2E5-F9821FA7A6D9}"/>
                </a:ext>
              </a:extLst>
            </p:cNvPr>
            <p:cNvGrpSpPr/>
            <p:nvPr/>
          </p:nvGrpSpPr>
          <p:grpSpPr>
            <a:xfrm>
              <a:off x="1018804" y="5275863"/>
              <a:ext cx="9953995" cy="769441"/>
              <a:chOff x="991052" y="4852216"/>
              <a:chExt cx="9800240" cy="769441"/>
            </a:xfrm>
          </p:grpSpPr>
          <p:sp>
            <p:nvSpPr>
              <p:cNvPr id="118" name="TextBox 117">
                <a:extLst>
                  <a:ext uri="{FF2B5EF4-FFF2-40B4-BE49-F238E27FC236}">
                    <a16:creationId xmlns:a16="http://schemas.microsoft.com/office/drawing/2014/main" xmlns="" id="{5ADFEA8A-407F-4EE9-8124-260AC2693B88}"/>
                  </a:ext>
                </a:extLst>
              </p:cNvPr>
              <p:cNvSpPr txBox="1"/>
              <p:nvPr/>
            </p:nvSpPr>
            <p:spPr>
              <a:xfrm>
                <a:off x="1160571" y="5022893"/>
                <a:ext cx="1208309" cy="430887"/>
              </a:xfrm>
              <a:prstGeom prst="rect">
                <a:avLst/>
              </a:prstGeom>
              <a:noFill/>
            </p:spPr>
            <p:txBody>
              <a:bodyPr wrap="square" rtlCol="0">
                <a:spAutoFit/>
              </a:bodyP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a:ea typeface="MS PGothic" pitchFamily="34" charset="-128"/>
                    <a:cs typeface="Arial" panose="020B0604020202020204" pitchFamily="34" charset="0"/>
                  </a:rPr>
                  <a:t>Core &amp;</a:t>
                </a:r>
              </a:p>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a:ea typeface="MS PGothic" pitchFamily="34" charset="-128"/>
                    <a:cs typeface="Arial" panose="020B0604020202020204" pitchFamily="34" charset="0"/>
                  </a:rPr>
                  <a:t> Flexible team</a:t>
                </a:r>
              </a:p>
            </p:txBody>
          </p:sp>
          <p:sp>
            <p:nvSpPr>
              <p:cNvPr id="119" name="TextBox 118">
                <a:extLst>
                  <a:ext uri="{FF2B5EF4-FFF2-40B4-BE49-F238E27FC236}">
                    <a16:creationId xmlns:a16="http://schemas.microsoft.com/office/drawing/2014/main" xmlns="" id="{57BE9784-746E-470C-9446-524A4E13C294}"/>
                  </a:ext>
                </a:extLst>
              </p:cNvPr>
              <p:cNvSpPr txBox="1"/>
              <p:nvPr/>
            </p:nvSpPr>
            <p:spPr>
              <a:xfrm>
                <a:off x="2808430" y="4933247"/>
                <a:ext cx="1054513" cy="600164"/>
              </a:xfrm>
              <a:prstGeom prst="rect">
                <a:avLst/>
              </a:prstGeom>
              <a:noFill/>
            </p:spPr>
            <p:txBody>
              <a:bodyPr wrap="square" rtlCol="0">
                <a:spAutoFit/>
              </a:bodyP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a:ea typeface="MS PGothic" pitchFamily="34" charset="-128"/>
                    <a:cs typeface="Arial" panose="020B0604020202020204" pitchFamily="34" charset="0"/>
                  </a:rPr>
                  <a:t>Standard performance test approach</a:t>
                </a:r>
              </a:p>
            </p:txBody>
          </p:sp>
          <p:sp>
            <p:nvSpPr>
              <p:cNvPr id="120" name="TextBox 119">
                <a:extLst>
                  <a:ext uri="{FF2B5EF4-FFF2-40B4-BE49-F238E27FC236}">
                    <a16:creationId xmlns:a16="http://schemas.microsoft.com/office/drawing/2014/main" xmlns="" id="{75251000-A02B-41E7-9D20-781EED0FC0FF}"/>
                  </a:ext>
                </a:extLst>
              </p:cNvPr>
              <p:cNvSpPr txBox="1"/>
              <p:nvPr/>
            </p:nvSpPr>
            <p:spPr>
              <a:xfrm>
                <a:off x="4128965" y="5001550"/>
                <a:ext cx="1208309" cy="430887"/>
              </a:xfrm>
              <a:prstGeom prst="rect">
                <a:avLst/>
              </a:prstGeom>
              <a:noFill/>
            </p:spPr>
            <p:txBody>
              <a:bodyPr wrap="square" rtlCol="0">
                <a:spAutoFit/>
              </a:bodyP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a:ea typeface="MS PGothic" pitchFamily="34" charset="-128"/>
                    <a:cs typeface="Arial" panose="020B0604020202020204" pitchFamily="34" charset="0"/>
                  </a:rPr>
                  <a:t>Performance Testing Tools</a:t>
                </a:r>
              </a:p>
            </p:txBody>
          </p:sp>
          <p:sp>
            <p:nvSpPr>
              <p:cNvPr id="121" name="TextBox 120">
                <a:extLst>
                  <a:ext uri="{FF2B5EF4-FFF2-40B4-BE49-F238E27FC236}">
                    <a16:creationId xmlns:a16="http://schemas.microsoft.com/office/drawing/2014/main" xmlns="" id="{C3D4A45E-E6B6-4FC9-B73E-E7B2FC92CB51}"/>
                  </a:ext>
                </a:extLst>
              </p:cNvPr>
              <p:cNvSpPr txBox="1"/>
              <p:nvPr/>
            </p:nvSpPr>
            <p:spPr>
              <a:xfrm>
                <a:off x="9582983" y="5291581"/>
                <a:ext cx="1208309" cy="261610"/>
              </a:xfrm>
              <a:prstGeom prst="rect">
                <a:avLst/>
              </a:prstGeom>
              <a:noFill/>
            </p:spPr>
            <p:txBody>
              <a:bodyPr wrap="square" rtlCol="0">
                <a:spAutoFit/>
              </a:bodyP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a:ea typeface="MS PGothic" pitchFamily="34" charset="-128"/>
                    <a:cs typeface="Arial" panose="020B0604020202020204" pitchFamily="34" charset="0"/>
                  </a:rPr>
                  <a:t>Governance</a:t>
                </a:r>
              </a:p>
            </p:txBody>
          </p:sp>
          <p:sp>
            <p:nvSpPr>
              <p:cNvPr id="122" name="TextBox 121">
                <a:extLst>
                  <a:ext uri="{FF2B5EF4-FFF2-40B4-BE49-F238E27FC236}">
                    <a16:creationId xmlns:a16="http://schemas.microsoft.com/office/drawing/2014/main" xmlns="" id="{B00AE5D4-0852-4C25-B2D9-A56DCC8B32E0}"/>
                  </a:ext>
                </a:extLst>
              </p:cNvPr>
              <p:cNvSpPr txBox="1"/>
              <p:nvPr/>
            </p:nvSpPr>
            <p:spPr>
              <a:xfrm>
                <a:off x="5635407" y="4936854"/>
                <a:ext cx="944205" cy="600164"/>
              </a:xfrm>
              <a:prstGeom prst="rect">
                <a:avLst/>
              </a:prstGeom>
              <a:noFill/>
            </p:spPr>
            <p:txBody>
              <a:bodyPr wrap="square" rtlCol="0">
                <a:spAutoFit/>
              </a:bodyP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a:ea typeface="MS PGothic" pitchFamily="34" charset="-128"/>
                    <a:cs typeface="Arial" panose="020B0604020202020204" pitchFamily="34" charset="0"/>
                  </a:rPr>
                  <a:t>Design accelerators &amp; design</a:t>
                </a:r>
              </a:p>
            </p:txBody>
          </p:sp>
          <p:sp>
            <p:nvSpPr>
              <p:cNvPr id="123" name="TextBox 122">
                <a:extLst>
                  <a:ext uri="{FF2B5EF4-FFF2-40B4-BE49-F238E27FC236}">
                    <a16:creationId xmlns:a16="http://schemas.microsoft.com/office/drawing/2014/main" xmlns="" id="{01285C28-EC99-4B16-AE0C-E457920E7059}"/>
                  </a:ext>
                </a:extLst>
              </p:cNvPr>
              <p:cNvSpPr txBox="1"/>
              <p:nvPr/>
            </p:nvSpPr>
            <p:spPr>
              <a:xfrm>
                <a:off x="8395930" y="4852216"/>
                <a:ext cx="1353779" cy="769441"/>
              </a:xfrm>
              <a:prstGeom prst="rect">
                <a:avLst/>
              </a:prstGeom>
              <a:noFill/>
            </p:spPr>
            <p:txBody>
              <a:bodyPr wrap="square" rtlCol="0">
                <a:spAutoFit/>
              </a:bodyP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a:ea typeface="MS PGothic" pitchFamily="34" charset="-128"/>
                    <a:cs typeface="Arial" panose="020B0604020202020204" pitchFamily="34" charset="0"/>
                  </a:rPr>
                  <a:t>Automated Collection of performance metrics &amp; Analysis</a:t>
                </a:r>
              </a:p>
            </p:txBody>
          </p:sp>
          <p:grpSp>
            <p:nvGrpSpPr>
              <p:cNvPr id="124" name="Group 123">
                <a:extLst>
                  <a:ext uri="{FF2B5EF4-FFF2-40B4-BE49-F238E27FC236}">
                    <a16:creationId xmlns:a16="http://schemas.microsoft.com/office/drawing/2014/main" xmlns="" id="{88697B95-5B45-43E6-9DC4-047580775E70}"/>
                  </a:ext>
                </a:extLst>
              </p:cNvPr>
              <p:cNvGrpSpPr/>
              <p:nvPr/>
            </p:nvGrpSpPr>
            <p:grpSpPr>
              <a:xfrm>
                <a:off x="991052" y="4987766"/>
                <a:ext cx="196165" cy="467059"/>
                <a:chOff x="479617" y="1213728"/>
                <a:chExt cx="341104" cy="812151"/>
              </a:xfrm>
              <a:solidFill>
                <a:srgbClr val="D0247B"/>
              </a:solidFill>
            </p:grpSpPr>
            <p:sp>
              <p:nvSpPr>
                <p:cNvPr id="148" name="Oval 95726">
                  <a:extLst>
                    <a:ext uri="{FF2B5EF4-FFF2-40B4-BE49-F238E27FC236}">
                      <a16:creationId xmlns:a16="http://schemas.microsoft.com/office/drawing/2014/main" xmlns="" id="{1D00BB52-2944-488B-A5C4-F44F5CAF3C49}"/>
                    </a:ext>
                  </a:extLst>
                </p:cNvPr>
                <p:cNvSpPr>
                  <a:spLocks noChangeArrowheads="1"/>
                </p:cNvSpPr>
                <p:nvPr/>
              </p:nvSpPr>
              <p:spPr bwMode="auto">
                <a:xfrm>
                  <a:off x="577074" y="1213728"/>
                  <a:ext cx="146188" cy="146188"/>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0" fontAlgn="base" latinLnBrk="0" hangingPunct="0">
                    <a:lnSpc>
                      <a:spcPct val="100000"/>
                    </a:lnSpc>
                    <a:spcBef>
                      <a:spcPct val="0"/>
                    </a:spcBef>
                    <a:spcAft>
                      <a:spcPct val="0"/>
                    </a:spcAft>
                    <a:buClrTx/>
                    <a:buSzTx/>
                    <a:buFontTx/>
                    <a:buNone/>
                    <a:tabLst/>
                    <a:defRPr/>
                  </a:pPr>
                  <a:endParaRPr kumimoji="0" lang="es-CR" sz="1800" b="0" i="0" u="none" strike="noStrike" kern="0" cap="none" spc="0" normalizeH="0" baseline="0" noProof="0" dirty="0">
                    <a:ln>
                      <a:noFill/>
                    </a:ln>
                    <a:solidFill>
                      <a:prstClr val="black"/>
                    </a:solidFill>
                    <a:effectLst/>
                    <a:uLnTx/>
                    <a:uFillTx/>
                    <a:latin typeface="Calibri"/>
                    <a:ea typeface="MS PGothic" pitchFamily="34" charset="-128"/>
                    <a:cs typeface="Arial" panose="020B0604020202020204" pitchFamily="34" charset="0"/>
                  </a:endParaRPr>
                </a:p>
              </p:txBody>
            </p:sp>
            <p:sp>
              <p:nvSpPr>
                <p:cNvPr id="149" name="Freeform 95727">
                  <a:extLst>
                    <a:ext uri="{FF2B5EF4-FFF2-40B4-BE49-F238E27FC236}">
                      <a16:creationId xmlns:a16="http://schemas.microsoft.com/office/drawing/2014/main" xmlns="" id="{792FAA3A-47FA-4CFB-9F8B-10ED1F722D30}"/>
                    </a:ext>
                  </a:extLst>
                </p:cNvPr>
                <p:cNvSpPr>
                  <a:spLocks/>
                </p:cNvSpPr>
                <p:nvPr/>
              </p:nvSpPr>
              <p:spPr bwMode="auto">
                <a:xfrm>
                  <a:off x="479617" y="1376156"/>
                  <a:ext cx="341104" cy="649723"/>
                </a:xfrm>
                <a:custGeom>
                  <a:avLst/>
                  <a:gdLst>
                    <a:gd name="T0" fmla="*/ 49 w 49"/>
                    <a:gd name="T1" fmla="*/ 11 h 92"/>
                    <a:gd name="T2" fmla="*/ 35 w 49"/>
                    <a:gd name="T3" fmla="*/ 0 h 92"/>
                    <a:gd name="T4" fmla="*/ 15 w 49"/>
                    <a:gd name="T5" fmla="*/ 0 h 92"/>
                    <a:gd name="T6" fmla="*/ 0 w 49"/>
                    <a:gd name="T7" fmla="*/ 11 h 92"/>
                    <a:gd name="T8" fmla="*/ 0 w 49"/>
                    <a:gd name="T9" fmla="*/ 36 h 92"/>
                    <a:gd name="T10" fmla="*/ 0 w 49"/>
                    <a:gd name="T11" fmla="*/ 36 h 92"/>
                    <a:gd name="T12" fmla="*/ 0 w 49"/>
                    <a:gd name="T13" fmla="*/ 36 h 92"/>
                    <a:gd name="T14" fmla="*/ 5 w 49"/>
                    <a:gd name="T15" fmla="*/ 41 h 92"/>
                    <a:gd name="T16" fmla="*/ 9 w 49"/>
                    <a:gd name="T17" fmla="*/ 36 h 92"/>
                    <a:gd name="T18" fmla="*/ 9 w 49"/>
                    <a:gd name="T19" fmla="*/ 36 h 92"/>
                    <a:gd name="T20" fmla="*/ 9 w 49"/>
                    <a:gd name="T21" fmla="*/ 36 h 92"/>
                    <a:gd name="T22" fmla="*/ 9 w 49"/>
                    <a:gd name="T23" fmla="*/ 13 h 92"/>
                    <a:gd name="T24" fmla="*/ 12 w 49"/>
                    <a:gd name="T25" fmla="*/ 13 h 92"/>
                    <a:gd name="T26" fmla="*/ 12 w 49"/>
                    <a:gd name="T27" fmla="*/ 87 h 92"/>
                    <a:gd name="T28" fmla="*/ 18 w 49"/>
                    <a:gd name="T29" fmla="*/ 92 h 92"/>
                    <a:gd name="T30" fmla="*/ 23 w 49"/>
                    <a:gd name="T31" fmla="*/ 87 h 92"/>
                    <a:gd name="T32" fmla="*/ 23 w 49"/>
                    <a:gd name="T33" fmla="*/ 39 h 92"/>
                    <a:gd name="T34" fmla="*/ 26 w 49"/>
                    <a:gd name="T35" fmla="*/ 39 h 92"/>
                    <a:gd name="T36" fmla="*/ 26 w 49"/>
                    <a:gd name="T37" fmla="*/ 87 h 92"/>
                    <a:gd name="T38" fmla="*/ 26 w 49"/>
                    <a:gd name="T39" fmla="*/ 87 h 92"/>
                    <a:gd name="T40" fmla="*/ 32 w 49"/>
                    <a:gd name="T41" fmla="*/ 92 h 92"/>
                    <a:gd name="T42" fmla="*/ 38 w 49"/>
                    <a:gd name="T43" fmla="*/ 87 h 92"/>
                    <a:gd name="T44" fmla="*/ 38 w 49"/>
                    <a:gd name="T45" fmla="*/ 13 h 92"/>
                    <a:gd name="T46" fmla="*/ 41 w 49"/>
                    <a:gd name="T47" fmla="*/ 13 h 92"/>
                    <a:gd name="T48" fmla="*/ 41 w 49"/>
                    <a:gd name="T49" fmla="*/ 36 h 92"/>
                    <a:gd name="T50" fmla="*/ 41 w 49"/>
                    <a:gd name="T51" fmla="*/ 36 h 92"/>
                    <a:gd name="T52" fmla="*/ 41 w 49"/>
                    <a:gd name="T53" fmla="*/ 36 h 92"/>
                    <a:gd name="T54" fmla="*/ 45 w 49"/>
                    <a:gd name="T55" fmla="*/ 41 h 92"/>
                    <a:gd name="T56" fmla="*/ 49 w 49"/>
                    <a:gd name="T57" fmla="*/ 36 h 92"/>
                    <a:gd name="T58" fmla="*/ 49 w 49"/>
                    <a:gd name="T59" fmla="*/ 36 h 92"/>
                    <a:gd name="T60" fmla="*/ 49 w 49"/>
                    <a:gd name="T61" fmla="*/ 1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9" h="92">
                      <a:moveTo>
                        <a:pt x="49" y="11"/>
                      </a:moveTo>
                      <a:cubicBezTo>
                        <a:pt x="48" y="0"/>
                        <a:pt x="35" y="0"/>
                        <a:pt x="35" y="0"/>
                      </a:cubicBezTo>
                      <a:cubicBezTo>
                        <a:pt x="15" y="0"/>
                        <a:pt x="15" y="0"/>
                        <a:pt x="15" y="0"/>
                      </a:cubicBezTo>
                      <a:cubicBezTo>
                        <a:pt x="0" y="0"/>
                        <a:pt x="0" y="11"/>
                        <a:pt x="0" y="11"/>
                      </a:cubicBezTo>
                      <a:cubicBezTo>
                        <a:pt x="0" y="36"/>
                        <a:pt x="0" y="36"/>
                        <a:pt x="0" y="36"/>
                      </a:cubicBezTo>
                      <a:cubicBezTo>
                        <a:pt x="0" y="36"/>
                        <a:pt x="0" y="36"/>
                        <a:pt x="0" y="36"/>
                      </a:cubicBezTo>
                      <a:cubicBezTo>
                        <a:pt x="0" y="36"/>
                        <a:pt x="0" y="36"/>
                        <a:pt x="0" y="36"/>
                      </a:cubicBezTo>
                      <a:cubicBezTo>
                        <a:pt x="0" y="39"/>
                        <a:pt x="2" y="41"/>
                        <a:pt x="5" y="41"/>
                      </a:cubicBezTo>
                      <a:cubicBezTo>
                        <a:pt x="7" y="41"/>
                        <a:pt x="9" y="39"/>
                        <a:pt x="9" y="36"/>
                      </a:cubicBezTo>
                      <a:cubicBezTo>
                        <a:pt x="9" y="36"/>
                        <a:pt x="9" y="36"/>
                        <a:pt x="9" y="36"/>
                      </a:cubicBezTo>
                      <a:cubicBezTo>
                        <a:pt x="9" y="36"/>
                        <a:pt x="9" y="36"/>
                        <a:pt x="9" y="36"/>
                      </a:cubicBezTo>
                      <a:cubicBezTo>
                        <a:pt x="9" y="13"/>
                        <a:pt x="9" y="13"/>
                        <a:pt x="9" y="13"/>
                      </a:cubicBezTo>
                      <a:cubicBezTo>
                        <a:pt x="12" y="13"/>
                        <a:pt x="12" y="13"/>
                        <a:pt x="12" y="13"/>
                      </a:cubicBezTo>
                      <a:cubicBezTo>
                        <a:pt x="12" y="87"/>
                        <a:pt x="12" y="87"/>
                        <a:pt x="12" y="87"/>
                      </a:cubicBezTo>
                      <a:cubicBezTo>
                        <a:pt x="12" y="90"/>
                        <a:pt x="14" y="92"/>
                        <a:pt x="18" y="92"/>
                      </a:cubicBezTo>
                      <a:cubicBezTo>
                        <a:pt x="21" y="92"/>
                        <a:pt x="23" y="90"/>
                        <a:pt x="23" y="87"/>
                      </a:cubicBezTo>
                      <a:cubicBezTo>
                        <a:pt x="23" y="39"/>
                        <a:pt x="23" y="39"/>
                        <a:pt x="23" y="39"/>
                      </a:cubicBezTo>
                      <a:cubicBezTo>
                        <a:pt x="26" y="39"/>
                        <a:pt x="26" y="39"/>
                        <a:pt x="26" y="39"/>
                      </a:cubicBezTo>
                      <a:cubicBezTo>
                        <a:pt x="26" y="87"/>
                        <a:pt x="26" y="87"/>
                        <a:pt x="26" y="87"/>
                      </a:cubicBezTo>
                      <a:cubicBezTo>
                        <a:pt x="26" y="87"/>
                        <a:pt x="26" y="87"/>
                        <a:pt x="26" y="87"/>
                      </a:cubicBezTo>
                      <a:cubicBezTo>
                        <a:pt x="26" y="90"/>
                        <a:pt x="29" y="92"/>
                        <a:pt x="32" y="92"/>
                      </a:cubicBezTo>
                      <a:cubicBezTo>
                        <a:pt x="35" y="92"/>
                        <a:pt x="38" y="90"/>
                        <a:pt x="38" y="87"/>
                      </a:cubicBezTo>
                      <a:cubicBezTo>
                        <a:pt x="38" y="13"/>
                        <a:pt x="38" y="13"/>
                        <a:pt x="38" y="13"/>
                      </a:cubicBezTo>
                      <a:cubicBezTo>
                        <a:pt x="41" y="13"/>
                        <a:pt x="41" y="13"/>
                        <a:pt x="41" y="13"/>
                      </a:cubicBezTo>
                      <a:cubicBezTo>
                        <a:pt x="41" y="36"/>
                        <a:pt x="41" y="36"/>
                        <a:pt x="41" y="36"/>
                      </a:cubicBezTo>
                      <a:cubicBezTo>
                        <a:pt x="41" y="36"/>
                        <a:pt x="41" y="36"/>
                        <a:pt x="41" y="36"/>
                      </a:cubicBezTo>
                      <a:cubicBezTo>
                        <a:pt x="41" y="36"/>
                        <a:pt x="41" y="36"/>
                        <a:pt x="41" y="36"/>
                      </a:cubicBezTo>
                      <a:cubicBezTo>
                        <a:pt x="41" y="39"/>
                        <a:pt x="43" y="41"/>
                        <a:pt x="45" y="41"/>
                      </a:cubicBezTo>
                      <a:cubicBezTo>
                        <a:pt x="47" y="41"/>
                        <a:pt x="49" y="39"/>
                        <a:pt x="49" y="36"/>
                      </a:cubicBezTo>
                      <a:cubicBezTo>
                        <a:pt x="49" y="36"/>
                        <a:pt x="49" y="36"/>
                        <a:pt x="49" y="36"/>
                      </a:cubicBezTo>
                      <a:lnTo>
                        <a:pt x="49" y="11"/>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457200" eaLnBrk="0" fontAlgn="base" latinLnBrk="0" hangingPunct="0">
                    <a:lnSpc>
                      <a:spcPct val="100000"/>
                    </a:lnSpc>
                    <a:spcBef>
                      <a:spcPct val="0"/>
                    </a:spcBef>
                    <a:spcAft>
                      <a:spcPct val="0"/>
                    </a:spcAft>
                    <a:buClrTx/>
                    <a:buSzTx/>
                    <a:buFontTx/>
                    <a:buNone/>
                    <a:tabLst/>
                    <a:defRPr/>
                  </a:pPr>
                  <a:endParaRPr kumimoji="0" lang="es-CR" sz="1800" b="0" i="0" u="none" strike="noStrike" kern="0" cap="none" spc="0" normalizeH="0" baseline="0" noProof="0" dirty="0">
                    <a:ln>
                      <a:noFill/>
                    </a:ln>
                    <a:solidFill>
                      <a:prstClr val="black"/>
                    </a:solidFill>
                    <a:effectLst/>
                    <a:uLnTx/>
                    <a:uFillTx/>
                    <a:latin typeface="Calibri"/>
                    <a:ea typeface="MS PGothic" pitchFamily="34" charset="-128"/>
                    <a:cs typeface="Arial" panose="020B0604020202020204" pitchFamily="34" charset="0"/>
                  </a:endParaRPr>
                </a:p>
              </p:txBody>
            </p:sp>
          </p:grpSp>
          <p:grpSp>
            <p:nvGrpSpPr>
              <p:cNvPr id="125" name="Group 124">
                <a:extLst>
                  <a:ext uri="{FF2B5EF4-FFF2-40B4-BE49-F238E27FC236}">
                    <a16:creationId xmlns:a16="http://schemas.microsoft.com/office/drawing/2014/main" xmlns="" id="{38E75A1A-6E76-453F-9435-E9444E823572}"/>
                  </a:ext>
                </a:extLst>
              </p:cNvPr>
              <p:cNvGrpSpPr/>
              <p:nvPr/>
            </p:nvGrpSpPr>
            <p:grpSpPr>
              <a:xfrm>
                <a:off x="1155597" y="4987766"/>
                <a:ext cx="196165" cy="467059"/>
                <a:chOff x="479617" y="1213728"/>
                <a:chExt cx="341104" cy="812151"/>
              </a:xfrm>
              <a:solidFill>
                <a:srgbClr val="D0247B"/>
              </a:solidFill>
            </p:grpSpPr>
            <p:sp>
              <p:nvSpPr>
                <p:cNvPr id="146" name="Oval 95726">
                  <a:extLst>
                    <a:ext uri="{FF2B5EF4-FFF2-40B4-BE49-F238E27FC236}">
                      <a16:creationId xmlns:a16="http://schemas.microsoft.com/office/drawing/2014/main" xmlns="" id="{8F12DC24-0B2E-463C-BAA5-A49E568C2275}"/>
                    </a:ext>
                  </a:extLst>
                </p:cNvPr>
                <p:cNvSpPr>
                  <a:spLocks noChangeArrowheads="1"/>
                </p:cNvSpPr>
                <p:nvPr/>
              </p:nvSpPr>
              <p:spPr bwMode="auto">
                <a:xfrm>
                  <a:off x="577074" y="1213728"/>
                  <a:ext cx="146188" cy="146188"/>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0" fontAlgn="base" latinLnBrk="0" hangingPunct="0">
                    <a:lnSpc>
                      <a:spcPct val="100000"/>
                    </a:lnSpc>
                    <a:spcBef>
                      <a:spcPct val="0"/>
                    </a:spcBef>
                    <a:spcAft>
                      <a:spcPct val="0"/>
                    </a:spcAft>
                    <a:buClrTx/>
                    <a:buSzTx/>
                    <a:buFontTx/>
                    <a:buNone/>
                    <a:tabLst/>
                    <a:defRPr/>
                  </a:pPr>
                  <a:endParaRPr kumimoji="0" lang="es-CR" sz="1800" b="0" i="0" u="none" strike="noStrike" kern="0" cap="none" spc="0" normalizeH="0" baseline="0" noProof="0" dirty="0">
                    <a:ln>
                      <a:noFill/>
                    </a:ln>
                    <a:solidFill>
                      <a:prstClr val="black"/>
                    </a:solidFill>
                    <a:effectLst/>
                    <a:uLnTx/>
                    <a:uFillTx/>
                    <a:latin typeface="Calibri"/>
                    <a:ea typeface="MS PGothic" pitchFamily="34" charset="-128"/>
                    <a:cs typeface="Arial" panose="020B0604020202020204" pitchFamily="34" charset="0"/>
                  </a:endParaRPr>
                </a:p>
              </p:txBody>
            </p:sp>
            <p:sp>
              <p:nvSpPr>
                <p:cNvPr id="147" name="Freeform 95727">
                  <a:extLst>
                    <a:ext uri="{FF2B5EF4-FFF2-40B4-BE49-F238E27FC236}">
                      <a16:creationId xmlns:a16="http://schemas.microsoft.com/office/drawing/2014/main" xmlns="" id="{D0A20A03-D9A0-43C9-846B-B53F48422B9F}"/>
                    </a:ext>
                  </a:extLst>
                </p:cNvPr>
                <p:cNvSpPr>
                  <a:spLocks/>
                </p:cNvSpPr>
                <p:nvPr/>
              </p:nvSpPr>
              <p:spPr bwMode="auto">
                <a:xfrm>
                  <a:off x="479617" y="1376156"/>
                  <a:ext cx="341104" cy="649723"/>
                </a:xfrm>
                <a:custGeom>
                  <a:avLst/>
                  <a:gdLst>
                    <a:gd name="T0" fmla="*/ 49 w 49"/>
                    <a:gd name="T1" fmla="*/ 11 h 92"/>
                    <a:gd name="T2" fmla="*/ 35 w 49"/>
                    <a:gd name="T3" fmla="*/ 0 h 92"/>
                    <a:gd name="T4" fmla="*/ 15 w 49"/>
                    <a:gd name="T5" fmla="*/ 0 h 92"/>
                    <a:gd name="T6" fmla="*/ 0 w 49"/>
                    <a:gd name="T7" fmla="*/ 11 h 92"/>
                    <a:gd name="T8" fmla="*/ 0 w 49"/>
                    <a:gd name="T9" fmla="*/ 36 h 92"/>
                    <a:gd name="T10" fmla="*/ 0 w 49"/>
                    <a:gd name="T11" fmla="*/ 36 h 92"/>
                    <a:gd name="T12" fmla="*/ 0 w 49"/>
                    <a:gd name="T13" fmla="*/ 36 h 92"/>
                    <a:gd name="T14" fmla="*/ 5 w 49"/>
                    <a:gd name="T15" fmla="*/ 41 h 92"/>
                    <a:gd name="T16" fmla="*/ 9 w 49"/>
                    <a:gd name="T17" fmla="*/ 36 h 92"/>
                    <a:gd name="T18" fmla="*/ 9 w 49"/>
                    <a:gd name="T19" fmla="*/ 36 h 92"/>
                    <a:gd name="T20" fmla="*/ 9 w 49"/>
                    <a:gd name="T21" fmla="*/ 36 h 92"/>
                    <a:gd name="T22" fmla="*/ 9 w 49"/>
                    <a:gd name="T23" fmla="*/ 13 h 92"/>
                    <a:gd name="T24" fmla="*/ 12 w 49"/>
                    <a:gd name="T25" fmla="*/ 13 h 92"/>
                    <a:gd name="T26" fmla="*/ 12 w 49"/>
                    <a:gd name="T27" fmla="*/ 87 h 92"/>
                    <a:gd name="T28" fmla="*/ 18 w 49"/>
                    <a:gd name="T29" fmla="*/ 92 h 92"/>
                    <a:gd name="T30" fmla="*/ 23 w 49"/>
                    <a:gd name="T31" fmla="*/ 87 h 92"/>
                    <a:gd name="T32" fmla="*/ 23 w 49"/>
                    <a:gd name="T33" fmla="*/ 39 h 92"/>
                    <a:gd name="T34" fmla="*/ 26 w 49"/>
                    <a:gd name="T35" fmla="*/ 39 h 92"/>
                    <a:gd name="T36" fmla="*/ 26 w 49"/>
                    <a:gd name="T37" fmla="*/ 87 h 92"/>
                    <a:gd name="T38" fmla="*/ 26 w 49"/>
                    <a:gd name="T39" fmla="*/ 87 h 92"/>
                    <a:gd name="T40" fmla="*/ 32 w 49"/>
                    <a:gd name="T41" fmla="*/ 92 h 92"/>
                    <a:gd name="T42" fmla="*/ 38 w 49"/>
                    <a:gd name="T43" fmla="*/ 87 h 92"/>
                    <a:gd name="T44" fmla="*/ 38 w 49"/>
                    <a:gd name="T45" fmla="*/ 13 h 92"/>
                    <a:gd name="T46" fmla="*/ 41 w 49"/>
                    <a:gd name="T47" fmla="*/ 13 h 92"/>
                    <a:gd name="T48" fmla="*/ 41 w 49"/>
                    <a:gd name="T49" fmla="*/ 36 h 92"/>
                    <a:gd name="T50" fmla="*/ 41 w 49"/>
                    <a:gd name="T51" fmla="*/ 36 h 92"/>
                    <a:gd name="T52" fmla="*/ 41 w 49"/>
                    <a:gd name="T53" fmla="*/ 36 h 92"/>
                    <a:gd name="T54" fmla="*/ 45 w 49"/>
                    <a:gd name="T55" fmla="*/ 41 h 92"/>
                    <a:gd name="T56" fmla="*/ 49 w 49"/>
                    <a:gd name="T57" fmla="*/ 36 h 92"/>
                    <a:gd name="T58" fmla="*/ 49 w 49"/>
                    <a:gd name="T59" fmla="*/ 36 h 92"/>
                    <a:gd name="T60" fmla="*/ 49 w 49"/>
                    <a:gd name="T61" fmla="*/ 1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9" h="92">
                      <a:moveTo>
                        <a:pt x="49" y="11"/>
                      </a:moveTo>
                      <a:cubicBezTo>
                        <a:pt x="48" y="0"/>
                        <a:pt x="35" y="0"/>
                        <a:pt x="35" y="0"/>
                      </a:cubicBezTo>
                      <a:cubicBezTo>
                        <a:pt x="15" y="0"/>
                        <a:pt x="15" y="0"/>
                        <a:pt x="15" y="0"/>
                      </a:cubicBezTo>
                      <a:cubicBezTo>
                        <a:pt x="0" y="0"/>
                        <a:pt x="0" y="11"/>
                        <a:pt x="0" y="11"/>
                      </a:cubicBezTo>
                      <a:cubicBezTo>
                        <a:pt x="0" y="36"/>
                        <a:pt x="0" y="36"/>
                        <a:pt x="0" y="36"/>
                      </a:cubicBezTo>
                      <a:cubicBezTo>
                        <a:pt x="0" y="36"/>
                        <a:pt x="0" y="36"/>
                        <a:pt x="0" y="36"/>
                      </a:cubicBezTo>
                      <a:cubicBezTo>
                        <a:pt x="0" y="36"/>
                        <a:pt x="0" y="36"/>
                        <a:pt x="0" y="36"/>
                      </a:cubicBezTo>
                      <a:cubicBezTo>
                        <a:pt x="0" y="39"/>
                        <a:pt x="2" y="41"/>
                        <a:pt x="5" y="41"/>
                      </a:cubicBezTo>
                      <a:cubicBezTo>
                        <a:pt x="7" y="41"/>
                        <a:pt x="9" y="39"/>
                        <a:pt x="9" y="36"/>
                      </a:cubicBezTo>
                      <a:cubicBezTo>
                        <a:pt x="9" y="36"/>
                        <a:pt x="9" y="36"/>
                        <a:pt x="9" y="36"/>
                      </a:cubicBezTo>
                      <a:cubicBezTo>
                        <a:pt x="9" y="36"/>
                        <a:pt x="9" y="36"/>
                        <a:pt x="9" y="36"/>
                      </a:cubicBezTo>
                      <a:cubicBezTo>
                        <a:pt x="9" y="13"/>
                        <a:pt x="9" y="13"/>
                        <a:pt x="9" y="13"/>
                      </a:cubicBezTo>
                      <a:cubicBezTo>
                        <a:pt x="12" y="13"/>
                        <a:pt x="12" y="13"/>
                        <a:pt x="12" y="13"/>
                      </a:cubicBezTo>
                      <a:cubicBezTo>
                        <a:pt x="12" y="87"/>
                        <a:pt x="12" y="87"/>
                        <a:pt x="12" y="87"/>
                      </a:cubicBezTo>
                      <a:cubicBezTo>
                        <a:pt x="12" y="90"/>
                        <a:pt x="14" y="92"/>
                        <a:pt x="18" y="92"/>
                      </a:cubicBezTo>
                      <a:cubicBezTo>
                        <a:pt x="21" y="92"/>
                        <a:pt x="23" y="90"/>
                        <a:pt x="23" y="87"/>
                      </a:cubicBezTo>
                      <a:cubicBezTo>
                        <a:pt x="23" y="39"/>
                        <a:pt x="23" y="39"/>
                        <a:pt x="23" y="39"/>
                      </a:cubicBezTo>
                      <a:cubicBezTo>
                        <a:pt x="26" y="39"/>
                        <a:pt x="26" y="39"/>
                        <a:pt x="26" y="39"/>
                      </a:cubicBezTo>
                      <a:cubicBezTo>
                        <a:pt x="26" y="87"/>
                        <a:pt x="26" y="87"/>
                        <a:pt x="26" y="87"/>
                      </a:cubicBezTo>
                      <a:cubicBezTo>
                        <a:pt x="26" y="87"/>
                        <a:pt x="26" y="87"/>
                        <a:pt x="26" y="87"/>
                      </a:cubicBezTo>
                      <a:cubicBezTo>
                        <a:pt x="26" y="90"/>
                        <a:pt x="29" y="92"/>
                        <a:pt x="32" y="92"/>
                      </a:cubicBezTo>
                      <a:cubicBezTo>
                        <a:pt x="35" y="92"/>
                        <a:pt x="38" y="90"/>
                        <a:pt x="38" y="87"/>
                      </a:cubicBezTo>
                      <a:cubicBezTo>
                        <a:pt x="38" y="13"/>
                        <a:pt x="38" y="13"/>
                        <a:pt x="38" y="13"/>
                      </a:cubicBezTo>
                      <a:cubicBezTo>
                        <a:pt x="41" y="13"/>
                        <a:pt x="41" y="13"/>
                        <a:pt x="41" y="13"/>
                      </a:cubicBezTo>
                      <a:cubicBezTo>
                        <a:pt x="41" y="36"/>
                        <a:pt x="41" y="36"/>
                        <a:pt x="41" y="36"/>
                      </a:cubicBezTo>
                      <a:cubicBezTo>
                        <a:pt x="41" y="36"/>
                        <a:pt x="41" y="36"/>
                        <a:pt x="41" y="36"/>
                      </a:cubicBezTo>
                      <a:cubicBezTo>
                        <a:pt x="41" y="36"/>
                        <a:pt x="41" y="36"/>
                        <a:pt x="41" y="36"/>
                      </a:cubicBezTo>
                      <a:cubicBezTo>
                        <a:pt x="41" y="39"/>
                        <a:pt x="43" y="41"/>
                        <a:pt x="45" y="41"/>
                      </a:cubicBezTo>
                      <a:cubicBezTo>
                        <a:pt x="47" y="41"/>
                        <a:pt x="49" y="39"/>
                        <a:pt x="49" y="36"/>
                      </a:cubicBezTo>
                      <a:cubicBezTo>
                        <a:pt x="49" y="36"/>
                        <a:pt x="49" y="36"/>
                        <a:pt x="49" y="36"/>
                      </a:cubicBezTo>
                      <a:lnTo>
                        <a:pt x="49" y="11"/>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457200" eaLnBrk="0" fontAlgn="base" latinLnBrk="0" hangingPunct="0">
                    <a:lnSpc>
                      <a:spcPct val="100000"/>
                    </a:lnSpc>
                    <a:spcBef>
                      <a:spcPct val="0"/>
                    </a:spcBef>
                    <a:spcAft>
                      <a:spcPct val="0"/>
                    </a:spcAft>
                    <a:buClrTx/>
                    <a:buSzTx/>
                    <a:buFontTx/>
                    <a:buNone/>
                    <a:tabLst/>
                    <a:defRPr/>
                  </a:pPr>
                  <a:endParaRPr kumimoji="0" lang="es-CR" sz="1800" b="0" i="0" u="none" strike="noStrike" kern="0" cap="none" spc="0" normalizeH="0" baseline="0" noProof="0" dirty="0">
                    <a:ln>
                      <a:noFill/>
                    </a:ln>
                    <a:solidFill>
                      <a:prstClr val="black"/>
                    </a:solidFill>
                    <a:effectLst/>
                    <a:uLnTx/>
                    <a:uFillTx/>
                    <a:latin typeface="Calibri"/>
                    <a:ea typeface="MS PGothic" pitchFamily="34" charset="-128"/>
                    <a:cs typeface="Arial" panose="020B0604020202020204" pitchFamily="34" charset="0"/>
                  </a:endParaRPr>
                </a:p>
              </p:txBody>
            </p:sp>
          </p:grpSp>
          <p:grpSp>
            <p:nvGrpSpPr>
              <p:cNvPr id="126" name="Group 125">
                <a:extLst>
                  <a:ext uri="{FF2B5EF4-FFF2-40B4-BE49-F238E27FC236}">
                    <a16:creationId xmlns:a16="http://schemas.microsoft.com/office/drawing/2014/main" xmlns="" id="{BD9838E9-5277-4F86-AF66-8D58D8354592}"/>
                  </a:ext>
                </a:extLst>
              </p:cNvPr>
              <p:cNvGrpSpPr/>
              <p:nvPr/>
            </p:nvGrpSpPr>
            <p:grpSpPr>
              <a:xfrm flipH="1">
                <a:off x="9992640" y="5028600"/>
                <a:ext cx="453150" cy="272882"/>
                <a:chOff x="2074045" y="2100539"/>
                <a:chExt cx="2563413" cy="1543658"/>
              </a:xfrm>
              <a:solidFill>
                <a:srgbClr val="D0247B"/>
              </a:solidFill>
            </p:grpSpPr>
            <p:sp>
              <p:nvSpPr>
                <p:cNvPr id="144" name="Freeform 136">
                  <a:extLst>
                    <a:ext uri="{FF2B5EF4-FFF2-40B4-BE49-F238E27FC236}">
                      <a16:creationId xmlns:a16="http://schemas.microsoft.com/office/drawing/2014/main" xmlns="" id="{619E2723-EFC6-45A7-95B5-7C1649E07C25}"/>
                    </a:ext>
                  </a:extLst>
                </p:cNvPr>
                <p:cNvSpPr/>
                <p:nvPr/>
              </p:nvSpPr>
              <p:spPr>
                <a:xfrm>
                  <a:off x="3269458" y="3276691"/>
                  <a:ext cx="1368000" cy="367506"/>
                </a:xfrm>
                <a:custGeom>
                  <a:avLst/>
                  <a:gdLst>
                    <a:gd name="connsiteX0" fmla="*/ 82550 w 1368000"/>
                    <a:gd name="connsiteY0" fmla="*/ 202406 h 367506"/>
                    <a:gd name="connsiteX1" fmla="*/ 1285450 w 1368000"/>
                    <a:gd name="connsiteY1" fmla="*/ 202406 h 367506"/>
                    <a:gd name="connsiteX2" fmla="*/ 1368000 w 1368000"/>
                    <a:gd name="connsiteY2" fmla="*/ 284956 h 367506"/>
                    <a:gd name="connsiteX3" fmla="*/ 1285450 w 1368000"/>
                    <a:gd name="connsiteY3" fmla="*/ 367506 h 367506"/>
                    <a:gd name="connsiteX4" fmla="*/ 82550 w 1368000"/>
                    <a:gd name="connsiteY4" fmla="*/ 367506 h 367506"/>
                    <a:gd name="connsiteX5" fmla="*/ 0 w 1368000"/>
                    <a:gd name="connsiteY5" fmla="*/ 284956 h 367506"/>
                    <a:gd name="connsiteX6" fmla="*/ 82550 w 1368000"/>
                    <a:gd name="connsiteY6" fmla="*/ 202406 h 367506"/>
                    <a:gd name="connsiteX7" fmla="*/ 217672 w 1368000"/>
                    <a:gd name="connsiteY7" fmla="*/ 0 h 367506"/>
                    <a:gd name="connsiteX8" fmla="*/ 1150328 w 1368000"/>
                    <a:gd name="connsiteY8" fmla="*/ 0 h 367506"/>
                    <a:gd name="connsiteX9" fmla="*/ 1232878 w 1368000"/>
                    <a:gd name="connsiteY9" fmla="*/ 82550 h 367506"/>
                    <a:gd name="connsiteX10" fmla="*/ 1150328 w 1368000"/>
                    <a:gd name="connsiteY10" fmla="*/ 165100 h 367506"/>
                    <a:gd name="connsiteX11" fmla="*/ 217672 w 1368000"/>
                    <a:gd name="connsiteY11" fmla="*/ 165100 h 367506"/>
                    <a:gd name="connsiteX12" fmla="*/ 135122 w 1368000"/>
                    <a:gd name="connsiteY12" fmla="*/ 82550 h 367506"/>
                    <a:gd name="connsiteX13" fmla="*/ 217672 w 1368000"/>
                    <a:gd name="connsiteY13" fmla="*/ 0 h 36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68000" h="367506">
                      <a:moveTo>
                        <a:pt x="82550" y="202406"/>
                      </a:moveTo>
                      <a:lnTo>
                        <a:pt x="1285450" y="202406"/>
                      </a:lnTo>
                      <a:cubicBezTo>
                        <a:pt x="1331041" y="202406"/>
                        <a:pt x="1368000" y="239365"/>
                        <a:pt x="1368000" y="284956"/>
                      </a:cubicBezTo>
                      <a:cubicBezTo>
                        <a:pt x="1368000" y="330547"/>
                        <a:pt x="1331041" y="367506"/>
                        <a:pt x="1285450" y="367506"/>
                      </a:cubicBezTo>
                      <a:lnTo>
                        <a:pt x="82550" y="367506"/>
                      </a:lnTo>
                      <a:cubicBezTo>
                        <a:pt x="36959" y="367506"/>
                        <a:pt x="0" y="330547"/>
                        <a:pt x="0" y="284956"/>
                      </a:cubicBezTo>
                      <a:cubicBezTo>
                        <a:pt x="0" y="239365"/>
                        <a:pt x="36959" y="202406"/>
                        <a:pt x="82550" y="202406"/>
                      </a:cubicBezTo>
                      <a:close/>
                      <a:moveTo>
                        <a:pt x="217672" y="0"/>
                      </a:moveTo>
                      <a:lnTo>
                        <a:pt x="1150328" y="0"/>
                      </a:lnTo>
                      <a:cubicBezTo>
                        <a:pt x="1195919" y="0"/>
                        <a:pt x="1232878" y="36959"/>
                        <a:pt x="1232878" y="82550"/>
                      </a:cubicBezTo>
                      <a:cubicBezTo>
                        <a:pt x="1232878" y="128141"/>
                        <a:pt x="1195919" y="165100"/>
                        <a:pt x="1150328" y="165100"/>
                      </a:cubicBezTo>
                      <a:lnTo>
                        <a:pt x="217672" y="165100"/>
                      </a:lnTo>
                      <a:cubicBezTo>
                        <a:pt x="172081" y="165100"/>
                        <a:pt x="135122" y="128141"/>
                        <a:pt x="135122" y="82550"/>
                      </a:cubicBezTo>
                      <a:cubicBezTo>
                        <a:pt x="135122" y="36959"/>
                        <a:pt x="172081" y="0"/>
                        <a:pt x="217672" y="0"/>
                      </a:cubicBezTo>
                      <a:close/>
                    </a:path>
                  </a:pathLst>
                </a:custGeom>
                <a:grpFill/>
                <a:ln w="9525" cap="flat" cmpd="sng" algn="ctr">
                  <a:noFill/>
                  <a:prstDash val="solid"/>
                </a:ln>
                <a:effectLst/>
              </p:spPr>
              <p:txBody>
                <a:bodyPr rtlCol="0" anchor="ctr"/>
                <a:lstStyle/>
                <a:p>
                  <a:pPr marL="0" marR="0" lvl="0" indent="0" algn="ctr" defTabSz="457200" eaLnBrk="0" fontAlgn="base" latinLnBrk="0" hangingPunct="0">
                    <a:lnSpc>
                      <a:spcPct val="10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prstClr val="black"/>
                    </a:solidFill>
                    <a:effectLst/>
                    <a:uLnTx/>
                    <a:uFillTx/>
                    <a:latin typeface="Calibri"/>
                    <a:ea typeface="+mn-ea"/>
                    <a:cs typeface="Arial" panose="020B0604020202020204" pitchFamily="34" charset="0"/>
                  </a:endParaRPr>
                </a:p>
              </p:txBody>
            </p:sp>
            <p:sp>
              <p:nvSpPr>
                <p:cNvPr id="145" name="Freeform 137">
                  <a:extLst>
                    <a:ext uri="{FF2B5EF4-FFF2-40B4-BE49-F238E27FC236}">
                      <a16:creationId xmlns:a16="http://schemas.microsoft.com/office/drawing/2014/main" xmlns="" id="{A0788CDA-E94B-4624-A1E2-9DD3281539D7}"/>
                    </a:ext>
                  </a:extLst>
                </p:cNvPr>
                <p:cNvSpPr/>
                <p:nvPr/>
              </p:nvSpPr>
              <p:spPr>
                <a:xfrm rot="20375326">
                  <a:off x="2074045" y="2100539"/>
                  <a:ext cx="2179454" cy="1036200"/>
                </a:xfrm>
                <a:custGeom>
                  <a:avLst/>
                  <a:gdLst>
                    <a:gd name="connsiteX0" fmla="*/ 1301417 w 2179454"/>
                    <a:gd name="connsiteY0" fmla="*/ 427532 h 1036200"/>
                    <a:gd name="connsiteX1" fmla="*/ 1301417 w 2179454"/>
                    <a:gd name="connsiteY1" fmla="*/ 607532 h 1036200"/>
                    <a:gd name="connsiteX2" fmla="*/ 90000 w 2179454"/>
                    <a:gd name="connsiteY2" fmla="*/ 607532 h 1036200"/>
                    <a:gd name="connsiteX3" fmla="*/ 0 w 2179454"/>
                    <a:gd name="connsiteY3" fmla="*/ 517532 h 1036200"/>
                    <a:gd name="connsiteX4" fmla="*/ 89999 w 2179454"/>
                    <a:gd name="connsiteY4" fmla="*/ 427532 h 1036200"/>
                    <a:gd name="connsiteX5" fmla="*/ 2134687 w 2179454"/>
                    <a:gd name="connsiteY5" fmla="*/ 5760 h 1036200"/>
                    <a:gd name="connsiteX6" fmla="*/ 2179454 w 2179454"/>
                    <a:gd name="connsiteY6" fmla="*/ 73298 h 1036200"/>
                    <a:gd name="connsiteX7" fmla="*/ 2179454 w 2179454"/>
                    <a:gd name="connsiteY7" fmla="*/ 124702 h 1036200"/>
                    <a:gd name="connsiteX8" fmla="*/ 2106156 w 2179454"/>
                    <a:gd name="connsiteY8" fmla="*/ 198000 h 1036200"/>
                    <a:gd name="connsiteX9" fmla="*/ 2100872 w 2179454"/>
                    <a:gd name="connsiteY9" fmla="*/ 198000 h 1036200"/>
                    <a:gd name="connsiteX10" fmla="*/ 2100872 w 2179454"/>
                    <a:gd name="connsiteY10" fmla="*/ 838201 h 1036200"/>
                    <a:gd name="connsiteX11" fmla="*/ 2106156 w 2179454"/>
                    <a:gd name="connsiteY11" fmla="*/ 838201 h 1036200"/>
                    <a:gd name="connsiteX12" fmla="*/ 2179454 w 2179454"/>
                    <a:gd name="connsiteY12" fmla="*/ 911499 h 1036200"/>
                    <a:gd name="connsiteX13" fmla="*/ 2179454 w 2179454"/>
                    <a:gd name="connsiteY13" fmla="*/ 962903 h 1036200"/>
                    <a:gd name="connsiteX14" fmla="*/ 2106156 w 2179454"/>
                    <a:gd name="connsiteY14" fmla="*/ 1036200 h 1036200"/>
                    <a:gd name="connsiteX15" fmla="*/ 1352638 w 2179454"/>
                    <a:gd name="connsiteY15" fmla="*/ 1036200 h 1036200"/>
                    <a:gd name="connsiteX16" fmla="*/ 1279340 w 2179454"/>
                    <a:gd name="connsiteY16" fmla="*/ 962903 h 1036200"/>
                    <a:gd name="connsiteX17" fmla="*/ 1279340 w 2179454"/>
                    <a:gd name="connsiteY17" fmla="*/ 911499 h 1036200"/>
                    <a:gd name="connsiteX18" fmla="*/ 1324107 w 2179454"/>
                    <a:gd name="connsiteY18" fmla="*/ 843961 h 1036200"/>
                    <a:gd name="connsiteX19" fmla="*/ 1351360 w 2179454"/>
                    <a:gd name="connsiteY19" fmla="*/ 838458 h 1036200"/>
                    <a:gd name="connsiteX20" fmla="*/ 1351360 w 2179454"/>
                    <a:gd name="connsiteY20" fmla="*/ 197742 h 1036200"/>
                    <a:gd name="connsiteX21" fmla="*/ 1324107 w 2179454"/>
                    <a:gd name="connsiteY21" fmla="*/ 192240 h 1036200"/>
                    <a:gd name="connsiteX22" fmla="*/ 1279340 w 2179454"/>
                    <a:gd name="connsiteY22" fmla="*/ 124702 h 1036200"/>
                    <a:gd name="connsiteX23" fmla="*/ 1279340 w 2179454"/>
                    <a:gd name="connsiteY23" fmla="*/ 73298 h 1036200"/>
                    <a:gd name="connsiteX24" fmla="*/ 1352638 w 2179454"/>
                    <a:gd name="connsiteY24" fmla="*/ 0 h 1036200"/>
                    <a:gd name="connsiteX25" fmla="*/ 2106156 w 2179454"/>
                    <a:gd name="connsiteY25" fmla="*/ 0 h 1036200"/>
                    <a:gd name="connsiteX26" fmla="*/ 2134687 w 2179454"/>
                    <a:gd name="connsiteY26" fmla="*/ 5760 h 103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79454" h="1036200">
                      <a:moveTo>
                        <a:pt x="1301417" y="427532"/>
                      </a:moveTo>
                      <a:lnTo>
                        <a:pt x="1301417" y="607532"/>
                      </a:lnTo>
                      <a:lnTo>
                        <a:pt x="90000" y="607532"/>
                      </a:lnTo>
                      <a:cubicBezTo>
                        <a:pt x="40293" y="607532"/>
                        <a:pt x="0" y="567238"/>
                        <a:pt x="0" y="517532"/>
                      </a:cubicBezTo>
                      <a:cubicBezTo>
                        <a:pt x="0" y="467826"/>
                        <a:pt x="40293" y="427532"/>
                        <a:pt x="89999" y="427532"/>
                      </a:cubicBezTo>
                      <a:close/>
                      <a:moveTo>
                        <a:pt x="2134687" y="5760"/>
                      </a:moveTo>
                      <a:cubicBezTo>
                        <a:pt x="2160994" y="16888"/>
                        <a:pt x="2179454" y="42937"/>
                        <a:pt x="2179454" y="73298"/>
                      </a:cubicBezTo>
                      <a:lnTo>
                        <a:pt x="2179454" y="124702"/>
                      </a:lnTo>
                      <a:cubicBezTo>
                        <a:pt x="2179454" y="165183"/>
                        <a:pt x="2146637" y="198000"/>
                        <a:pt x="2106156" y="198000"/>
                      </a:cubicBezTo>
                      <a:lnTo>
                        <a:pt x="2100872" y="198000"/>
                      </a:lnTo>
                      <a:lnTo>
                        <a:pt x="2100872" y="838201"/>
                      </a:lnTo>
                      <a:lnTo>
                        <a:pt x="2106156" y="838201"/>
                      </a:lnTo>
                      <a:cubicBezTo>
                        <a:pt x="2146637" y="838200"/>
                        <a:pt x="2179454" y="871018"/>
                        <a:pt x="2179454" y="911499"/>
                      </a:cubicBezTo>
                      <a:lnTo>
                        <a:pt x="2179454" y="962903"/>
                      </a:lnTo>
                      <a:cubicBezTo>
                        <a:pt x="2179454" y="1003383"/>
                        <a:pt x="2146637" y="1036201"/>
                        <a:pt x="2106156" y="1036200"/>
                      </a:cubicBezTo>
                      <a:lnTo>
                        <a:pt x="1352638" y="1036200"/>
                      </a:lnTo>
                      <a:cubicBezTo>
                        <a:pt x="1312157" y="1036200"/>
                        <a:pt x="1279340" y="1003383"/>
                        <a:pt x="1279340" y="962903"/>
                      </a:cubicBezTo>
                      <a:lnTo>
                        <a:pt x="1279340" y="911499"/>
                      </a:lnTo>
                      <a:cubicBezTo>
                        <a:pt x="1279340" y="881138"/>
                        <a:pt x="1297799" y="855088"/>
                        <a:pt x="1324107" y="843961"/>
                      </a:cubicBezTo>
                      <a:lnTo>
                        <a:pt x="1351360" y="838458"/>
                      </a:lnTo>
                      <a:lnTo>
                        <a:pt x="1351360" y="197742"/>
                      </a:lnTo>
                      <a:lnTo>
                        <a:pt x="1324107" y="192240"/>
                      </a:lnTo>
                      <a:cubicBezTo>
                        <a:pt x="1297800" y="181112"/>
                        <a:pt x="1279340" y="155063"/>
                        <a:pt x="1279340" y="124702"/>
                      </a:cubicBezTo>
                      <a:lnTo>
                        <a:pt x="1279340" y="73298"/>
                      </a:lnTo>
                      <a:cubicBezTo>
                        <a:pt x="1279340" y="32817"/>
                        <a:pt x="1312157" y="0"/>
                        <a:pt x="1352638" y="0"/>
                      </a:cubicBezTo>
                      <a:lnTo>
                        <a:pt x="2106156" y="0"/>
                      </a:lnTo>
                      <a:cubicBezTo>
                        <a:pt x="2116276" y="0"/>
                        <a:pt x="2125917" y="2051"/>
                        <a:pt x="2134687" y="5760"/>
                      </a:cubicBezTo>
                      <a:close/>
                    </a:path>
                  </a:pathLst>
                </a:custGeom>
                <a:grpFill/>
                <a:ln w="9525" cap="flat" cmpd="sng" algn="ctr">
                  <a:noFill/>
                  <a:prstDash val="solid"/>
                </a:ln>
                <a:effectLst/>
              </p:spPr>
              <p:txBody>
                <a:bodyPr rtlCol="0" anchor="ctr"/>
                <a:lstStyle/>
                <a:p>
                  <a:pPr marL="0" marR="0" lvl="0" indent="0" algn="ctr" defTabSz="457200" eaLnBrk="0" fontAlgn="base" latinLnBrk="0" hangingPunct="0">
                    <a:lnSpc>
                      <a:spcPct val="10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prstClr val="black"/>
                    </a:solidFill>
                    <a:effectLst/>
                    <a:uLnTx/>
                    <a:uFillTx/>
                    <a:latin typeface="Calibri"/>
                    <a:ea typeface="+mn-ea"/>
                    <a:cs typeface="Arial" panose="020B0604020202020204" pitchFamily="34" charset="0"/>
                  </a:endParaRPr>
                </a:p>
              </p:txBody>
            </p:sp>
          </p:grpSp>
          <p:sp>
            <p:nvSpPr>
              <p:cNvPr id="127" name="Freeform 119">
                <a:extLst>
                  <a:ext uri="{FF2B5EF4-FFF2-40B4-BE49-F238E27FC236}">
                    <a16:creationId xmlns:a16="http://schemas.microsoft.com/office/drawing/2014/main" xmlns="" id="{BDB84196-B54D-4211-98AB-4BCBD0BFFC1F}"/>
                  </a:ext>
                </a:extLst>
              </p:cNvPr>
              <p:cNvSpPr/>
              <p:nvPr/>
            </p:nvSpPr>
            <p:spPr>
              <a:xfrm>
                <a:off x="8012746" y="5001710"/>
                <a:ext cx="384188" cy="445272"/>
              </a:xfrm>
              <a:custGeom>
                <a:avLst/>
                <a:gdLst>
                  <a:gd name="connsiteX0" fmla="*/ 1416008 w 2143124"/>
                  <a:gd name="connsiteY0" fmla="*/ 2247487 h 2483867"/>
                  <a:gd name="connsiteX1" fmla="*/ 1706283 w 2143124"/>
                  <a:gd name="connsiteY1" fmla="*/ 2247487 h 2483867"/>
                  <a:gd name="connsiteX2" fmla="*/ 1706283 w 2143124"/>
                  <a:gd name="connsiteY2" fmla="*/ 2297545 h 2483867"/>
                  <a:gd name="connsiteX3" fmla="*/ 1416008 w 2143124"/>
                  <a:gd name="connsiteY3" fmla="*/ 2297545 h 2483867"/>
                  <a:gd name="connsiteX4" fmla="*/ 635594 w 2143124"/>
                  <a:gd name="connsiteY4" fmla="*/ 2247487 h 2483867"/>
                  <a:gd name="connsiteX5" fmla="*/ 925869 w 2143124"/>
                  <a:gd name="connsiteY5" fmla="*/ 2247487 h 2483867"/>
                  <a:gd name="connsiteX6" fmla="*/ 925869 w 2143124"/>
                  <a:gd name="connsiteY6" fmla="*/ 2297545 h 2483867"/>
                  <a:gd name="connsiteX7" fmla="*/ 635594 w 2143124"/>
                  <a:gd name="connsiteY7" fmla="*/ 2297545 h 2483867"/>
                  <a:gd name="connsiteX8" fmla="*/ 1416008 w 2143124"/>
                  <a:gd name="connsiteY8" fmla="*/ 2142671 h 2483867"/>
                  <a:gd name="connsiteX9" fmla="*/ 1706283 w 2143124"/>
                  <a:gd name="connsiteY9" fmla="*/ 2142671 h 2483867"/>
                  <a:gd name="connsiteX10" fmla="*/ 1706283 w 2143124"/>
                  <a:gd name="connsiteY10" fmla="*/ 2192729 h 2483867"/>
                  <a:gd name="connsiteX11" fmla="*/ 1416008 w 2143124"/>
                  <a:gd name="connsiteY11" fmla="*/ 2192729 h 2483867"/>
                  <a:gd name="connsiteX12" fmla="*/ 635594 w 2143124"/>
                  <a:gd name="connsiteY12" fmla="*/ 2142671 h 2483867"/>
                  <a:gd name="connsiteX13" fmla="*/ 925869 w 2143124"/>
                  <a:gd name="connsiteY13" fmla="*/ 2142671 h 2483867"/>
                  <a:gd name="connsiteX14" fmla="*/ 925869 w 2143124"/>
                  <a:gd name="connsiteY14" fmla="*/ 2192729 h 2483867"/>
                  <a:gd name="connsiteX15" fmla="*/ 635594 w 2143124"/>
                  <a:gd name="connsiteY15" fmla="*/ 2192729 h 2483867"/>
                  <a:gd name="connsiteX16" fmla="*/ 1416008 w 2143124"/>
                  <a:gd name="connsiteY16" fmla="*/ 2037858 h 2483867"/>
                  <a:gd name="connsiteX17" fmla="*/ 1706283 w 2143124"/>
                  <a:gd name="connsiteY17" fmla="*/ 2037858 h 2483867"/>
                  <a:gd name="connsiteX18" fmla="*/ 1706283 w 2143124"/>
                  <a:gd name="connsiteY18" fmla="*/ 2087916 h 2483867"/>
                  <a:gd name="connsiteX19" fmla="*/ 1416008 w 2143124"/>
                  <a:gd name="connsiteY19" fmla="*/ 2087916 h 2483867"/>
                  <a:gd name="connsiteX20" fmla="*/ 635594 w 2143124"/>
                  <a:gd name="connsiteY20" fmla="*/ 2037858 h 2483867"/>
                  <a:gd name="connsiteX21" fmla="*/ 925869 w 2143124"/>
                  <a:gd name="connsiteY21" fmla="*/ 2037858 h 2483867"/>
                  <a:gd name="connsiteX22" fmla="*/ 925869 w 2143124"/>
                  <a:gd name="connsiteY22" fmla="*/ 2087916 h 2483867"/>
                  <a:gd name="connsiteX23" fmla="*/ 635594 w 2143124"/>
                  <a:gd name="connsiteY23" fmla="*/ 2087916 h 2483867"/>
                  <a:gd name="connsiteX24" fmla="*/ 1416008 w 2143124"/>
                  <a:gd name="connsiteY24" fmla="*/ 1933045 h 2483867"/>
                  <a:gd name="connsiteX25" fmla="*/ 1706283 w 2143124"/>
                  <a:gd name="connsiteY25" fmla="*/ 1933045 h 2483867"/>
                  <a:gd name="connsiteX26" fmla="*/ 1706283 w 2143124"/>
                  <a:gd name="connsiteY26" fmla="*/ 1983103 h 2483867"/>
                  <a:gd name="connsiteX27" fmla="*/ 1416008 w 2143124"/>
                  <a:gd name="connsiteY27" fmla="*/ 1983103 h 2483867"/>
                  <a:gd name="connsiteX28" fmla="*/ 635594 w 2143124"/>
                  <a:gd name="connsiteY28" fmla="*/ 1933045 h 2483867"/>
                  <a:gd name="connsiteX29" fmla="*/ 925869 w 2143124"/>
                  <a:gd name="connsiteY29" fmla="*/ 1933045 h 2483867"/>
                  <a:gd name="connsiteX30" fmla="*/ 925869 w 2143124"/>
                  <a:gd name="connsiteY30" fmla="*/ 1983103 h 2483867"/>
                  <a:gd name="connsiteX31" fmla="*/ 635594 w 2143124"/>
                  <a:gd name="connsiteY31" fmla="*/ 1983103 h 2483867"/>
                  <a:gd name="connsiteX32" fmla="*/ 1416008 w 2143124"/>
                  <a:gd name="connsiteY32" fmla="*/ 1828232 h 2483867"/>
                  <a:gd name="connsiteX33" fmla="*/ 1706283 w 2143124"/>
                  <a:gd name="connsiteY33" fmla="*/ 1828232 h 2483867"/>
                  <a:gd name="connsiteX34" fmla="*/ 1706283 w 2143124"/>
                  <a:gd name="connsiteY34" fmla="*/ 1878290 h 2483867"/>
                  <a:gd name="connsiteX35" fmla="*/ 1416008 w 2143124"/>
                  <a:gd name="connsiteY35" fmla="*/ 1878290 h 2483867"/>
                  <a:gd name="connsiteX36" fmla="*/ 635594 w 2143124"/>
                  <a:gd name="connsiteY36" fmla="*/ 1828232 h 2483867"/>
                  <a:gd name="connsiteX37" fmla="*/ 925869 w 2143124"/>
                  <a:gd name="connsiteY37" fmla="*/ 1828232 h 2483867"/>
                  <a:gd name="connsiteX38" fmla="*/ 925869 w 2143124"/>
                  <a:gd name="connsiteY38" fmla="*/ 1878290 h 2483867"/>
                  <a:gd name="connsiteX39" fmla="*/ 635594 w 2143124"/>
                  <a:gd name="connsiteY39" fmla="*/ 1878290 h 2483867"/>
                  <a:gd name="connsiteX40" fmla="*/ 1416008 w 2143124"/>
                  <a:gd name="connsiteY40" fmla="*/ 1723419 h 2483867"/>
                  <a:gd name="connsiteX41" fmla="*/ 1706283 w 2143124"/>
                  <a:gd name="connsiteY41" fmla="*/ 1723419 h 2483867"/>
                  <a:gd name="connsiteX42" fmla="*/ 1706283 w 2143124"/>
                  <a:gd name="connsiteY42" fmla="*/ 1773477 h 2483867"/>
                  <a:gd name="connsiteX43" fmla="*/ 1416008 w 2143124"/>
                  <a:gd name="connsiteY43" fmla="*/ 1773477 h 2483867"/>
                  <a:gd name="connsiteX44" fmla="*/ 635594 w 2143124"/>
                  <a:gd name="connsiteY44" fmla="*/ 1723419 h 2483867"/>
                  <a:gd name="connsiteX45" fmla="*/ 925869 w 2143124"/>
                  <a:gd name="connsiteY45" fmla="*/ 1723419 h 2483867"/>
                  <a:gd name="connsiteX46" fmla="*/ 925869 w 2143124"/>
                  <a:gd name="connsiteY46" fmla="*/ 1773477 h 2483867"/>
                  <a:gd name="connsiteX47" fmla="*/ 635594 w 2143124"/>
                  <a:gd name="connsiteY47" fmla="*/ 1773477 h 2483867"/>
                  <a:gd name="connsiteX48" fmla="*/ 1416008 w 2143124"/>
                  <a:gd name="connsiteY48" fmla="*/ 1618606 h 2483867"/>
                  <a:gd name="connsiteX49" fmla="*/ 1706283 w 2143124"/>
                  <a:gd name="connsiteY49" fmla="*/ 1618606 h 2483867"/>
                  <a:gd name="connsiteX50" fmla="*/ 1706283 w 2143124"/>
                  <a:gd name="connsiteY50" fmla="*/ 1668664 h 2483867"/>
                  <a:gd name="connsiteX51" fmla="*/ 1416008 w 2143124"/>
                  <a:gd name="connsiteY51" fmla="*/ 1668664 h 2483867"/>
                  <a:gd name="connsiteX52" fmla="*/ 635594 w 2143124"/>
                  <a:gd name="connsiteY52" fmla="*/ 1618606 h 2483867"/>
                  <a:gd name="connsiteX53" fmla="*/ 925869 w 2143124"/>
                  <a:gd name="connsiteY53" fmla="*/ 1618606 h 2483867"/>
                  <a:gd name="connsiteX54" fmla="*/ 925869 w 2143124"/>
                  <a:gd name="connsiteY54" fmla="*/ 1668664 h 2483867"/>
                  <a:gd name="connsiteX55" fmla="*/ 635594 w 2143124"/>
                  <a:gd name="connsiteY55" fmla="*/ 1668664 h 2483867"/>
                  <a:gd name="connsiteX56" fmla="*/ 1416008 w 2143124"/>
                  <a:gd name="connsiteY56" fmla="*/ 1513793 h 2483867"/>
                  <a:gd name="connsiteX57" fmla="*/ 1706283 w 2143124"/>
                  <a:gd name="connsiteY57" fmla="*/ 1513793 h 2483867"/>
                  <a:gd name="connsiteX58" fmla="*/ 1706283 w 2143124"/>
                  <a:gd name="connsiteY58" fmla="*/ 1563851 h 2483867"/>
                  <a:gd name="connsiteX59" fmla="*/ 1416008 w 2143124"/>
                  <a:gd name="connsiteY59" fmla="*/ 1563851 h 2483867"/>
                  <a:gd name="connsiteX60" fmla="*/ 635594 w 2143124"/>
                  <a:gd name="connsiteY60" fmla="*/ 1513793 h 2483867"/>
                  <a:gd name="connsiteX61" fmla="*/ 925869 w 2143124"/>
                  <a:gd name="connsiteY61" fmla="*/ 1513793 h 2483867"/>
                  <a:gd name="connsiteX62" fmla="*/ 925869 w 2143124"/>
                  <a:gd name="connsiteY62" fmla="*/ 1563851 h 2483867"/>
                  <a:gd name="connsiteX63" fmla="*/ 635594 w 2143124"/>
                  <a:gd name="connsiteY63" fmla="*/ 1563851 h 2483867"/>
                  <a:gd name="connsiteX64" fmla="*/ 228599 w 2143124"/>
                  <a:gd name="connsiteY64" fmla="*/ 1453830 h 2483867"/>
                  <a:gd name="connsiteX65" fmla="*/ 552450 w 2143124"/>
                  <a:gd name="connsiteY65" fmla="*/ 1453830 h 2483867"/>
                  <a:gd name="connsiteX66" fmla="*/ 552450 w 2143124"/>
                  <a:gd name="connsiteY66" fmla="*/ 2297544 h 2483867"/>
                  <a:gd name="connsiteX67" fmla="*/ 228599 w 2143124"/>
                  <a:gd name="connsiteY67" fmla="*/ 2297544 h 2483867"/>
                  <a:gd name="connsiteX68" fmla="*/ 1416008 w 2143124"/>
                  <a:gd name="connsiteY68" fmla="*/ 1408980 h 2483867"/>
                  <a:gd name="connsiteX69" fmla="*/ 1706283 w 2143124"/>
                  <a:gd name="connsiteY69" fmla="*/ 1408980 h 2483867"/>
                  <a:gd name="connsiteX70" fmla="*/ 1706283 w 2143124"/>
                  <a:gd name="connsiteY70" fmla="*/ 1459038 h 2483867"/>
                  <a:gd name="connsiteX71" fmla="*/ 1416008 w 2143124"/>
                  <a:gd name="connsiteY71" fmla="*/ 1459038 h 2483867"/>
                  <a:gd name="connsiteX72" fmla="*/ 635594 w 2143124"/>
                  <a:gd name="connsiteY72" fmla="*/ 1408980 h 2483867"/>
                  <a:gd name="connsiteX73" fmla="*/ 925869 w 2143124"/>
                  <a:gd name="connsiteY73" fmla="*/ 1408980 h 2483867"/>
                  <a:gd name="connsiteX74" fmla="*/ 925869 w 2143124"/>
                  <a:gd name="connsiteY74" fmla="*/ 1459038 h 2483867"/>
                  <a:gd name="connsiteX75" fmla="*/ 635594 w 2143124"/>
                  <a:gd name="connsiteY75" fmla="*/ 1459038 h 2483867"/>
                  <a:gd name="connsiteX76" fmla="*/ 1416008 w 2143124"/>
                  <a:gd name="connsiteY76" fmla="*/ 1304167 h 2483867"/>
                  <a:gd name="connsiteX77" fmla="*/ 1706283 w 2143124"/>
                  <a:gd name="connsiteY77" fmla="*/ 1304167 h 2483867"/>
                  <a:gd name="connsiteX78" fmla="*/ 1706283 w 2143124"/>
                  <a:gd name="connsiteY78" fmla="*/ 1354225 h 2483867"/>
                  <a:gd name="connsiteX79" fmla="*/ 1416008 w 2143124"/>
                  <a:gd name="connsiteY79" fmla="*/ 1354225 h 2483867"/>
                  <a:gd name="connsiteX80" fmla="*/ 635594 w 2143124"/>
                  <a:gd name="connsiteY80" fmla="*/ 1304167 h 2483867"/>
                  <a:gd name="connsiteX81" fmla="*/ 925869 w 2143124"/>
                  <a:gd name="connsiteY81" fmla="*/ 1304167 h 2483867"/>
                  <a:gd name="connsiteX82" fmla="*/ 925869 w 2143124"/>
                  <a:gd name="connsiteY82" fmla="*/ 1354225 h 2483867"/>
                  <a:gd name="connsiteX83" fmla="*/ 635594 w 2143124"/>
                  <a:gd name="connsiteY83" fmla="*/ 1354225 h 2483867"/>
                  <a:gd name="connsiteX84" fmla="*/ 1416008 w 2143124"/>
                  <a:gd name="connsiteY84" fmla="*/ 1199354 h 2483867"/>
                  <a:gd name="connsiteX85" fmla="*/ 1706283 w 2143124"/>
                  <a:gd name="connsiteY85" fmla="*/ 1199354 h 2483867"/>
                  <a:gd name="connsiteX86" fmla="*/ 1706283 w 2143124"/>
                  <a:gd name="connsiteY86" fmla="*/ 1249412 h 2483867"/>
                  <a:gd name="connsiteX87" fmla="*/ 1416008 w 2143124"/>
                  <a:gd name="connsiteY87" fmla="*/ 1249412 h 2483867"/>
                  <a:gd name="connsiteX88" fmla="*/ 635594 w 2143124"/>
                  <a:gd name="connsiteY88" fmla="*/ 1199354 h 2483867"/>
                  <a:gd name="connsiteX89" fmla="*/ 925869 w 2143124"/>
                  <a:gd name="connsiteY89" fmla="*/ 1199354 h 2483867"/>
                  <a:gd name="connsiteX90" fmla="*/ 925869 w 2143124"/>
                  <a:gd name="connsiteY90" fmla="*/ 1249412 h 2483867"/>
                  <a:gd name="connsiteX91" fmla="*/ 635594 w 2143124"/>
                  <a:gd name="connsiteY91" fmla="*/ 1249412 h 2483867"/>
                  <a:gd name="connsiteX92" fmla="*/ 1416008 w 2143124"/>
                  <a:gd name="connsiteY92" fmla="*/ 1094541 h 2483867"/>
                  <a:gd name="connsiteX93" fmla="*/ 1706283 w 2143124"/>
                  <a:gd name="connsiteY93" fmla="*/ 1094541 h 2483867"/>
                  <a:gd name="connsiteX94" fmla="*/ 1706283 w 2143124"/>
                  <a:gd name="connsiteY94" fmla="*/ 1144599 h 2483867"/>
                  <a:gd name="connsiteX95" fmla="*/ 1416008 w 2143124"/>
                  <a:gd name="connsiteY95" fmla="*/ 1144599 h 2483867"/>
                  <a:gd name="connsiteX96" fmla="*/ 1009013 w 2143124"/>
                  <a:gd name="connsiteY96" fmla="*/ 1002887 h 2483867"/>
                  <a:gd name="connsiteX97" fmla="*/ 1332864 w 2143124"/>
                  <a:gd name="connsiteY97" fmla="*/ 1002887 h 2483867"/>
                  <a:gd name="connsiteX98" fmla="*/ 1332864 w 2143124"/>
                  <a:gd name="connsiteY98" fmla="*/ 2297544 h 2483867"/>
                  <a:gd name="connsiteX99" fmla="*/ 1009013 w 2143124"/>
                  <a:gd name="connsiteY99" fmla="*/ 2297544 h 2483867"/>
                  <a:gd name="connsiteX100" fmla="*/ 1789427 w 2143124"/>
                  <a:gd name="connsiteY100" fmla="*/ 758413 h 2483867"/>
                  <a:gd name="connsiteX101" fmla="*/ 2113278 w 2143124"/>
                  <a:gd name="connsiteY101" fmla="*/ 758413 h 2483867"/>
                  <a:gd name="connsiteX102" fmla="*/ 2113278 w 2143124"/>
                  <a:gd name="connsiteY102" fmla="*/ 2297545 h 2483867"/>
                  <a:gd name="connsiteX103" fmla="*/ 1789427 w 2143124"/>
                  <a:gd name="connsiteY103" fmla="*/ 2297545 h 2483867"/>
                  <a:gd name="connsiteX104" fmla="*/ 2044701 w 2143124"/>
                  <a:gd name="connsiteY104" fmla="*/ 37687 h 2483867"/>
                  <a:gd name="connsiteX105" fmla="*/ 1933576 w 2143124"/>
                  <a:gd name="connsiteY105" fmla="*/ 444087 h 2483867"/>
                  <a:gd name="connsiteX106" fmla="*/ 1838326 w 2143124"/>
                  <a:gd name="connsiteY106" fmla="*/ 345662 h 2483867"/>
                  <a:gd name="connsiteX107" fmla="*/ 1457326 w 2143124"/>
                  <a:gd name="connsiteY107" fmla="*/ 672687 h 2483867"/>
                  <a:gd name="connsiteX108" fmla="*/ 1130301 w 2143124"/>
                  <a:gd name="connsiteY108" fmla="*/ 545687 h 2483867"/>
                  <a:gd name="connsiteX109" fmla="*/ 320676 w 2143124"/>
                  <a:gd name="connsiteY109" fmla="*/ 1218787 h 2483867"/>
                  <a:gd name="connsiteX110" fmla="*/ 1092201 w 2143124"/>
                  <a:gd name="connsiteY110" fmla="*/ 374237 h 2483867"/>
                  <a:gd name="connsiteX111" fmla="*/ 1419226 w 2143124"/>
                  <a:gd name="connsiteY111" fmla="*/ 513937 h 2483867"/>
                  <a:gd name="connsiteX112" fmla="*/ 1733551 w 2143124"/>
                  <a:gd name="connsiteY112" fmla="*/ 244062 h 2483867"/>
                  <a:gd name="connsiteX113" fmla="*/ 1641476 w 2143124"/>
                  <a:gd name="connsiteY113" fmla="*/ 136112 h 2483867"/>
                  <a:gd name="connsiteX114" fmla="*/ 0 w 2143124"/>
                  <a:gd name="connsiteY114" fmla="*/ 0 h 2483867"/>
                  <a:gd name="connsiteX115" fmla="*/ 76200 w 2143124"/>
                  <a:gd name="connsiteY115" fmla="*/ 0 h 2483867"/>
                  <a:gd name="connsiteX116" fmla="*/ 76200 w 2143124"/>
                  <a:gd name="connsiteY116" fmla="*/ 234921 h 2483867"/>
                  <a:gd name="connsiteX117" fmla="*/ 176047 w 2143124"/>
                  <a:gd name="connsiteY117" fmla="*/ 234921 h 2483867"/>
                  <a:gd name="connsiteX118" fmla="*/ 176047 w 2143124"/>
                  <a:gd name="connsiteY118" fmla="*/ 284979 h 2483867"/>
                  <a:gd name="connsiteX119" fmla="*/ 76200 w 2143124"/>
                  <a:gd name="connsiteY119" fmla="*/ 284979 h 2483867"/>
                  <a:gd name="connsiteX120" fmla="*/ 76200 w 2143124"/>
                  <a:gd name="connsiteY120" fmla="*/ 562891 h 2483867"/>
                  <a:gd name="connsiteX121" fmla="*/ 176047 w 2143124"/>
                  <a:gd name="connsiteY121" fmla="*/ 562891 h 2483867"/>
                  <a:gd name="connsiteX122" fmla="*/ 176047 w 2143124"/>
                  <a:gd name="connsiteY122" fmla="*/ 612949 h 2483867"/>
                  <a:gd name="connsiteX123" fmla="*/ 76200 w 2143124"/>
                  <a:gd name="connsiteY123" fmla="*/ 612949 h 2483867"/>
                  <a:gd name="connsiteX124" fmla="*/ 76200 w 2143124"/>
                  <a:gd name="connsiteY124" fmla="*/ 890861 h 2483867"/>
                  <a:gd name="connsiteX125" fmla="*/ 176047 w 2143124"/>
                  <a:gd name="connsiteY125" fmla="*/ 890861 h 2483867"/>
                  <a:gd name="connsiteX126" fmla="*/ 176047 w 2143124"/>
                  <a:gd name="connsiteY126" fmla="*/ 940919 h 2483867"/>
                  <a:gd name="connsiteX127" fmla="*/ 76200 w 2143124"/>
                  <a:gd name="connsiteY127" fmla="*/ 940919 h 2483867"/>
                  <a:gd name="connsiteX128" fmla="*/ 76200 w 2143124"/>
                  <a:gd name="connsiteY128" fmla="*/ 1218832 h 2483867"/>
                  <a:gd name="connsiteX129" fmla="*/ 176047 w 2143124"/>
                  <a:gd name="connsiteY129" fmla="*/ 1218832 h 2483867"/>
                  <a:gd name="connsiteX130" fmla="*/ 176047 w 2143124"/>
                  <a:gd name="connsiteY130" fmla="*/ 1268890 h 2483867"/>
                  <a:gd name="connsiteX131" fmla="*/ 76200 w 2143124"/>
                  <a:gd name="connsiteY131" fmla="*/ 1268890 h 2483867"/>
                  <a:gd name="connsiteX132" fmla="*/ 76200 w 2143124"/>
                  <a:gd name="connsiteY132" fmla="*/ 2420269 h 2483867"/>
                  <a:gd name="connsiteX133" fmla="*/ 2143124 w 2143124"/>
                  <a:gd name="connsiteY133" fmla="*/ 2420269 h 2483867"/>
                  <a:gd name="connsiteX134" fmla="*/ 2143124 w 2143124"/>
                  <a:gd name="connsiteY134" fmla="*/ 2483867 h 2483867"/>
                  <a:gd name="connsiteX135" fmla="*/ 76199 w 2143124"/>
                  <a:gd name="connsiteY135" fmla="*/ 2483867 h 2483867"/>
                  <a:gd name="connsiteX136" fmla="*/ 76199 w 2143124"/>
                  <a:gd name="connsiteY136" fmla="*/ 2482025 h 2483867"/>
                  <a:gd name="connsiteX137" fmla="*/ 0 w 2143124"/>
                  <a:gd name="connsiteY137" fmla="*/ 2482025 h 2483867"/>
                  <a:gd name="connsiteX0" fmla="*/ 1416008 w 2143124"/>
                  <a:gd name="connsiteY0" fmla="*/ 2247487 h 2483867"/>
                  <a:gd name="connsiteX1" fmla="*/ 1706283 w 2143124"/>
                  <a:gd name="connsiteY1" fmla="*/ 2247487 h 2483867"/>
                  <a:gd name="connsiteX2" fmla="*/ 1706283 w 2143124"/>
                  <a:gd name="connsiteY2" fmla="*/ 2297545 h 2483867"/>
                  <a:gd name="connsiteX3" fmla="*/ 1416008 w 2143124"/>
                  <a:gd name="connsiteY3" fmla="*/ 2297545 h 2483867"/>
                  <a:gd name="connsiteX4" fmla="*/ 1416008 w 2143124"/>
                  <a:gd name="connsiteY4" fmla="*/ 2247487 h 2483867"/>
                  <a:gd name="connsiteX5" fmla="*/ 635594 w 2143124"/>
                  <a:gd name="connsiteY5" fmla="*/ 2247487 h 2483867"/>
                  <a:gd name="connsiteX6" fmla="*/ 925869 w 2143124"/>
                  <a:gd name="connsiteY6" fmla="*/ 2247487 h 2483867"/>
                  <a:gd name="connsiteX7" fmla="*/ 925869 w 2143124"/>
                  <a:gd name="connsiteY7" fmla="*/ 2297545 h 2483867"/>
                  <a:gd name="connsiteX8" fmla="*/ 635594 w 2143124"/>
                  <a:gd name="connsiteY8" fmla="*/ 2297545 h 2483867"/>
                  <a:gd name="connsiteX9" fmla="*/ 635594 w 2143124"/>
                  <a:gd name="connsiteY9" fmla="*/ 2247487 h 2483867"/>
                  <a:gd name="connsiteX10" fmla="*/ 1416008 w 2143124"/>
                  <a:gd name="connsiteY10" fmla="*/ 2142671 h 2483867"/>
                  <a:gd name="connsiteX11" fmla="*/ 1706283 w 2143124"/>
                  <a:gd name="connsiteY11" fmla="*/ 2142671 h 2483867"/>
                  <a:gd name="connsiteX12" fmla="*/ 1706283 w 2143124"/>
                  <a:gd name="connsiteY12" fmla="*/ 2192729 h 2483867"/>
                  <a:gd name="connsiteX13" fmla="*/ 1416008 w 2143124"/>
                  <a:gd name="connsiteY13" fmla="*/ 2192729 h 2483867"/>
                  <a:gd name="connsiteX14" fmla="*/ 1416008 w 2143124"/>
                  <a:gd name="connsiteY14" fmla="*/ 2142671 h 2483867"/>
                  <a:gd name="connsiteX15" fmla="*/ 635594 w 2143124"/>
                  <a:gd name="connsiteY15" fmla="*/ 2142671 h 2483867"/>
                  <a:gd name="connsiteX16" fmla="*/ 925869 w 2143124"/>
                  <a:gd name="connsiteY16" fmla="*/ 2142671 h 2483867"/>
                  <a:gd name="connsiteX17" fmla="*/ 925869 w 2143124"/>
                  <a:gd name="connsiteY17" fmla="*/ 2192729 h 2483867"/>
                  <a:gd name="connsiteX18" fmla="*/ 635594 w 2143124"/>
                  <a:gd name="connsiteY18" fmla="*/ 2192729 h 2483867"/>
                  <a:gd name="connsiteX19" fmla="*/ 635594 w 2143124"/>
                  <a:gd name="connsiteY19" fmla="*/ 2142671 h 2483867"/>
                  <a:gd name="connsiteX20" fmla="*/ 1416008 w 2143124"/>
                  <a:gd name="connsiteY20" fmla="*/ 2037858 h 2483867"/>
                  <a:gd name="connsiteX21" fmla="*/ 1706283 w 2143124"/>
                  <a:gd name="connsiteY21" fmla="*/ 2037858 h 2483867"/>
                  <a:gd name="connsiteX22" fmla="*/ 1706283 w 2143124"/>
                  <a:gd name="connsiteY22" fmla="*/ 2087916 h 2483867"/>
                  <a:gd name="connsiteX23" fmla="*/ 1416008 w 2143124"/>
                  <a:gd name="connsiteY23" fmla="*/ 2087916 h 2483867"/>
                  <a:gd name="connsiteX24" fmla="*/ 1416008 w 2143124"/>
                  <a:gd name="connsiteY24" fmla="*/ 2037858 h 2483867"/>
                  <a:gd name="connsiteX25" fmla="*/ 635594 w 2143124"/>
                  <a:gd name="connsiteY25" fmla="*/ 2037858 h 2483867"/>
                  <a:gd name="connsiteX26" fmla="*/ 925869 w 2143124"/>
                  <a:gd name="connsiteY26" fmla="*/ 2037858 h 2483867"/>
                  <a:gd name="connsiteX27" fmla="*/ 925869 w 2143124"/>
                  <a:gd name="connsiteY27" fmla="*/ 2087916 h 2483867"/>
                  <a:gd name="connsiteX28" fmla="*/ 635594 w 2143124"/>
                  <a:gd name="connsiteY28" fmla="*/ 2087916 h 2483867"/>
                  <a:gd name="connsiteX29" fmla="*/ 635594 w 2143124"/>
                  <a:gd name="connsiteY29" fmla="*/ 2037858 h 2483867"/>
                  <a:gd name="connsiteX30" fmla="*/ 1416008 w 2143124"/>
                  <a:gd name="connsiteY30" fmla="*/ 1933045 h 2483867"/>
                  <a:gd name="connsiteX31" fmla="*/ 1706283 w 2143124"/>
                  <a:gd name="connsiteY31" fmla="*/ 1933045 h 2483867"/>
                  <a:gd name="connsiteX32" fmla="*/ 1706283 w 2143124"/>
                  <a:gd name="connsiteY32" fmla="*/ 1983103 h 2483867"/>
                  <a:gd name="connsiteX33" fmla="*/ 1416008 w 2143124"/>
                  <a:gd name="connsiteY33" fmla="*/ 1983103 h 2483867"/>
                  <a:gd name="connsiteX34" fmla="*/ 1416008 w 2143124"/>
                  <a:gd name="connsiteY34" fmla="*/ 1933045 h 2483867"/>
                  <a:gd name="connsiteX35" fmla="*/ 635594 w 2143124"/>
                  <a:gd name="connsiteY35" fmla="*/ 1933045 h 2483867"/>
                  <a:gd name="connsiteX36" fmla="*/ 925869 w 2143124"/>
                  <a:gd name="connsiteY36" fmla="*/ 1933045 h 2483867"/>
                  <a:gd name="connsiteX37" fmla="*/ 925869 w 2143124"/>
                  <a:gd name="connsiteY37" fmla="*/ 1983103 h 2483867"/>
                  <a:gd name="connsiteX38" fmla="*/ 635594 w 2143124"/>
                  <a:gd name="connsiteY38" fmla="*/ 1983103 h 2483867"/>
                  <a:gd name="connsiteX39" fmla="*/ 635594 w 2143124"/>
                  <a:gd name="connsiteY39" fmla="*/ 1933045 h 2483867"/>
                  <a:gd name="connsiteX40" fmla="*/ 1416008 w 2143124"/>
                  <a:gd name="connsiteY40" fmla="*/ 1828232 h 2483867"/>
                  <a:gd name="connsiteX41" fmla="*/ 1706283 w 2143124"/>
                  <a:gd name="connsiteY41" fmla="*/ 1828232 h 2483867"/>
                  <a:gd name="connsiteX42" fmla="*/ 1706283 w 2143124"/>
                  <a:gd name="connsiteY42" fmla="*/ 1878290 h 2483867"/>
                  <a:gd name="connsiteX43" fmla="*/ 1416008 w 2143124"/>
                  <a:gd name="connsiteY43" fmla="*/ 1878290 h 2483867"/>
                  <a:gd name="connsiteX44" fmla="*/ 1416008 w 2143124"/>
                  <a:gd name="connsiteY44" fmla="*/ 1828232 h 2483867"/>
                  <a:gd name="connsiteX45" fmla="*/ 635594 w 2143124"/>
                  <a:gd name="connsiteY45" fmla="*/ 1828232 h 2483867"/>
                  <a:gd name="connsiteX46" fmla="*/ 925869 w 2143124"/>
                  <a:gd name="connsiteY46" fmla="*/ 1828232 h 2483867"/>
                  <a:gd name="connsiteX47" fmla="*/ 925869 w 2143124"/>
                  <a:gd name="connsiteY47" fmla="*/ 1878290 h 2483867"/>
                  <a:gd name="connsiteX48" fmla="*/ 635594 w 2143124"/>
                  <a:gd name="connsiteY48" fmla="*/ 1878290 h 2483867"/>
                  <a:gd name="connsiteX49" fmla="*/ 635594 w 2143124"/>
                  <a:gd name="connsiteY49" fmla="*/ 1828232 h 2483867"/>
                  <a:gd name="connsiteX50" fmla="*/ 1416008 w 2143124"/>
                  <a:gd name="connsiteY50" fmla="*/ 1723419 h 2483867"/>
                  <a:gd name="connsiteX51" fmla="*/ 1706283 w 2143124"/>
                  <a:gd name="connsiteY51" fmla="*/ 1723419 h 2483867"/>
                  <a:gd name="connsiteX52" fmla="*/ 1706283 w 2143124"/>
                  <a:gd name="connsiteY52" fmla="*/ 1773477 h 2483867"/>
                  <a:gd name="connsiteX53" fmla="*/ 1416008 w 2143124"/>
                  <a:gd name="connsiteY53" fmla="*/ 1773477 h 2483867"/>
                  <a:gd name="connsiteX54" fmla="*/ 1416008 w 2143124"/>
                  <a:gd name="connsiteY54" fmla="*/ 1723419 h 2483867"/>
                  <a:gd name="connsiteX55" fmla="*/ 635594 w 2143124"/>
                  <a:gd name="connsiteY55" fmla="*/ 1723419 h 2483867"/>
                  <a:gd name="connsiteX56" fmla="*/ 925869 w 2143124"/>
                  <a:gd name="connsiteY56" fmla="*/ 1723419 h 2483867"/>
                  <a:gd name="connsiteX57" fmla="*/ 925869 w 2143124"/>
                  <a:gd name="connsiteY57" fmla="*/ 1773477 h 2483867"/>
                  <a:gd name="connsiteX58" fmla="*/ 635594 w 2143124"/>
                  <a:gd name="connsiteY58" fmla="*/ 1773477 h 2483867"/>
                  <a:gd name="connsiteX59" fmla="*/ 635594 w 2143124"/>
                  <a:gd name="connsiteY59" fmla="*/ 1723419 h 2483867"/>
                  <a:gd name="connsiteX60" fmla="*/ 1416008 w 2143124"/>
                  <a:gd name="connsiteY60" fmla="*/ 1618606 h 2483867"/>
                  <a:gd name="connsiteX61" fmla="*/ 1706283 w 2143124"/>
                  <a:gd name="connsiteY61" fmla="*/ 1618606 h 2483867"/>
                  <a:gd name="connsiteX62" fmla="*/ 1706283 w 2143124"/>
                  <a:gd name="connsiteY62" fmla="*/ 1668664 h 2483867"/>
                  <a:gd name="connsiteX63" fmla="*/ 1416008 w 2143124"/>
                  <a:gd name="connsiteY63" fmla="*/ 1668664 h 2483867"/>
                  <a:gd name="connsiteX64" fmla="*/ 1416008 w 2143124"/>
                  <a:gd name="connsiteY64" fmla="*/ 1618606 h 2483867"/>
                  <a:gd name="connsiteX65" fmla="*/ 635594 w 2143124"/>
                  <a:gd name="connsiteY65" fmla="*/ 1618606 h 2483867"/>
                  <a:gd name="connsiteX66" fmla="*/ 925869 w 2143124"/>
                  <a:gd name="connsiteY66" fmla="*/ 1618606 h 2483867"/>
                  <a:gd name="connsiteX67" fmla="*/ 925869 w 2143124"/>
                  <a:gd name="connsiteY67" fmla="*/ 1668664 h 2483867"/>
                  <a:gd name="connsiteX68" fmla="*/ 635594 w 2143124"/>
                  <a:gd name="connsiteY68" fmla="*/ 1668664 h 2483867"/>
                  <a:gd name="connsiteX69" fmla="*/ 635594 w 2143124"/>
                  <a:gd name="connsiteY69" fmla="*/ 1618606 h 2483867"/>
                  <a:gd name="connsiteX70" fmla="*/ 1416008 w 2143124"/>
                  <a:gd name="connsiteY70" fmla="*/ 1513793 h 2483867"/>
                  <a:gd name="connsiteX71" fmla="*/ 1706283 w 2143124"/>
                  <a:gd name="connsiteY71" fmla="*/ 1513793 h 2483867"/>
                  <a:gd name="connsiteX72" fmla="*/ 1706283 w 2143124"/>
                  <a:gd name="connsiteY72" fmla="*/ 1563851 h 2483867"/>
                  <a:gd name="connsiteX73" fmla="*/ 1416008 w 2143124"/>
                  <a:gd name="connsiteY73" fmla="*/ 1563851 h 2483867"/>
                  <a:gd name="connsiteX74" fmla="*/ 1416008 w 2143124"/>
                  <a:gd name="connsiteY74" fmla="*/ 1513793 h 2483867"/>
                  <a:gd name="connsiteX75" fmla="*/ 635594 w 2143124"/>
                  <a:gd name="connsiteY75" fmla="*/ 1513793 h 2483867"/>
                  <a:gd name="connsiteX76" fmla="*/ 925869 w 2143124"/>
                  <a:gd name="connsiteY76" fmla="*/ 1513793 h 2483867"/>
                  <a:gd name="connsiteX77" fmla="*/ 925869 w 2143124"/>
                  <a:gd name="connsiteY77" fmla="*/ 1563851 h 2483867"/>
                  <a:gd name="connsiteX78" fmla="*/ 635594 w 2143124"/>
                  <a:gd name="connsiteY78" fmla="*/ 1563851 h 2483867"/>
                  <a:gd name="connsiteX79" fmla="*/ 635594 w 2143124"/>
                  <a:gd name="connsiteY79" fmla="*/ 1513793 h 2483867"/>
                  <a:gd name="connsiteX80" fmla="*/ 228599 w 2143124"/>
                  <a:gd name="connsiteY80" fmla="*/ 1453830 h 2483867"/>
                  <a:gd name="connsiteX81" fmla="*/ 552450 w 2143124"/>
                  <a:gd name="connsiteY81" fmla="*/ 1453830 h 2483867"/>
                  <a:gd name="connsiteX82" fmla="*/ 552450 w 2143124"/>
                  <a:gd name="connsiteY82" fmla="*/ 2297544 h 2483867"/>
                  <a:gd name="connsiteX83" fmla="*/ 228599 w 2143124"/>
                  <a:gd name="connsiteY83" fmla="*/ 2297544 h 2483867"/>
                  <a:gd name="connsiteX84" fmla="*/ 228599 w 2143124"/>
                  <a:gd name="connsiteY84" fmla="*/ 1453830 h 2483867"/>
                  <a:gd name="connsiteX85" fmla="*/ 1416008 w 2143124"/>
                  <a:gd name="connsiteY85" fmla="*/ 1408980 h 2483867"/>
                  <a:gd name="connsiteX86" fmla="*/ 1706283 w 2143124"/>
                  <a:gd name="connsiteY86" fmla="*/ 1408980 h 2483867"/>
                  <a:gd name="connsiteX87" fmla="*/ 1706283 w 2143124"/>
                  <a:gd name="connsiteY87" fmla="*/ 1459038 h 2483867"/>
                  <a:gd name="connsiteX88" fmla="*/ 1416008 w 2143124"/>
                  <a:gd name="connsiteY88" fmla="*/ 1459038 h 2483867"/>
                  <a:gd name="connsiteX89" fmla="*/ 1416008 w 2143124"/>
                  <a:gd name="connsiteY89" fmla="*/ 1408980 h 2483867"/>
                  <a:gd name="connsiteX90" fmla="*/ 635594 w 2143124"/>
                  <a:gd name="connsiteY90" fmla="*/ 1408980 h 2483867"/>
                  <a:gd name="connsiteX91" fmla="*/ 925869 w 2143124"/>
                  <a:gd name="connsiteY91" fmla="*/ 1408980 h 2483867"/>
                  <a:gd name="connsiteX92" fmla="*/ 925869 w 2143124"/>
                  <a:gd name="connsiteY92" fmla="*/ 1459038 h 2483867"/>
                  <a:gd name="connsiteX93" fmla="*/ 635594 w 2143124"/>
                  <a:gd name="connsiteY93" fmla="*/ 1459038 h 2483867"/>
                  <a:gd name="connsiteX94" fmla="*/ 635594 w 2143124"/>
                  <a:gd name="connsiteY94" fmla="*/ 1408980 h 2483867"/>
                  <a:gd name="connsiteX95" fmla="*/ 1416008 w 2143124"/>
                  <a:gd name="connsiteY95" fmla="*/ 1304167 h 2483867"/>
                  <a:gd name="connsiteX96" fmla="*/ 1706283 w 2143124"/>
                  <a:gd name="connsiteY96" fmla="*/ 1304167 h 2483867"/>
                  <a:gd name="connsiteX97" fmla="*/ 1706283 w 2143124"/>
                  <a:gd name="connsiteY97" fmla="*/ 1354225 h 2483867"/>
                  <a:gd name="connsiteX98" fmla="*/ 1416008 w 2143124"/>
                  <a:gd name="connsiteY98" fmla="*/ 1354225 h 2483867"/>
                  <a:gd name="connsiteX99" fmla="*/ 1416008 w 2143124"/>
                  <a:gd name="connsiteY99" fmla="*/ 1304167 h 2483867"/>
                  <a:gd name="connsiteX100" fmla="*/ 635594 w 2143124"/>
                  <a:gd name="connsiteY100" fmla="*/ 1304167 h 2483867"/>
                  <a:gd name="connsiteX101" fmla="*/ 925869 w 2143124"/>
                  <a:gd name="connsiteY101" fmla="*/ 1304167 h 2483867"/>
                  <a:gd name="connsiteX102" fmla="*/ 925869 w 2143124"/>
                  <a:gd name="connsiteY102" fmla="*/ 1354225 h 2483867"/>
                  <a:gd name="connsiteX103" fmla="*/ 635594 w 2143124"/>
                  <a:gd name="connsiteY103" fmla="*/ 1354225 h 2483867"/>
                  <a:gd name="connsiteX104" fmla="*/ 635594 w 2143124"/>
                  <a:gd name="connsiteY104" fmla="*/ 1304167 h 2483867"/>
                  <a:gd name="connsiteX105" fmla="*/ 1416008 w 2143124"/>
                  <a:gd name="connsiteY105" fmla="*/ 1199354 h 2483867"/>
                  <a:gd name="connsiteX106" fmla="*/ 1706283 w 2143124"/>
                  <a:gd name="connsiteY106" fmla="*/ 1199354 h 2483867"/>
                  <a:gd name="connsiteX107" fmla="*/ 1706283 w 2143124"/>
                  <a:gd name="connsiteY107" fmla="*/ 1249412 h 2483867"/>
                  <a:gd name="connsiteX108" fmla="*/ 1416008 w 2143124"/>
                  <a:gd name="connsiteY108" fmla="*/ 1249412 h 2483867"/>
                  <a:gd name="connsiteX109" fmla="*/ 1416008 w 2143124"/>
                  <a:gd name="connsiteY109" fmla="*/ 1199354 h 2483867"/>
                  <a:gd name="connsiteX110" fmla="*/ 635594 w 2143124"/>
                  <a:gd name="connsiteY110" fmla="*/ 1199354 h 2483867"/>
                  <a:gd name="connsiteX111" fmla="*/ 925869 w 2143124"/>
                  <a:gd name="connsiteY111" fmla="*/ 1199354 h 2483867"/>
                  <a:gd name="connsiteX112" fmla="*/ 925869 w 2143124"/>
                  <a:gd name="connsiteY112" fmla="*/ 1249412 h 2483867"/>
                  <a:gd name="connsiteX113" fmla="*/ 635594 w 2143124"/>
                  <a:gd name="connsiteY113" fmla="*/ 1249412 h 2483867"/>
                  <a:gd name="connsiteX114" fmla="*/ 635594 w 2143124"/>
                  <a:gd name="connsiteY114" fmla="*/ 1199354 h 2483867"/>
                  <a:gd name="connsiteX115" fmla="*/ 1416008 w 2143124"/>
                  <a:gd name="connsiteY115" fmla="*/ 1094541 h 2483867"/>
                  <a:gd name="connsiteX116" fmla="*/ 1706283 w 2143124"/>
                  <a:gd name="connsiteY116" fmla="*/ 1094541 h 2483867"/>
                  <a:gd name="connsiteX117" fmla="*/ 1706283 w 2143124"/>
                  <a:gd name="connsiteY117" fmla="*/ 1144599 h 2483867"/>
                  <a:gd name="connsiteX118" fmla="*/ 1416008 w 2143124"/>
                  <a:gd name="connsiteY118" fmla="*/ 1144599 h 2483867"/>
                  <a:gd name="connsiteX119" fmla="*/ 1416008 w 2143124"/>
                  <a:gd name="connsiteY119" fmla="*/ 1094541 h 2483867"/>
                  <a:gd name="connsiteX120" fmla="*/ 1009013 w 2143124"/>
                  <a:gd name="connsiteY120" fmla="*/ 1002887 h 2483867"/>
                  <a:gd name="connsiteX121" fmla="*/ 1332864 w 2143124"/>
                  <a:gd name="connsiteY121" fmla="*/ 1002887 h 2483867"/>
                  <a:gd name="connsiteX122" fmla="*/ 1332864 w 2143124"/>
                  <a:gd name="connsiteY122" fmla="*/ 2297544 h 2483867"/>
                  <a:gd name="connsiteX123" fmla="*/ 1009013 w 2143124"/>
                  <a:gd name="connsiteY123" fmla="*/ 2297544 h 2483867"/>
                  <a:gd name="connsiteX124" fmla="*/ 1009013 w 2143124"/>
                  <a:gd name="connsiteY124" fmla="*/ 1002887 h 2483867"/>
                  <a:gd name="connsiteX125" fmla="*/ 1789427 w 2143124"/>
                  <a:gd name="connsiteY125" fmla="*/ 758413 h 2483867"/>
                  <a:gd name="connsiteX126" fmla="*/ 2113278 w 2143124"/>
                  <a:gd name="connsiteY126" fmla="*/ 758413 h 2483867"/>
                  <a:gd name="connsiteX127" fmla="*/ 2113278 w 2143124"/>
                  <a:gd name="connsiteY127" fmla="*/ 2297545 h 2483867"/>
                  <a:gd name="connsiteX128" fmla="*/ 1789427 w 2143124"/>
                  <a:gd name="connsiteY128" fmla="*/ 2297545 h 2483867"/>
                  <a:gd name="connsiteX129" fmla="*/ 1789427 w 2143124"/>
                  <a:gd name="connsiteY129" fmla="*/ 758413 h 2483867"/>
                  <a:gd name="connsiteX130" fmla="*/ 2044701 w 2143124"/>
                  <a:gd name="connsiteY130" fmla="*/ 37687 h 2483867"/>
                  <a:gd name="connsiteX131" fmla="*/ 1933576 w 2143124"/>
                  <a:gd name="connsiteY131" fmla="*/ 444087 h 2483867"/>
                  <a:gd name="connsiteX132" fmla="*/ 1838326 w 2143124"/>
                  <a:gd name="connsiteY132" fmla="*/ 345662 h 2483867"/>
                  <a:gd name="connsiteX133" fmla="*/ 1457326 w 2143124"/>
                  <a:gd name="connsiteY133" fmla="*/ 672687 h 2483867"/>
                  <a:gd name="connsiteX134" fmla="*/ 1130301 w 2143124"/>
                  <a:gd name="connsiteY134" fmla="*/ 545687 h 2483867"/>
                  <a:gd name="connsiteX135" fmla="*/ 320676 w 2143124"/>
                  <a:gd name="connsiteY135" fmla="*/ 1218787 h 2483867"/>
                  <a:gd name="connsiteX136" fmla="*/ 1092201 w 2143124"/>
                  <a:gd name="connsiteY136" fmla="*/ 374237 h 2483867"/>
                  <a:gd name="connsiteX137" fmla="*/ 1419226 w 2143124"/>
                  <a:gd name="connsiteY137" fmla="*/ 513937 h 2483867"/>
                  <a:gd name="connsiteX138" fmla="*/ 1733551 w 2143124"/>
                  <a:gd name="connsiteY138" fmla="*/ 244062 h 2483867"/>
                  <a:gd name="connsiteX139" fmla="*/ 1641476 w 2143124"/>
                  <a:gd name="connsiteY139" fmla="*/ 136112 h 2483867"/>
                  <a:gd name="connsiteX140" fmla="*/ 2044701 w 2143124"/>
                  <a:gd name="connsiteY140" fmla="*/ 37687 h 2483867"/>
                  <a:gd name="connsiteX141" fmla="*/ 0 w 2143124"/>
                  <a:gd name="connsiteY141" fmla="*/ 0 h 2483867"/>
                  <a:gd name="connsiteX142" fmla="*/ 76200 w 2143124"/>
                  <a:gd name="connsiteY142" fmla="*/ 0 h 2483867"/>
                  <a:gd name="connsiteX143" fmla="*/ 76200 w 2143124"/>
                  <a:gd name="connsiteY143" fmla="*/ 234921 h 2483867"/>
                  <a:gd name="connsiteX144" fmla="*/ 176047 w 2143124"/>
                  <a:gd name="connsiteY144" fmla="*/ 234921 h 2483867"/>
                  <a:gd name="connsiteX145" fmla="*/ 176047 w 2143124"/>
                  <a:gd name="connsiteY145" fmla="*/ 284979 h 2483867"/>
                  <a:gd name="connsiteX146" fmla="*/ 76200 w 2143124"/>
                  <a:gd name="connsiteY146" fmla="*/ 284979 h 2483867"/>
                  <a:gd name="connsiteX147" fmla="*/ 76200 w 2143124"/>
                  <a:gd name="connsiteY147" fmla="*/ 562891 h 2483867"/>
                  <a:gd name="connsiteX148" fmla="*/ 176047 w 2143124"/>
                  <a:gd name="connsiteY148" fmla="*/ 562891 h 2483867"/>
                  <a:gd name="connsiteX149" fmla="*/ 176047 w 2143124"/>
                  <a:gd name="connsiteY149" fmla="*/ 612949 h 2483867"/>
                  <a:gd name="connsiteX150" fmla="*/ 76200 w 2143124"/>
                  <a:gd name="connsiteY150" fmla="*/ 612949 h 2483867"/>
                  <a:gd name="connsiteX151" fmla="*/ 76200 w 2143124"/>
                  <a:gd name="connsiteY151" fmla="*/ 890861 h 2483867"/>
                  <a:gd name="connsiteX152" fmla="*/ 176047 w 2143124"/>
                  <a:gd name="connsiteY152" fmla="*/ 890861 h 2483867"/>
                  <a:gd name="connsiteX153" fmla="*/ 176047 w 2143124"/>
                  <a:gd name="connsiteY153" fmla="*/ 940919 h 2483867"/>
                  <a:gd name="connsiteX154" fmla="*/ 76200 w 2143124"/>
                  <a:gd name="connsiteY154" fmla="*/ 940919 h 2483867"/>
                  <a:gd name="connsiteX155" fmla="*/ 76200 w 2143124"/>
                  <a:gd name="connsiteY155" fmla="*/ 1218832 h 2483867"/>
                  <a:gd name="connsiteX156" fmla="*/ 176047 w 2143124"/>
                  <a:gd name="connsiteY156" fmla="*/ 1218832 h 2483867"/>
                  <a:gd name="connsiteX157" fmla="*/ 176047 w 2143124"/>
                  <a:gd name="connsiteY157" fmla="*/ 1268890 h 2483867"/>
                  <a:gd name="connsiteX158" fmla="*/ 76200 w 2143124"/>
                  <a:gd name="connsiteY158" fmla="*/ 1268890 h 2483867"/>
                  <a:gd name="connsiteX159" fmla="*/ 76200 w 2143124"/>
                  <a:gd name="connsiteY159" fmla="*/ 2420269 h 2483867"/>
                  <a:gd name="connsiteX160" fmla="*/ 2143124 w 2143124"/>
                  <a:gd name="connsiteY160" fmla="*/ 2420269 h 2483867"/>
                  <a:gd name="connsiteX161" fmla="*/ 2143124 w 2143124"/>
                  <a:gd name="connsiteY161" fmla="*/ 2483867 h 2483867"/>
                  <a:gd name="connsiteX162" fmla="*/ 76199 w 2143124"/>
                  <a:gd name="connsiteY162" fmla="*/ 2483867 h 2483867"/>
                  <a:gd name="connsiteX163" fmla="*/ 76199 w 2143124"/>
                  <a:gd name="connsiteY163" fmla="*/ 2482025 h 2483867"/>
                  <a:gd name="connsiteX164" fmla="*/ 0 w 2143124"/>
                  <a:gd name="connsiteY164" fmla="*/ 2482025 h 2483867"/>
                  <a:gd name="connsiteX165" fmla="*/ 0 w 2143124"/>
                  <a:gd name="connsiteY165" fmla="*/ 0 h 2483867"/>
                  <a:gd name="connsiteX0" fmla="*/ 1416008 w 2143124"/>
                  <a:gd name="connsiteY0" fmla="*/ 2247487 h 2483867"/>
                  <a:gd name="connsiteX1" fmla="*/ 1706283 w 2143124"/>
                  <a:gd name="connsiteY1" fmla="*/ 2247487 h 2483867"/>
                  <a:gd name="connsiteX2" fmla="*/ 1706283 w 2143124"/>
                  <a:gd name="connsiteY2" fmla="*/ 2297545 h 2483867"/>
                  <a:gd name="connsiteX3" fmla="*/ 1416008 w 2143124"/>
                  <a:gd name="connsiteY3" fmla="*/ 2297545 h 2483867"/>
                  <a:gd name="connsiteX4" fmla="*/ 1416008 w 2143124"/>
                  <a:gd name="connsiteY4" fmla="*/ 2247487 h 2483867"/>
                  <a:gd name="connsiteX5" fmla="*/ 635594 w 2143124"/>
                  <a:gd name="connsiteY5" fmla="*/ 2247487 h 2483867"/>
                  <a:gd name="connsiteX6" fmla="*/ 925869 w 2143124"/>
                  <a:gd name="connsiteY6" fmla="*/ 2247487 h 2483867"/>
                  <a:gd name="connsiteX7" fmla="*/ 925869 w 2143124"/>
                  <a:gd name="connsiteY7" fmla="*/ 2297545 h 2483867"/>
                  <a:gd name="connsiteX8" fmla="*/ 635594 w 2143124"/>
                  <a:gd name="connsiteY8" fmla="*/ 2297545 h 2483867"/>
                  <a:gd name="connsiteX9" fmla="*/ 635594 w 2143124"/>
                  <a:gd name="connsiteY9" fmla="*/ 2247487 h 2483867"/>
                  <a:gd name="connsiteX10" fmla="*/ 1416008 w 2143124"/>
                  <a:gd name="connsiteY10" fmla="*/ 2142671 h 2483867"/>
                  <a:gd name="connsiteX11" fmla="*/ 1706283 w 2143124"/>
                  <a:gd name="connsiteY11" fmla="*/ 2142671 h 2483867"/>
                  <a:gd name="connsiteX12" fmla="*/ 1706283 w 2143124"/>
                  <a:gd name="connsiteY12" fmla="*/ 2192729 h 2483867"/>
                  <a:gd name="connsiteX13" fmla="*/ 1416008 w 2143124"/>
                  <a:gd name="connsiteY13" fmla="*/ 2192729 h 2483867"/>
                  <a:gd name="connsiteX14" fmla="*/ 1416008 w 2143124"/>
                  <a:gd name="connsiteY14" fmla="*/ 2142671 h 2483867"/>
                  <a:gd name="connsiteX15" fmla="*/ 635594 w 2143124"/>
                  <a:gd name="connsiteY15" fmla="*/ 2142671 h 2483867"/>
                  <a:gd name="connsiteX16" fmla="*/ 925869 w 2143124"/>
                  <a:gd name="connsiteY16" fmla="*/ 2142671 h 2483867"/>
                  <a:gd name="connsiteX17" fmla="*/ 925869 w 2143124"/>
                  <a:gd name="connsiteY17" fmla="*/ 2192729 h 2483867"/>
                  <a:gd name="connsiteX18" fmla="*/ 635594 w 2143124"/>
                  <a:gd name="connsiteY18" fmla="*/ 2192729 h 2483867"/>
                  <a:gd name="connsiteX19" fmla="*/ 635594 w 2143124"/>
                  <a:gd name="connsiteY19" fmla="*/ 2142671 h 2483867"/>
                  <a:gd name="connsiteX20" fmla="*/ 1416008 w 2143124"/>
                  <a:gd name="connsiteY20" fmla="*/ 2037858 h 2483867"/>
                  <a:gd name="connsiteX21" fmla="*/ 1706283 w 2143124"/>
                  <a:gd name="connsiteY21" fmla="*/ 2037858 h 2483867"/>
                  <a:gd name="connsiteX22" fmla="*/ 1706283 w 2143124"/>
                  <a:gd name="connsiteY22" fmla="*/ 2087916 h 2483867"/>
                  <a:gd name="connsiteX23" fmla="*/ 1416008 w 2143124"/>
                  <a:gd name="connsiteY23" fmla="*/ 2087916 h 2483867"/>
                  <a:gd name="connsiteX24" fmla="*/ 1416008 w 2143124"/>
                  <a:gd name="connsiteY24" fmla="*/ 2037858 h 2483867"/>
                  <a:gd name="connsiteX25" fmla="*/ 635594 w 2143124"/>
                  <a:gd name="connsiteY25" fmla="*/ 2037858 h 2483867"/>
                  <a:gd name="connsiteX26" fmla="*/ 925869 w 2143124"/>
                  <a:gd name="connsiteY26" fmla="*/ 2037858 h 2483867"/>
                  <a:gd name="connsiteX27" fmla="*/ 925869 w 2143124"/>
                  <a:gd name="connsiteY27" fmla="*/ 2087916 h 2483867"/>
                  <a:gd name="connsiteX28" fmla="*/ 635594 w 2143124"/>
                  <a:gd name="connsiteY28" fmla="*/ 2087916 h 2483867"/>
                  <a:gd name="connsiteX29" fmla="*/ 635594 w 2143124"/>
                  <a:gd name="connsiteY29" fmla="*/ 2037858 h 2483867"/>
                  <a:gd name="connsiteX30" fmla="*/ 1416008 w 2143124"/>
                  <a:gd name="connsiteY30" fmla="*/ 1933045 h 2483867"/>
                  <a:gd name="connsiteX31" fmla="*/ 1706283 w 2143124"/>
                  <a:gd name="connsiteY31" fmla="*/ 1933045 h 2483867"/>
                  <a:gd name="connsiteX32" fmla="*/ 1706283 w 2143124"/>
                  <a:gd name="connsiteY32" fmla="*/ 1983103 h 2483867"/>
                  <a:gd name="connsiteX33" fmla="*/ 1416008 w 2143124"/>
                  <a:gd name="connsiteY33" fmla="*/ 1983103 h 2483867"/>
                  <a:gd name="connsiteX34" fmla="*/ 1416008 w 2143124"/>
                  <a:gd name="connsiteY34" fmla="*/ 1933045 h 2483867"/>
                  <a:gd name="connsiteX35" fmla="*/ 635594 w 2143124"/>
                  <a:gd name="connsiteY35" fmla="*/ 1933045 h 2483867"/>
                  <a:gd name="connsiteX36" fmla="*/ 925869 w 2143124"/>
                  <a:gd name="connsiteY36" fmla="*/ 1933045 h 2483867"/>
                  <a:gd name="connsiteX37" fmla="*/ 925869 w 2143124"/>
                  <a:gd name="connsiteY37" fmla="*/ 1983103 h 2483867"/>
                  <a:gd name="connsiteX38" fmla="*/ 635594 w 2143124"/>
                  <a:gd name="connsiteY38" fmla="*/ 1983103 h 2483867"/>
                  <a:gd name="connsiteX39" fmla="*/ 635594 w 2143124"/>
                  <a:gd name="connsiteY39" fmla="*/ 1933045 h 2483867"/>
                  <a:gd name="connsiteX40" fmla="*/ 1416008 w 2143124"/>
                  <a:gd name="connsiteY40" fmla="*/ 1828232 h 2483867"/>
                  <a:gd name="connsiteX41" fmla="*/ 1706283 w 2143124"/>
                  <a:gd name="connsiteY41" fmla="*/ 1828232 h 2483867"/>
                  <a:gd name="connsiteX42" fmla="*/ 1706283 w 2143124"/>
                  <a:gd name="connsiteY42" fmla="*/ 1878290 h 2483867"/>
                  <a:gd name="connsiteX43" fmla="*/ 1416008 w 2143124"/>
                  <a:gd name="connsiteY43" fmla="*/ 1878290 h 2483867"/>
                  <a:gd name="connsiteX44" fmla="*/ 1416008 w 2143124"/>
                  <a:gd name="connsiteY44" fmla="*/ 1828232 h 2483867"/>
                  <a:gd name="connsiteX45" fmla="*/ 635594 w 2143124"/>
                  <a:gd name="connsiteY45" fmla="*/ 1828232 h 2483867"/>
                  <a:gd name="connsiteX46" fmla="*/ 925869 w 2143124"/>
                  <a:gd name="connsiteY46" fmla="*/ 1828232 h 2483867"/>
                  <a:gd name="connsiteX47" fmla="*/ 925869 w 2143124"/>
                  <a:gd name="connsiteY47" fmla="*/ 1878290 h 2483867"/>
                  <a:gd name="connsiteX48" fmla="*/ 635594 w 2143124"/>
                  <a:gd name="connsiteY48" fmla="*/ 1878290 h 2483867"/>
                  <a:gd name="connsiteX49" fmla="*/ 635594 w 2143124"/>
                  <a:gd name="connsiteY49" fmla="*/ 1828232 h 2483867"/>
                  <a:gd name="connsiteX50" fmla="*/ 1416008 w 2143124"/>
                  <a:gd name="connsiteY50" fmla="*/ 1723419 h 2483867"/>
                  <a:gd name="connsiteX51" fmla="*/ 1706283 w 2143124"/>
                  <a:gd name="connsiteY51" fmla="*/ 1723419 h 2483867"/>
                  <a:gd name="connsiteX52" fmla="*/ 1706283 w 2143124"/>
                  <a:gd name="connsiteY52" fmla="*/ 1773477 h 2483867"/>
                  <a:gd name="connsiteX53" fmla="*/ 1416008 w 2143124"/>
                  <a:gd name="connsiteY53" fmla="*/ 1773477 h 2483867"/>
                  <a:gd name="connsiteX54" fmla="*/ 1416008 w 2143124"/>
                  <a:gd name="connsiteY54" fmla="*/ 1723419 h 2483867"/>
                  <a:gd name="connsiteX55" fmla="*/ 635594 w 2143124"/>
                  <a:gd name="connsiteY55" fmla="*/ 1723419 h 2483867"/>
                  <a:gd name="connsiteX56" fmla="*/ 925869 w 2143124"/>
                  <a:gd name="connsiteY56" fmla="*/ 1723419 h 2483867"/>
                  <a:gd name="connsiteX57" fmla="*/ 925869 w 2143124"/>
                  <a:gd name="connsiteY57" fmla="*/ 1773477 h 2483867"/>
                  <a:gd name="connsiteX58" fmla="*/ 635594 w 2143124"/>
                  <a:gd name="connsiteY58" fmla="*/ 1773477 h 2483867"/>
                  <a:gd name="connsiteX59" fmla="*/ 635594 w 2143124"/>
                  <a:gd name="connsiteY59" fmla="*/ 1723419 h 2483867"/>
                  <a:gd name="connsiteX60" fmla="*/ 1416008 w 2143124"/>
                  <a:gd name="connsiteY60" fmla="*/ 1618606 h 2483867"/>
                  <a:gd name="connsiteX61" fmla="*/ 1706283 w 2143124"/>
                  <a:gd name="connsiteY61" fmla="*/ 1618606 h 2483867"/>
                  <a:gd name="connsiteX62" fmla="*/ 1706283 w 2143124"/>
                  <a:gd name="connsiteY62" fmla="*/ 1668664 h 2483867"/>
                  <a:gd name="connsiteX63" fmla="*/ 1416008 w 2143124"/>
                  <a:gd name="connsiteY63" fmla="*/ 1668664 h 2483867"/>
                  <a:gd name="connsiteX64" fmla="*/ 1416008 w 2143124"/>
                  <a:gd name="connsiteY64" fmla="*/ 1618606 h 2483867"/>
                  <a:gd name="connsiteX65" fmla="*/ 635594 w 2143124"/>
                  <a:gd name="connsiteY65" fmla="*/ 1618606 h 2483867"/>
                  <a:gd name="connsiteX66" fmla="*/ 925869 w 2143124"/>
                  <a:gd name="connsiteY66" fmla="*/ 1618606 h 2483867"/>
                  <a:gd name="connsiteX67" fmla="*/ 925869 w 2143124"/>
                  <a:gd name="connsiteY67" fmla="*/ 1668664 h 2483867"/>
                  <a:gd name="connsiteX68" fmla="*/ 635594 w 2143124"/>
                  <a:gd name="connsiteY68" fmla="*/ 1668664 h 2483867"/>
                  <a:gd name="connsiteX69" fmla="*/ 635594 w 2143124"/>
                  <a:gd name="connsiteY69" fmla="*/ 1618606 h 2483867"/>
                  <a:gd name="connsiteX70" fmla="*/ 1416008 w 2143124"/>
                  <a:gd name="connsiteY70" fmla="*/ 1513793 h 2483867"/>
                  <a:gd name="connsiteX71" fmla="*/ 1706283 w 2143124"/>
                  <a:gd name="connsiteY71" fmla="*/ 1513793 h 2483867"/>
                  <a:gd name="connsiteX72" fmla="*/ 1706283 w 2143124"/>
                  <a:gd name="connsiteY72" fmla="*/ 1563851 h 2483867"/>
                  <a:gd name="connsiteX73" fmla="*/ 1416008 w 2143124"/>
                  <a:gd name="connsiteY73" fmla="*/ 1563851 h 2483867"/>
                  <a:gd name="connsiteX74" fmla="*/ 1416008 w 2143124"/>
                  <a:gd name="connsiteY74" fmla="*/ 1513793 h 2483867"/>
                  <a:gd name="connsiteX75" fmla="*/ 635594 w 2143124"/>
                  <a:gd name="connsiteY75" fmla="*/ 1513793 h 2483867"/>
                  <a:gd name="connsiteX76" fmla="*/ 925869 w 2143124"/>
                  <a:gd name="connsiteY76" fmla="*/ 1513793 h 2483867"/>
                  <a:gd name="connsiteX77" fmla="*/ 925869 w 2143124"/>
                  <a:gd name="connsiteY77" fmla="*/ 1563851 h 2483867"/>
                  <a:gd name="connsiteX78" fmla="*/ 635594 w 2143124"/>
                  <a:gd name="connsiteY78" fmla="*/ 1563851 h 2483867"/>
                  <a:gd name="connsiteX79" fmla="*/ 635594 w 2143124"/>
                  <a:gd name="connsiteY79" fmla="*/ 1513793 h 2483867"/>
                  <a:gd name="connsiteX80" fmla="*/ 228599 w 2143124"/>
                  <a:gd name="connsiteY80" fmla="*/ 1453830 h 2483867"/>
                  <a:gd name="connsiteX81" fmla="*/ 552450 w 2143124"/>
                  <a:gd name="connsiteY81" fmla="*/ 1453830 h 2483867"/>
                  <a:gd name="connsiteX82" fmla="*/ 552450 w 2143124"/>
                  <a:gd name="connsiteY82" fmla="*/ 2297544 h 2483867"/>
                  <a:gd name="connsiteX83" fmla="*/ 228599 w 2143124"/>
                  <a:gd name="connsiteY83" fmla="*/ 2297544 h 2483867"/>
                  <a:gd name="connsiteX84" fmla="*/ 228599 w 2143124"/>
                  <a:gd name="connsiteY84" fmla="*/ 1453830 h 2483867"/>
                  <a:gd name="connsiteX85" fmla="*/ 1416008 w 2143124"/>
                  <a:gd name="connsiteY85" fmla="*/ 1408980 h 2483867"/>
                  <a:gd name="connsiteX86" fmla="*/ 1706283 w 2143124"/>
                  <a:gd name="connsiteY86" fmla="*/ 1408980 h 2483867"/>
                  <a:gd name="connsiteX87" fmla="*/ 1706283 w 2143124"/>
                  <a:gd name="connsiteY87" fmla="*/ 1459038 h 2483867"/>
                  <a:gd name="connsiteX88" fmla="*/ 1416008 w 2143124"/>
                  <a:gd name="connsiteY88" fmla="*/ 1459038 h 2483867"/>
                  <a:gd name="connsiteX89" fmla="*/ 1416008 w 2143124"/>
                  <a:gd name="connsiteY89" fmla="*/ 1408980 h 2483867"/>
                  <a:gd name="connsiteX90" fmla="*/ 635594 w 2143124"/>
                  <a:gd name="connsiteY90" fmla="*/ 1408980 h 2483867"/>
                  <a:gd name="connsiteX91" fmla="*/ 925869 w 2143124"/>
                  <a:gd name="connsiteY91" fmla="*/ 1408980 h 2483867"/>
                  <a:gd name="connsiteX92" fmla="*/ 925869 w 2143124"/>
                  <a:gd name="connsiteY92" fmla="*/ 1459038 h 2483867"/>
                  <a:gd name="connsiteX93" fmla="*/ 635594 w 2143124"/>
                  <a:gd name="connsiteY93" fmla="*/ 1459038 h 2483867"/>
                  <a:gd name="connsiteX94" fmla="*/ 635594 w 2143124"/>
                  <a:gd name="connsiteY94" fmla="*/ 1408980 h 2483867"/>
                  <a:gd name="connsiteX95" fmla="*/ 1416008 w 2143124"/>
                  <a:gd name="connsiteY95" fmla="*/ 1304167 h 2483867"/>
                  <a:gd name="connsiteX96" fmla="*/ 1706283 w 2143124"/>
                  <a:gd name="connsiteY96" fmla="*/ 1304167 h 2483867"/>
                  <a:gd name="connsiteX97" fmla="*/ 1706283 w 2143124"/>
                  <a:gd name="connsiteY97" fmla="*/ 1354225 h 2483867"/>
                  <a:gd name="connsiteX98" fmla="*/ 1416008 w 2143124"/>
                  <a:gd name="connsiteY98" fmla="*/ 1354225 h 2483867"/>
                  <a:gd name="connsiteX99" fmla="*/ 1416008 w 2143124"/>
                  <a:gd name="connsiteY99" fmla="*/ 1304167 h 2483867"/>
                  <a:gd name="connsiteX100" fmla="*/ 635594 w 2143124"/>
                  <a:gd name="connsiteY100" fmla="*/ 1304167 h 2483867"/>
                  <a:gd name="connsiteX101" fmla="*/ 925869 w 2143124"/>
                  <a:gd name="connsiteY101" fmla="*/ 1304167 h 2483867"/>
                  <a:gd name="connsiteX102" fmla="*/ 925869 w 2143124"/>
                  <a:gd name="connsiteY102" fmla="*/ 1354225 h 2483867"/>
                  <a:gd name="connsiteX103" fmla="*/ 635594 w 2143124"/>
                  <a:gd name="connsiteY103" fmla="*/ 1354225 h 2483867"/>
                  <a:gd name="connsiteX104" fmla="*/ 635594 w 2143124"/>
                  <a:gd name="connsiteY104" fmla="*/ 1304167 h 2483867"/>
                  <a:gd name="connsiteX105" fmla="*/ 1416008 w 2143124"/>
                  <a:gd name="connsiteY105" fmla="*/ 1199354 h 2483867"/>
                  <a:gd name="connsiteX106" fmla="*/ 1706283 w 2143124"/>
                  <a:gd name="connsiteY106" fmla="*/ 1199354 h 2483867"/>
                  <a:gd name="connsiteX107" fmla="*/ 1706283 w 2143124"/>
                  <a:gd name="connsiteY107" fmla="*/ 1249412 h 2483867"/>
                  <a:gd name="connsiteX108" fmla="*/ 1416008 w 2143124"/>
                  <a:gd name="connsiteY108" fmla="*/ 1249412 h 2483867"/>
                  <a:gd name="connsiteX109" fmla="*/ 1416008 w 2143124"/>
                  <a:gd name="connsiteY109" fmla="*/ 1199354 h 2483867"/>
                  <a:gd name="connsiteX110" fmla="*/ 635594 w 2143124"/>
                  <a:gd name="connsiteY110" fmla="*/ 1199354 h 2483867"/>
                  <a:gd name="connsiteX111" fmla="*/ 925869 w 2143124"/>
                  <a:gd name="connsiteY111" fmla="*/ 1199354 h 2483867"/>
                  <a:gd name="connsiteX112" fmla="*/ 925869 w 2143124"/>
                  <a:gd name="connsiteY112" fmla="*/ 1249412 h 2483867"/>
                  <a:gd name="connsiteX113" fmla="*/ 635594 w 2143124"/>
                  <a:gd name="connsiteY113" fmla="*/ 1249412 h 2483867"/>
                  <a:gd name="connsiteX114" fmla="*/ 635594 w 2143124"/>
                  <a:gd name="connsiteY114" fmla="*/ 1199354 h 2483867"/>
                  <a:gd name="connsiteX115" fmla="*/ 1416008 w 2143124"/>
                  <a:gd name="connsiteY115" fmla="*/ 1094541 h 2483867"/>
                  <a:gd name="connsiteX116" fmla="*/ 1706283 w 2143124"/>
                  <a:gd name="connsiteY116" fmla="*/ 1094541 h 2483867"/>
                  <a:gd name="connsiteX117" fmla="*/ 1706283 w 2143124"/>
                  <a:gd name="connsiteY117" fmla="*/ 1144599 h 2483867"/>
                  <a:gd name="connsiteX118" fmla="*/ 1416008 w 2143124"/>
                  <a:gd name="connsiteY118" fmla="*/ 1144599 h 2483867"/>
                  <a:gd name="connsiteX119" fmla="*/ 1416008 w 2143124"/>
                  <a:gd name="connsiteY119" fmla="*/ 1094541 h 2483867"/>
                  <a:gd name="connsiteX120" fmla="*/ 1009013 w 2143124"/>
                  <a:gd name="connsiteY120" fmla="*/ 1002887 h 2483867"/>
                  <a:gd name="connsiteX121" fmla="*/ 1332864 w 2143124"/>
                  <a:gd name="connsiteY121" fmla="*/ 1002887 h 2483867"/>
                  <a:gd name="connsiteX122" fmla="*/ 1332864 w 2143124"/>
                  <a:gd name="connsiteY122" fmla="*/ 2297544 h 2483867"/>
                  <a:gd name="connsiteX123" fmla="*/ 1009013 w 2143124"/>
                  <a:gd name="connsiteY123" fmla="*/ 2297544 h 2483867"/>
                  <a:gd name="connsiteX124" fmla="*/ 1009013 w 2143124"/>
                  <a:gd name="connsiteY124" fmla="*/ 1002887 h 2483867"/>
                  <a:gd name="connsiteX125" fmla="*/ 1789427 w 2143124"/>
                  <a:gd name="connsiteY125" fmla="*/ 758413 h 2483867"/>
                  <a:gd name="connsiteX126" fmla="*/ 2113278 w 2143124"/>
                  <a:gd name="connsiteY126" fmla="*/ 758413 h 2483867"/>
                  <a:gd name="connsiteX127" fmla="*/ 2113278 w 2143124"/>
                  <a:gd name="connsiteY127" fmla="*/ 2297545 h 2483867"/>
                  <a:gd name="connsiteX128" fmla="*/ 1789427 w 2143124"/>
                  <a:gd name="connsiteY128" fmla="*/ 2297545 h 2483867"/>
                  <a:gd name="connsiteX129" fmla="*/ 1789427 w 2143124"/>
                  <a:gd name="connsiteY129" fmla="*/ 758413 h 2483867"/>
                  <a:gd name="connsiteX130" fmla="*/ 2044701 w 2143124"/>
                  <a:gd name="connsiteY130" fmla="*/ 37687 h 2483867"/>
                  <a:gd name="connsiteX131" fmla="*/ 1933576 w 2143124"/>
                  <a:gd name="connsiteY131" fmla="*/ 444087 h 2483867"/>
                  <a:gd name="connsiteX132" fmla="*/ 1838326 w 2143124"/>
                  <a:gd name="connsiteY132" fmla="*/ 345662 h 2483867"/>
                  <a:gd name="connsiteX133" fmla="*/ 1457326 w 2143124"/>
                  <a:gd name="connsiteY133" fmla="*/ 672687 h 2483867"/>
                  <a:gd name="connsiteX134" fmla="*/ 1130301 w 2143124"/>
                  <a:gd name="connsiteY134" fmla="*/ 545687 h 2483867"/>
                  <a:gd name="connsiteX135" fmla="*/ 320676 w 2143124"/>
                  <a:gd name="connsiteY135" fmla="*/ 1218787 h 2483867"/>
                  <a:gd name="connsiteX136" fmla="*/ 1092201 w 2143124"/>
                  <a:gd name="connsiteY136" fmla="*/ 374237 h 2483867"/>
                  <a:gd name="connsiteX137" fmla="*/ 1419226 w 2143124"/>
                  <a:gd name="connsiteY137" fmla="*/ 513937 h 2483867"/>
                  <a:gd name="connsiteX138" fmla="*/ 1733551 w 2143124"/>
                  <a:gd name="connsiteY138" fmla="*/ 244062 h 2483867"/>
                  <a:gd name="connsiteX139" fmla="*/ 1641476 w 2143124"/>
                  <a:gd name="connsiteY139" fmla="*/ 136112 h 2483867"/>
                  <a:gd name="connsiteX140" fmla="*/ 2044701 w 2143124"/>
                  <a:gd name="connsiteY140" fmla="*/ 37687 h 2483867"/>
                  <a:gd name="connsiteX141" fmla="*/ 0 w 2143124"/>
                  <a:gd name="connsiteY141" fmla="*/ 0 h 2483867"/>
                  <a:gd name="connsiteX142" fmla="*/ 76200 w 2143124"/>
                  <a:gd name="connsiteY142" fmla="*/ 0 h 2483867"/>
                  <a:gd name="connsiteX143" fmla="*/ 76200 w 2143124"/>
                  <a:gd name="connsiteY143" fmla="*/ 234921 h 2483867"/>
                  <a:gd name="connsiteX144" fmla="*/ 176047 w 2143124"/>
                  <a:gd name="connsiteY144" fmla="*/ 234921 h 2483867"/>
                  <a:gd name="connsiteX145" fmla="*/ 176047 w 2143124"/>
                  <a:gd name="connsiteY145" fmla="*/ 284979 h 2483867"/>
                  <a:gd name="connsiteX146" fmla="*/ 76200 w 2143124"/>
                  <a:gd name="connsiteY146" fmla="*/ 284979 h 2483867"/>
                  <a:gd name="connsiteX147" fmla="*/ 76200 w 2143124"/>
                  <a:gd name="connsiteY147" fmla="*/ 562891 h 2483867"/>
                  <a:gd name="connsiteX148" fmla="*/ 176047 w 2143124"/>
                  <a:gd name="connsiteY148" fmla="*/ 562891 h 2483867"/>
                  <a:gd name="connsiteX149" fmla="*/ 176047 w 2143124"/>
                  <a:gd name="connsiteY149" fmla="*/ 612949 h 2483867"/>
                  <a:gd name="connsiteX150" fmla="*/ 76200 w 2143124"/>
                  <a:gd name="connsiteY150" fmla="*/ 612949 h 2483867"/>
                  <a:gd name="connsiteX151" fmla="*/ 76200 w 2143124"/>
                  <a:gd name="connsiteY151" fmla="*/ 890861 h 2483867"/>
                  <a:gd name="connsiteX152" fmla="*/ 176047 w 2143124"/>
                  <a:gd name="connsiteY152" fmla="*/ 890861 h 2483867"/>
                  <a:gd name="connsiteX153" fmla="*/ 176047 w 2143124"/>
                  <a:gd name="connsiteY153" fmla="*/ 940919 h 2483867"/>
                  <a:gd name="connsiteX154" fmla="*/ 76200 w 2143124"/>
                  <a:gd name="connsiteY154" fmla="*/ 940919 h 2483867"/>
                  <a:gd name="connsiteX155" fmla="*/ 76200 w 2143124"/>
                  <a:gd name="connsiteY155" fmla="*/ 1218832 h 2483867"/>
                  <a:gd name="connsiteX156" fmla="*/ 176047 w 2143124"/>
                  <a:gd name="connsiteY156" fmla="*/ 1218832 h 2483867"/>
                  <a:gd name="connsiteX157" fmla="*/ 176047 w 2143124"/>
                  <a:gd name="connsiteY157" fmla="*/ 1268890 h 2483867"/>
                  <a:gd name="connsiteX158" fmla="*/ 76200 w 2143124"/>
                  <a:gd name="connsiteY158" fmla="*/ 1268890 h 2483867"/>
                  <a:gd name="connsiteX159" fmla="*/ 76200 w 2143124"/>
                  <a:gd name="connsiteY159" fmla="*/ 2420269 h 2483867"/>
                  <a:gd name="connsiteX160" fmla="*/ 2143124 w 2143124"/>
                  <a:gd name="connsiteY160" fmla="*/ 2420269 h 2483867"/>
                  <a:gd name="connsiteX161" fmla="*/ 2143124 w 2143124"/>
                  <a:gd name="connsiteY161" fmla="*/ 2483867 h 2483867"/>
                  <a:gd name="connsiteX162" fmla="*/ 76199 w 2143124"/>
                  <a:gd name="connsiteY162" fmla="*/ 2483867 h 2483867"/>
                  <a:gd name="connsiteX163" fmla="*/ 76199 w 2143124"/>
                  <a:gd name="connsiteY163" fmla="*/ 2482025 h 2483867"/>
                  <a:gd name="connsiteX164" fmla="*/ 0 w 2143124"/>
                  <a:gd name="connsiteY164" fmla="*/ 2482025 h 2483867"/>
                  <a:gd name="connsiteX165" fmla="*/ 0 w 2143124"/>
                  <a:gd name="connsiteY165" fmla="*/ 0 h 248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2143124" h="2483867">
                    <a:moveTo>
                      <a:pt x="1416008" y="2247487"/>
                    </a:moveTo>
                    <a:lnTo>
                      <a:pt x="1706283" y="2247487"/>
                    </a:lnTo>
                    <a:lnTo>
                      <a:pt x="1706283" y="2297545"/>
                    </a:lnTo>
                    <a:lnTo>
                      <a:pt x="1416008" y="2297545"/>
                    </a:lnTo>
                    <a:lnTo>
                      <a:pt x="1416008" y="2247487"/>
                    </a:lnTo>
                    <a:close/>
                    <a:moveTo>
                      <a:pt x="635594" y="2247487"/>
                    </a:moveTo>
                    <a:lnTo>
                      <a:pt x="925869" y="2247487"/>
                    </a:lnTo>
                    <a:lnTo>
                      <a:pt x="925869" y="2297545"/>
                    </a:lnTo>
                    <a:lnTo>
                      <a:pt x="635594" y="2297545"/>
                    </a:lnTo>
                    <a:lnTo>
                      <a:pt x="635594" y="2247487"/>
                    </a:lnTo>
                    <a:close/>
                    <a:moveTo>
                      <a:pt x="1416008" y="2142671"/>
                    </a:moveTo>
                    <a:lnTo>
                      <a:pt x="1706283" y="2142671"/>
                    </a:lnTo>
                    <a:lnTo>
                      <a:pt x="1706283" y="2192729"/>
                    </a:lnTo>
                    <a:lnTo>
                      <a:pt x="1416008" y="2192729"/>
                    </a:lnTo>
                    <a:lnTo>
                      <a:pt x="1416008" y="2142671"/>
                    </a:lnTo>
                    <a:close/>
                    <a:moveTo>
                      <a:pt x="635594" y="2142671"/>
                    </a:moveTo>
                    <a:lnTo>
                      <a:pt x="925869" y="2142671"/>
                    </a:lnTo>
                    <a:lnTo>
                      <a:pt x="925869" y="2192729"/>
                    </a:lnTo>
                    <a:lnTo>
                      <a:pt x="635594" y="2192729"/>
                    </a:lnTo>
                    <a:lnTo>
                      <a:pt x="635594" y="2142671"/>
                    </a:lnTo>
                    <a:close/>
                    <a:moveTo>
                      <a:pt x="1416008" y="2037858"/>
                    </a:moveTo>
                    <a:lnTo>
                      <a:pt x="1706283" y="2037858"/>
                    </a:lnTo>
                    <a:lnTo>
                      <a:pt x="1706283" y="2087916"/>
                    </a:lnTo>
                    <a:lnTo>
                      <a:pt x="1416008" y="2087916"/>
                    </a:lnTo>
                    <a:lnTo>
                      <a:pt x="1416008" y="2037858"/>
                    </a:lnTo>
                    <a:close/>
                    <a:moveTo>
                      <a:pt x="635594" y="2037858"/>
                    </a:moveTo>
                    <a:lnTo>
                      <a:pt x="925869" y="2037858"/>
                    </a:lnTo>
                    <a:lnTo>
                      <a:pt x="925869" y="2087916"/>
                    </a:lnTo>
                    <a:lnTo>
                      <a:pt x="635594" y="2087916"/>
                    </a:lnTo>
                    <a:lnTo>
                      <a:pt x="635594" y="2037858"/>
                    </a:lnTo>
                    <a:close/>
                    <a:moveTo>
                      <a:pt x="1416008" y="1933045"/>
                    </a:moveTo>
                    <a:lnTo>
                      <a:pt x="1706283" y="1933045"/>
                    </a:lnTo>
                    <a:lnTo>
                      <a:pt x="1706283" y="1983103"/>
                    </a:lnTo>
                    <a:lnTo>
                      <a:pt x="1416008" y="1983103"/>
                    </a:lnTo>
                    <a:lnTo>
                      <a:pt x="1416008" y="1933045"/>
                    </a:lnTo>
                    <a:close/>
                    <a:moveTo>
                      <a:pt x="635594" y="1933045"/>
                    </a:moveTo>
                    <a:lnTo>
                      <a:pt x="925869" y="1933045"/>
                    </a:lnTo>
                    <a:lnTo>
                      <a:pt x="925869" y="1983103"/>
                    </a:lnTo>
                    <a:lnTo>
                      <a:pt x="635594" y="1983103"/>
                    </a:lnTo>
                    <a:lnTo>
                      <a:pt x="635594" y="1933045"/>
                    </a:lnTo>
                    <a:close/>
                    <a:moveTo>
                      <a:pt x="1416008" y="1828232"/>
                    </a:moveTo>
                    <a:lnTo>
                      <a:pt x="1706283" y="1828232"/>
                    </a:lnTo>
                    <a:lnTo>
                      <a:pt x="1706283" y="1878290"/>
                    </a:lnTo>
                    <a:lnTo>
                      <a:pt x="1416008" y="1878290"/>
                    </a:lnTo>
                    <a:lnTo>
                      <a:pt x="1416008" y="1828232"/>
                    </a:lnTo>
                    <a:close/>
                    <a:moveTo>
                      <a:pt x="635594" y="1828232"/>
                    </a:moveTo>
                    <a:lnTo>
                      <a:pt x="925869" y="1828232"/>
                    </a:lnTo>
                    <a:lnTo>
                      <a:pt x="925869" y="1878290"/>
                    </a:lnTo>
                    <a:lnTo>
                      <a:pt x="635594" y="1878290"/>
                    </a:lnTo>
                    <a:lnTo>
                      <a:pt x="635594" y="1828232"/>
                    </a:lnTo>
                    <a:close/>
                    <a:moveTo>
                      <a:pt x="1416008" y="1723419"/>
                    </a:moveTo>
                    <a:lnTo>
                      <a:pt x="1706283" y="1723419"/>
                    </a:lnTo>
                    <a:lnTo>
                      <a:pt x="1706283" y="1773477"/>
                    </a:lnTo>
                    <a:lnTo>
                      <a:pt x="1416008" y="1773477"/>
                    </a:lnTo>
                    <a:lnTo>
                      <a:pt x="1416008" y="1723419"/>
                    </a:lnTo>
                    <a:close/>
                    <a:moveTo>
                      <a:pt x="635594" y="1723419"/>
                    </a:moveTo>
                    <a:lnTo>
                      <a:pt x="925869" y="1723419"/>
                    </a:lnTo>
                    <a:lnTo>
                      <a:pt x="925869" y="1773477"/>
                    </a:lnTo>
                    <a:lnTo>
                      <a:pt x="635594" y="1773477"/>
                    </a:lnTo>
                    <a:lnTo>
                      <a:pt x="635594" y="1723419"/>
                    </a:lnTo>
                    <a:close/>
                    <a:moveTo>
                      <a:pt x="1416008" y="1618606"/>
                    </a:moveTo>
                    <a:lnTo>
                      <a:pt x="1706283" y="1618606"/>
                    </a:lnTo>
                    <a:lnTo>
                      <a:pt x="1706283" y="1668664"/>
                    </a:lnTo>
                    <a:lnTo>
                      <a:pt x="1416008" y="1668664"/>
                    </a:lnTo>
                    <a:lnTo>
                      <a:pt x="1416008" y="1618606"/>
                    </a:lnTo>
                    <a:close/>
                    <a:moveTo>
                      <a:pt x="635594" y="1618606"/>
                    </a:moveTo>
                    <a:lnTo>
                      <a:pt x="925869" y="1618606"/>
                    </a:lnTo>
                    <a:lnTo>
                      <a:pt x="925869" y="1668664"/>
                    </a:lnTo>
                    <a:lnTo>
                      <a:pt x="635594" y="1668664"/>
                    </a:lnTo>
                    <a:lnTo>
                      <a:pt x="635594" y="1618606"/>
                    </a:lnTo>
                    <a:close/>
                    <a:moveTo>
                      <a:pt x="1416008" y="1513793"/>
                    </a:moveTo>
                    <a:lnTo>
                      <a:pt x="1706283" y="1513793"/>
                    </a:lnTo>
                    <a:lnTo>
                      <a:pt x="1706283" y="1563851"/>
                    </a:lnTo>
                    <a:lnTo>
                      <a:pt x="1416008" y="1563851"/>
                    </a:lnTo>
                    <a:lnTo>
                      <a:pt x="1416008" y="1513793"/>
                    </a:lnTo>
                    <a:close/>
                    <a:moveTo>
                      <a:pt x="635594" y="1513793"/>
                    </a:moveTo>
                    <a:lnTo>
                      <a:pt x="925869" y="1513793"/>
                    </a:lnTo>
                    <a:lnTo>
                      <a:pt x="925869" y="1563851"/>
                    </a:lnTo>
                    <a:lnTo>
                      <a:pt x="635594" y="1563851"/>
                    </a:lnTo>
                    <a:lnTo>
                      <a:pt x="635594" y="1513793"/>
                    </a:lnTo>
                    <a:close/>
                    <a:moveTo>
                      <a:pt x="228599" y="1453830"/>
                    </a:moveTo>
                    <a:lnTo>
                      <a:pt x="552450" y="1453830"/>
                    </a:lnTo>
                    <a:lnTo>
                      <a:pt x="552450" y="2297544"/>
                    </a:lnTo>
                    <a:lnTo>
                      <a:pt x="228599" y="2297544"/>
                    </a:lnTo>
                    <a:lnTo>
                      <a:pt x="228599" y="1453830"/>
                    </a:lnTo>
                    <a:close/>
                    <a:moveTo>
                      <a:pt x="1416008" y="1408980"/>
                    </a:moveTo>
                    <a:lnTo>
                      <a:pt x="1706283" y="1408980"/>
                    </a:lnTo>
                    <a:lnTo>
                      <a:pt x="1706283" y="1459038"/>
                    </a:lnTo>
                    <a:lnTo>
                      <a:pt x="1416008" y="1459038"/>
                    </a:lnTo>
                    <a:lnTo>
                      <a:pt x="1416008" y="1408980"/>
                    </a:lnTo>
                    <a:close/>
                    <a:moveTo>
                      <a:pt x="635594" y="1408980"/>
                    </a:moveTo>
                    <a:lnTo>
                      <a:pt x="925869" y="1408980"/>
                    </a:lnTo>
                    <a:lnTo>
                      <a:pt x="925869" y="1459038"/>
                    </a:lnTo>
                    <a:lnTo>
                      <a:pt x="635594" y="1459038"/>
                    </a:lnTo>
                    <a:lnTo>
                      <a:pt x="635594" y="1408980"/>
                    </a:lnTo>
                    <a:close/>
                    <a:moveTo>
                      <a:pt x="1416008" y="1304167"/>
                    </a:moveTo>
                    <a:lnTo>
                      <a:pt x="1706283" y="1304167"/>
                    </a:lnTo>
                    <a:lnTo>
                      <a:pt x="1706283" y="1354225"/>
                    </a:lnTo>
                    <a:lnTo>
                      <a:pt x="1416008" y="1354225"/>
                    </a:lnTo>
                    <a:lnTo>
                      <a:pt x="1416008" y="1304167"/>
                    </a:lnTo>
                    <a:close/>
                    <a:moveTo>
                      <a:pt x="635594" y="1304167"/>
                    </a:moveTo>
                    <a:lnTo>
                      <a:pt x="925869" y="1304167"/>
                    </a:lnTo>
                    <a:lnTo>
                      <a:pt x="925869" y="1354225"/>
                    </a:lnTo>
                    <a:lnTo>
                      <a:pt x="635594" y="1354225"/>
                    </a:lnTo>
                    <a:lnTo>
                      <a:pt x="635594" y="1304167"/>
                    </a:lnTo>
                    <a:close/>
                    <a:moveTo>
                      <a:pt x="1416008" y="1199354"/>
                    </a:moveTo>
                    <a:lnTo>
                      <a:pt x="1706283" y="1199354"/>
                    </a:lnTo>
                    <a:lnTo>
                      <a:pt x="1706283" y="1249412"/>
                    </a:lnTo>
                    <a:lnTo>
                      <a:pt x="1416008" y="1249412"/>
                    </a:lnTo>
                    <a:lnTo>
                      <a:pt x="1416008" y="1199354"/>
                    </a:lnTo>
                    <a:close/>
                    <a:moveTo>
                      <a:pt x="635594" y="1199354"/>
                    </a:moveTo>
                    <a:lnTo>
                      <a:pt x="925869" y="1199354"/>
                    </a:lnTo>
                    <a:lnTo>
                      <a:pt x="925869" y="1249412"/>
                    </a:lnTo>
                    <a:lnTo>
                      <a:pt x="635594" y="1249412"/>
                    </a:lnTo>
                    <a:lnTo>
                      <a:pt x="635594" y="1199354"/>
                    </a:lnTo>
                    <a:close/>
                    <a:moveTo>
                      <a:pt x="1416008" y="1094541"/>
                    </a:moveTo>
                    <a:lnTo>
                      <a:pt x="1706283" y="1094541"/>
                    </a:lnTo>
                    <a:lnTo>
                      <a:pt x="1706283" y="1144599"/>
                    </a:lnTo>
                    <a:lnTo>
                      <a:pt x="1416008" y="1144599"/>
                    </a:lnTo>
                    <a:lnTo>
                      <a:pt x="1416008" y="1094541"/>
                    </a:lnTo>
                    <a:close/>
                    <a:moveTo>
                      <a:pt x="1009013" y="1002887"/>
                    </a:moveTo>
                    <a:lnTo>
                      <a:pt x="1332864" y="1002887"/>
                    </a:lnTo>
                    <a:lnTo>
                      <a:pt x="1332864" y="2297544"/>
                    </a:lnTo>
                    <a:lnTo>
                      <a:pt x="1009013" y="2297544"/>
                    </a:lnTo>
                    <a:lnTo>
                      <a:pt x="1009013" y="1002887"/>
                    </a:lnTo>
                    <a:close/>
                    <a:moveTo>
                      <a:pt x="1789427" y="758413"/>
                    </a:moveTo>
                    <a:lnTo>
                      <a:pt x="2113278" y="758413"/>
                    </a:lnTo>
                    <a:lnTo>
                      <a:pt x="2113278" y="2297545"/>
                    </a:lnTo>
                    <a:lnTo>
                      <a:pt x="1789427" y="2297545"/>
                    </a:lnTo>
                    <a:lnTo>
                      <a:pt x="1789427" y="758413"/>
                    </a:lnTo>
                    <a:close/>
                    <a:moveTo>
                      <a:pt x="2044701" y="37687"/>
                    </a:moveTo>
                    <a:lnTo>
                      <a:pt x="1933576" y="444087"/>
                    </a:lnTo>
                    <a:lnTo>
                      <a:pt x="1838326" y="345662"/>
                    </a:lnTo>
                    <a:cubicBezTo>
                      <a:pt x="1758951" y="383762"/>
                      <a:pt x="1495967" y="667073"/>
                      <a:pt x="1457326" y="672687"/>
                    </a:cubicBezTo>
                    <a:cubicBezTo>
                      <a:pt x="1350485" y="688210"/>
                      <a:pt x="1181138" y="524823"/>
                      <a:pt x="1130301" y="545687"/>
                    </a:cubicBezTo>
                    <a:cubicBezTo>
                      <a:pt x="1023163" y="589657"/>
                      <a:pt x="327026" y="1247362"/>
                      <a:pt x="320676" y="1218787"/>
                    </a:cubicBezTo>
                    <a:cubicBezTo>
                      <a:pt x="314326" y="1188625"/>
                      <a:pt x="1041451" y="398064"/>
                      <a:pt x="1092201" y="374237"/>
                    </a:cubicBezTo>
                    <a:cubicBezTo>
                      <a:pt x="1140417" y="351600"/>
                      <a:pt x="1375995" y="520854"/>
                      <a:pt x="1419226" y="513937"/>
                    </a:cubicBezTo>
                    <a:cubicBezTo>
                      <a:pt x="1470179" y="505785"/>
                      <a:pt x="1628776" y="334020"/>
                      <a:pt x="1733551" y="244062"/>
                    </a:cubicBezTo>
                    <a:lnTo>
                      <a:pt x="1641476" y="136112"/>
                    </a:lnTo>
                    <a:lnTo>
                      <a:pt x="2044701" y="37687"/>
                    </a:lnTo>
                    <a:close/>
                    <a:moveTo>
                      <a:pt x="0" y="0"/>
                    </a:moveTo>
                    <a:lnTo>
                      <a:pt x="76200" y="0"/>
                    </a:lnTo>
                    <a:lnTo>
                      <a:pt x="76200" y="234921"/>
                    </a:lnTo>
                    <a:lnTo>
                      <a:pt x="176047" y="234921"/>
                    </a:lnTo>
                    <a:lnTo>
                      <a:pt x="176047" y="284979"/>
                    </a:lnTo>
                    <a:lnTo>
                      <a:pt x="76200" y="284979"/>
                    </a:lnTo>
                    <a:lnTo>
                      <a:pt x="76200" y="562891"/>
                    </a:lnTo>
                    <a:lnTo>
                      <a:pt x="176047" y="562891"/>
                    </a:lnTo>
                    <a:lnTo>
                      <a:pt x="176047" y="612949"/>
                    </a:lnTo>
                    <a:lnTo>
                      <a:pt x="76200" y="612949"/>
                    </a:lnTo>
                    <a:lnTo>
                      <a:pt x="76200" y="890861"/>
                    </a:lnTo>
                    <a:lnTo>
                      <a:pt x="176047" y="890861"/>
                    </a:lnTo>
                    <a:lnTo>
                      <a:pt x="176047" y="940919"/>
                    </a:lnTo>
                    <a:lnTo>
                      <a:pt x="76200" y="940919"/>
                    </a:lnTo>
                    <a:lnTo>
                      <a:pt x="76200" y="1218832"/>
                    </a:lnTo>
                    <a:lnTo>
                      <a:pt x="176047" y="1218832"/>
                    </a:lnTo>
                    <a:lnTo>
                      <a:pt x="176047" y="1268890"/>
                    </a:lnTo>
                    <a:lnTo>
                      <a:pt x="76200" y="1268890"/>
                    </a:lnTo>
                    <a:lnTo>
                      <a:pt x="76200" y="2420269"/>
                    </a:lnTo>
                    <a:lnTo>
                      <a:pt x="2143124" y="2420269"/>
                    </a:lnTo>
                    <a:lnTo>
                      <a:pt x="2143124" y="2483867"/>
                    </a:lnTo>
                    <a:lnTo>
                      <a:pt x="76199" y="2483867"/>
                    </a:lnTo>
                    <a:lnTo>
                      <a:pt x="76199" y="2482025"/>
                    </a:lnTo>
                    <a:lnTo>
                      <a:pt x="0" y="2482025"/>
                    </a:lnTo>
                    <a:lnTo>
                      <a:pt x="0" y="0"/>
                    </a:lnTo>
                    <a:close/>
                  </a:path>
                </a:pathLst>
              </a:custGeom>
              <a:solidFill>
                <a:srgbClr val="D0247B"/>
              </a:solidFill>
              <a:ln w="9525" cap="flat" cmpd="sng" algn="ctr">
                <a:noFill/>
                <a:prstDash val="lgDash"/>
              </a:ln>
              <a:effectLst/>
            </p:spPr>
            <p:txBody>
              <a:bodyPr rtlCol="0" anchor="ctr"/>
              <a:lstStyle/>
              <a:p>
                <a:pPr marL="0" marR="0" lvl="0" indent="0" algn="ctr" defTabSz="457200" eaLnBrk="0" fontAlgn="base" latinLnBrk="0" hangingPunct="0">
                  <a:lnSpc>
                    <a:spcPct val="100000"/>
                  </a:lnSpc>
                  <a:spcBef>
                    <a:spcPct val="0"/>
                  </a:spcBef>
                  <a:spcAft>
                    <a:spcPct val="0"/>
                  </a:spcAft>
                  <a:buClrTx/>
                  <a:buSzTx/>
                  <a:buFontTx/>
                  <a:buNone/>
                  <a:tabLst/>
                  <a:defRPr/>
                </a:pPr>
                <a:endParaRPr kumimoji="0" lang="de-DE" sz="1800" b="0" i="0" u="none" strike="noStrike" kern="0" cap="none" spc="0" normalizeH="0" baseline="0" noProof="0" dirty="0" err="1">
                  <a:ln>
                    <a:noFill/>
                  </a:ln>
                  <a:solidFill>
                    <a:prstClr val="black"/>
                  </a:solidFill>
                  <a:effectLst/>
                  <a:uLnTx/>
                  <a:uFillTx/>
                  <a:latin typeface="Calibri"/>
                  <a:ea typeface="+mn-ea"/>
                  <a:cs typeface="Arial" panose="020B0604020202020204" pitchFamily="34" charset="0"/>
                </a:endParaRPr>
              </a:p>
            </p:txBody>
          </p:sp>
          <p:grpSp>
            <p:nvGrpSpPr>
              <p:cNvPr id="128" name="Group 127">
                <a:extLst>
                  <a:ext uri="{FF2B5EF4-FFF2-40B4-BE49-F238E27FC236}">
                    <a16:creationId xmlns:a16="http://schemas.microsoft.com/office/drawing/2014/main" xmlns="" id="{D3EB1359-9312-44D7-BDD6-BC0B86B9899F}"/>
                  </a:ext>
                </a:extLst>
              </p:cNvPr>
              <p:cNvGrpSpPr/>
              <p:nvPr/>
            </p:nvGrpSpPr>
            <p:grpSpPr>
              <a:xfrm>
                <a:off x="2373477" y="4969184"/>
                <a:ext cx="559526" cy="510325"/>
                <a:chOff x="75401" y="3664046"/>
                <a:chExt cx="1097548" cy="1062620"/>
              </a:xfrm>
              <a:solidFill>
                <a:srgbClr val="D0247B"/>
              </a:solidFill>
            </p:grpSpPr>
            <p:sp>
              <p:nvSpPr>
                <p:cNvPr id="141" name="Rectangle 720914">
                  <a:extLst>
                    <a:ext uri="{FF2B5EF4-FFF2-40B4-BE49-F238E27FC236}">
                      <a16:creationId xmlns:a16="http://schemas.microsoft.com/office/drawing/2014/main" xmlns="" id="{55F27AFB-7A2B-4DBA-936B-BF01646EDFBF}"/>
                    </a:ext>
                  </a:extLst>
                </p:cNvPr>
                <p:cNvSpPr/>
                <p:nvPr>
                  <p:custDataLst>
                    <p:tags r:id="rId1"/>
                  </p:custDataLst>
                </p:nvPr>
              </p:nvSpPr>
              <p:spPr>
                <a:xfrm>
                  <a:off x="521767" y="3693946"/>
                  <a:ext cx="651182" cy="592212"/>
                </a:xfrm>
                <a:custGeom>
                  <a:avLst/>
                  <a:gdLst/>
                  <a:ahLst/>
                  <a:cxnLst/>
                  <a:rect l="l" t="t" r="r" b="b"/>
                  <a:pathLst>
                    <a:path w="2212807" h="2012420">
                      <a:moveTo>
                        <a:pt x="1106405" y="1748845"/>
                      </a:moveTo>
                      <a:cubicBezTo>
                        <a:pt x="1050944" y="1748845"/>
                        <a:pt x="1005984" y="1793805"/>
                        <a:pt x="1005984" y="1849265"/>
                      </a:cubicBezTo>
                      <a:cubicBezTo>
                        <a:pt x="1005984" y="1904726"/>
                        <a:pt x="1050944" y="1949686"/>
                        <a:pt x="1106405" y="1949686"/>
                      </a:cubicBezTo>
                      <a:cubicBezTo>
                        <a:pt x="1161866" y="1949686"/>
                        <a:pt x="1206826" y="1904726"/>
                        <a:pt x="1206826" y="1849265"/>
                      </a:cubicBezTo>
                      <a:cubicBezTo>
                        <a:pt x="1206826" y="1793805"/>
                        <a:pt x="1161866" y="1748845"/>
                        <a:pt x="1106405" y="1748845"/>
                      </a:cubicBezTo>
                      <a:close/>
                      <a:moveTo>
                        <a:pt x="266592" y="342900"/>
                      </a:moveTo>
                      <a:lnTo>
                        <a:pt x="266592" y="1456334"/>
                      </a:lnTo>
                      <a:lnTo>
                        <a:pt x="1946217" y="1456334"/>
                      </a:lnTo>
                      <a:lnTo>
                        <a:pt x="1946217" y="342900"/>
                      </a:lnTo>
                      <a:close/>
                      <a:moveTo>
                        <a:pt x="0" y="0"/>
                      </a:moveTo>
                      <a:lnTo>
                        <a:pt x="2212807" y="0"/>
                      </a:lnTo>
                      <a:lnTo>
                        <a:pt x="2212807" y="342900"/>
                      </a:lnTo>
                      <a:lnTo>
                        <a:pt x="2073108" y="342900"/>
                      </a:lnTo>
                      <a:lnTo>
                        <a:pt x="2073108" y="1611909"/>
                      </a:lnTo>
                      <a:lnTo>
                        <a:pt x="1148279" y="1611909"/>
                      </a:lnTo>
                      <a:lnTo>
                        <a:pt x="1148279" y="1694563"/>
                      </a:lnTo>
                      <a:cubicBezTo>
                        <a:pt x="1218473" y="1710484"/>
                        <a:pt x="1269560" y="1773908"/>
                        <a:pt x="1269560" y="1849265"/>
                      </a:cubicBezTo>
                      <a:cubicBezTo>
                        <a:pt x="1269560" y="1939373"/>
                        <a:pt x="1196513" y="2012420"/>
                        <a:pt x="1106404" y="2012420"/>
                      </a:cubicBezTo>
                      <a:cubicBezTo>
                        <a:pt x="1016295" y="2012420"/>
                        <a:pt x="943248" y="1939373"/>
                        <a:pt x="943248" y="1849265"/>
                      </a:cubicBezTo>
                      <a:cubicBezTo>
                        <a:pt x="943248" y="1773908"/>
                        <a:pt x="994336" y="1710483"/>
                        <a:pt x="1064530" y="1694563"/>
                      </a:cubicBezTo>
                      <a:lnTo>
                        <a:pt x="1064530" y="1611909"/>
                      </a:lnTo>
                      <a:lnTo>
                        <a:pt x="139700" y="1611909"/>
                      </a:lnTo>
                      <a:lnTo>
                        <a:pt x="139700" y="342900"/>
                      </a:lnTo>
                      <a:lnTo>
                        <a:pt x="0" y="342900"/>
                      </a:lnTo>
                      <a:close/>
                    </a:path>
                  </a:pathLst>
                </a:custGeom>
                <a:grpFill/>
                <a:ln w="9525" cap="flat" cmpd="sng" algn="ctr">
                  <a:noFill/>
                  <a:prstDash val="solid"/>
                </a:ln>
                <a:effectLst/>
              </p:spPr>
              <p:txBody>
                <a:bodyPr rtlCol="0" anchor="ctr"/>
                <a:lstStyle/>
                <a:p>
                  <a:pPr marL="0" marR="0" lvl="0" indent="0" algn="ctr" defTabSz="457200" eaLnBrk="0" fontAlgn="base" latinLnBrk="0" hangingPunct="0">
                    <a:lnSpc>
                      <a:spcPct val="100000"/>
                    </a:lnSpc>
                    <a:spcBef>
                      <a:spcPct val="0"/>
                    </a:spcBef>
                    <a:spcAft>
                      <a:spcPct val="0"/>
                    </a:spcAft>
                    <a:buClrTx/>
                    <a:buSzTx/>
                    <a:buFontTx/>
                    <a:buNone/>
                    <a:tabLst/>
                    <a:defRPr/>
                  </a:pPr>
                  <a:endParaRPr kumimoji="0" lang="de-DE" sz="1800" b="0" i="0" u="none" strike="noStrike" kern="0" cap="none" spc="0" normalizeH="0" baseline="0" noProof="0" dirty="0" err="1">
                    <a:ln>
                      <a:noFill/>
                    </a:ln>
                    <a:solidFill>
                      <a:prstClr val="black"/>
                    </a:solidFill>
                    <a:effectLst/>
                    <a:uLnTx/>
                    <a:uFillTx/>
                    <a:latin typeface="Calibri"/>
                    <a:ea typeface="+mn-ea"/>
                    <a:cs typeface="Arial" panose="020B0604020202020204" pitchFamily="34" charset="0"/>
                  </a:endParaRPr>
                </a:p>
              </p:txBody>
            </p:sp>
            <p:sp>
              <p:nvSpPr>
                <p:cNvPr id="142" name="Freeform 134">
                  <a:extLst>
                    <a:ext uri="{FF2B5EF4-FFF2-40B4-BE49-F238E27FC236}">
                      <a16:creationId xmlns:a16="http://schemas.microsoft.com/office/drawing/2014/main" xmlns="" id="{47B69A03-51BC-4B92-991E-5A4ADA404180}"/>
                    </a:ext>
                  </a:extLst>
                </p:cNvPr>
                <p:cNvSpPr/>
                <p:nvPr>
                  <p:custDataLst>
                    <p:tags r:id="rId2"/>
                  </p:custDataLst>
                </p:nvPr>
              </p:nvSpPr>
              <p:spPr>
                <a:xfrm>
                  <a:off x="505834" y="3944347"/>
                  <a:ext cx="123332" cy="153231"/>
                </a:xfrm>
                <a:custGeom>
                  <a:avLst/>
                  <a:gdLst>
                    <a:gd name="connsiteX0" fmla="*/ 107950 w 419100"/>
                    <a:gd name="connsiteY0" fmla="*/ 0 h 520700"/>
                    <a:gd name="connsiteX1" fmla="*/ 260350 w 419100"/>
                    <a:gd name="connsiteY1" fmla="*/ 101600 h 520700"/>
                    <a:gd name="connsiteX2" fmla="*/ 412750 w 419100"/>
                    <a:gd name="connsiteY2" fmla="*/ 44450 h 520700"/>
                    <a:gd name="connsiteX3" fmla="*/ 419100 w 419100"/>
                    <a:gd name="connsiteY3" fmla="*/ 444500 h 520700"/>
                    <a:gd name="connsiteX4" fmla="*/ 241300 w 419100"/>
                    <a:gd name="connsiteY4" fmla="*/ 520700 h 520700"/>
                    <a:gd name="connsiteX5" fmla="*/ 127000 w 419100"/>
                    <a:gd name="connsiteY5" fmla="*/ 520700 h 520700"/>
                    <a:gd name="connsiteX6" fmla="*/ 0 w 419100"/>
                    <a:gd name="connsiteY6" fmla="*/ 444500 h 520700"/>
                    <a:gd name="connsiteX7" fmla="*/ 107950 w 419100"/>
                    <a:gd name="connsiteY7" fmla="*/ 0 h 52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100" h="520700">
                      <a:moveTo>
                        <a:pt x="107950" y="0"/>
                      </a:moveTo>
                      <a:lnTo>
                        <a:pt x="260350" y="101600"/>
                      </a:lnTo>
                      <a:lnTo>
                        <a:pt x="412750" y="44450"/>
                      </a:lnTo>
                      <a:lnTo>
                        <a:pt x="419100" y="444500"/>
                      </a:lnTo>
                      <a:lnTo>
                        <a:pt x="241300" y="520700"/>
                      </a:lnTo>
                      <a:lnTo>
                        <a:pt x="127000" y="520700"/>
                      </a:lnTo>
                      <a:lnTo>
                        <a:pt x="0" y="444500"/>
                      </a:lnTo>
                      <a:lnTo>
                        <a:pt x="107950" y="0"/>
                      </a:lnTo>
                      <a:close/>
                    </a:path>
                  </a:pathLst>
                </a:custGeom>
                <a:grpFill/>
                <a:ln w="9525" cap="flat" cmpd="sng" algn="ctr">
                  <a:noFill/>
                  <a:prstDash val="solid"/>
                </a:ln>
                <a:effectLst/>
              </p:spPr>
              <p:txBody>
                <a:bodyPr rtlCol="0" anchor="ctr"/>
                <a:lstStyle/>
                <a:p>
                  <a:pPr marL="0" marR="0" lvl="0" indent="0" algn="ctr" defTabSz="457200" eaLnBrk="0" fontAlgn="base" latinLnBrk="0" hangingPunct="0">
                    <a:lnSpc>
                      <a:spcPct val="100000"/>
                    </a:lnSpc>
                    <a:spcBef>
                      <a:spcPct val="0"/>
                    </a:spcBef>
                    <a:spcAft>
                      <a:spcPct val="0"/>
                    </a:spcAft>
                    <a:buClrTx/>
                    <a:buSzTx/>
                    <a:buFontTx/>
                    <a:buNone/>
                    <a:tabLst/>
                    <a:defRPr/>
                  </a:pPr>
                  <a:endParaRPr kumimoji="0" lang="de-DE" sz="1800" b="0" i="0" u="none" strike="noStrike" kern="0" cap="none" spc="0" normalizeH="0" baseline="0" noProof="0" dirty="0" err="1">
                    <a:ln>
                      <a:noFill/>
                    </a:ln>
                    <a:solidFill>
                      <a:prstClr val="black"/>
                    </a:solidFill>
                    <a:effectLst/>
                    <a:uLnTx/>
                    <a:uFillTx/>
                    <a:latin typeface="Calibri"/>
                    <a:ea typeface="+mn-ea"/>
                    <a:cs typeface="Arial" panose="020B0604020202020204" pitchFamily="34" charset="0"/>
                  </a:endParaRPr>
                </a:p>
              </p:txBody>
            </p:sp>
            <p:sp>
              <p:nvSpPr>
                <p:cNvPr id="143" name="Oval 852">
                  <a:extLst>
                    <a:ext uri="{FF2B5EF4-FFF2-40B4-BE49-F238E27FC236}">
                      <a16:creationId xmlns:a16="http://schemas.microsoft.com/office/drawing/2014/main" xmlns="" id="{C56973C1-BA00-4CA9-B3BB-BE236EC3039E}"/>
                    </a:ext>
                  </a:extLst>
                </p:cNvPr>
                <p:cNvSpPr/>
                <p:nvPr/>
              </p:nvSpPr>
              <p:spPr>
                <a:xfrm>
                  <a:off x="75401" y="3664046"/>
                  <a:ext cx="858007" cy="1062620"/>
                </a:xfrm>
                <a:custGeom>
                  <a:avLst/>
                  <a:gdLst>
                    <a:gd name="connsiteX0" fmla="*/ 214705 w 858007"/>
                    <a:gd name="connsiteY0" fmla="*/ 229434 h 1062620"/>
                    <a:gd name="connsiteX1" fmla="*/ 214820 w 858007"/>
                    <a:gd name="connsiteY1" fmla="*/ 229470 h 1062620"/>
                    <a:gd name="connsiteX2" fmla="*/ 325096 w 858007"/>
                    <a:gd name="connsiteY2" fmla="*/ 229470 h 1062620"/>
                    <a:gd name="connsiteX3" fmla="*/ 325211 w 858007"/>
                    <a:gd name="connsiteY3" fmla="*/ 229434 h 1062620"/>
                    <a:gd name="connsiteX4" fmla="*/ 325630 w 858007"/>
                    <a:gd name="connsiteY4" fmla="*/ 229470 h 1062620"/>
                    <a:gd name="connsiteX5" fmla="*/ 328490 w 858007"/>
                    <a:gd name="connsiteY5" fmla="*/ 229470 h 1062620"/>
                    <a:gd name="connsiteX6" fmla="*/ 328761 w 858007"/>
                    <a:gd name="connsiteY6" fmla="*/ 229741 h 1062620"/>
                    <a:gd name="connsiteX7" fmla="*/ 344252 w 858007"/>
                    <a:gd name="connsiteY7" fmla="*/ 231079 h 1062620"/>
                    <a:gd name="connsiteX8" fmla="*/ 363488 w 858007"/>
                    <a:gd name="connsiteY8" fmla="*/ 241067 h 1062620"/>
                    <a:gd name="connsiteX9" fmla="*/ 371240 w 858007"/>
                    <a:gd name="connsiteY9" fmla="*/ 242218 h 1062620"/>
                    <a:gd name="connsiteX10" fmla="*/ 509248 w 858007"/>
                    <a:gd name="connsiteY10" fmla="*/ 324945 h 1062620"/>
                    <a:gd name="connsiteX11" fmla="*/ 648984 w 858007"/>
                    <a:gd name="connsiteY11" fmla="*/ 275236 h 1062620"/>
                    <a:gd name="connsiteX12" fmla="*/ 690006 w 858007"/>
                    <a:gd name="connsiteY12" fmla="*/ 293832 h 1062620"/>
                    <a:gd name="connsiteX13" fmla="*/ 849864 w 858007"/>
                    <a:gd name="connsiteY13" fmla="*/ 236966 h 1062620"/>
                    <a:gd name="connsiteX14" fmla="*/ 856843 w 858007"/>
                    <a:gd name="connsiteY14" fmla="*/ 240283 h 1062620"/>
                    <a:gd name="connsiteX15" fmla="*/ 857690 w 858007"/>
                    <a:gd name="connsiteY15" fmla="*/ 242663 h 1062620"/>
                    <a:gd name="connsiteX16" fmla="*/ 854373 w 858007"/>
                    <a:gd name="connsiteY16" fmla="*/ 249642 h 1062620"/>
                    <a:gd name="connsiteX17" fmla="*/ 695280 w 858007"/>
                    <a:gd name="connsiteY17" fmla="*/ 306236 h 1062620"/>
                    <a:gd name="connsiteX18" fmla="*/ 696578 w 858007"/>
                    <a:gd name="connsiteY18" fmla="*/ 309883 h 1062620"/>
                    <a:gd name="connsiteX19" fmla="*/ 676408 w 858007"/>
                    <a:gd name="connsiteY19" fmla="*/ 352327 h 1062620"/>
                    <a:gd name="connsiteX20" fmla="*/ 505097 w 858007"/>
                    <a:gd name="connsiteY20" fmla="*/ 413267 h 1062620"/>
                    <a:gd name="connsiteX21" fmla="*/ 503314 w 858007"/>
                    <a:gd name="connsiteY21" fmla="*/ 413176 h 1062620"/>
                    <a:gd name="connsiteX22" fmla="*/ 494980 w 858007"/>
                    <a:gd name="connsiteY22" fmla="*/ 412751 h 1062620"/>
                    <a:gd name="connsiteX23" fmla="*/ 478145 w 858007"/>
                    <a:gd name="connsiteY23" fmla="*/ 410253 h 1062620"/>
                    <a:gd name="connsiteX24" fmla="*/ 474563 w 858007"/>
                    <a:gd name="connsiteY24" fmla="*/ 409722 h 1062620"/>
                    <a:gd name="connsiteX25" fmla="*/ 375434 w 858007"/>
                    <a:gd name="connsiteY25" fmla="*/ 350301 h 1062620"/>
                    <a:gd name="connsiteX26" fmla="*/ 352507 w 858007"/>
                    <a:gd name="connsiteY26" fmla="*/ 615612 h 1062620"/>
                    <a:gd name="connsiteX27" fmla="*/ 335672 w 858007"/>
                    <a:gd name="connsiteY27" fmla="*/ 644401 h 1062620"/>
                    <a:gd name="connsiteX28" fmla="*/ 363653 w 858007"/>
                    <a:gd name="connsiteY28" fmla="*/ 675425 h 1062620"/>
                    <a:gd name="connsiteX29" fmla="*/ 404734 w 858007"/>
                    <a:gd name="connsiteY29" fmla="*/ 1014005 h 1062620"/>
                    <a:gd name="connsiteX30" fmla="*/ 368682 w 858007"/>
                    <a:gd name="connsiteY30" fmla="*/ 1060014 h 1062620"/>
                    <a:gd name="connsiteX31" fmla="*/ 349710 w 858007"/>
                    <a:gd name="connsiteY31" fmla="*/ 1062316 h 1062620"/>
                    <a:gd name="connsiteX32" fmla="*/ 303701 w 858007"/>
                    <a:gd name="connsiteY32" fmla="*/ 1026264 h 1062620"/>
                    <a:gd name="connsiteX33" fmla="*/ 265452 w 858007"/>
                    <a:gd name="connsiteY33" fmla="*/ 711028 h 1062620"/>
                    <a:gd name="connsiteX34" fmla="*/ 261751 w 858007"/>
                    <a:gd name="connsiteY34" fmla="*/ 711028 h 1062620"/>
                    <a:gd name="connsiteX35" fmla="*/ 223502 w 858007"/>
                    <a:gd name="connsiteY35" fmla="*/ 1026264 h 1062620"/>
                    <a:gd name="connsiteX36" fmla="*/ 177493 w 858007"/>
                    <a:gd name="connsiteY36" fmla="*/ 1062316 h 1062620"/>
                    <a:gd name="connsiteX37" fmla="*/ 158521 w 858007"/>
                    <a:gd name="connsiteY37" fmla="*/ 1060014 h 1062620"/>
                    <a:gd name="connsiteX38" fmla="*/ 122469 w 858007"/>
                    <a:gd name="connsiteY38" fmla="*/ 1014005 h 1062620"/>
                    <a:gd name="connsiteX39" fmla="*/ 163550 w 858007"/>
                    <a:gd name="connsiteY39" fmla="*/ 675425 h 1062620"/>
                    <a:gd name="connsiteX40" fmla="*/ 196665 w 858007"/>
                    <a:gd name="connsiteY40" fmla="*/ 633439 h 1062620"/>
                    <a:gd name="connsiteX41" fmla="*/ 187409 w 858007"/>
                    <a:gd name="connsiteY41" fmla="*/ 615612 h 1062620"/>
                    <a:gd name="connsiteX42" fmla="*/ 167094 w 858007"/>
                    <a:gd name="connsiteY42" fmla="*/ 380532 h 1062620"/>
                    <a:gd name="connsiteX43" fmla="*/ 118492 w 858007"/>
                    <a:gd name="connsiteY43" fmla="*/ 436195 h 1062620"/>
                    <a:gd name="connsiteX44" fmla="*/ 89724 w 858007"/>
                    <a:gd name="connsiteY44" fmla="*/ 598190 h 1062620"/>
                    <a:gd name="connsiteX45" fmla="*/ 47088 w 858007"/>
                    <a:gd name="connsiteY45" fmla="*/ 627966 h 1062620"/>
                    <a:gd name="connsiteX46" fmla="*/ 30347 w 858007"/>
                    <a:gd name="connsiteY46" fmla="*/ 624993 h 1062620"/>
                    <a:gd name="connsiteX47" fmla="*/ 572 w 858007"/>
                    <a:gd name="connsiteY47" fmla="*/ 582358 h 1062620"/>
                    <a:gd name="connsiteX48" fmla="*/ 31125 w 858007"/>
                    <a:gd name="connsiteY48" fmla="*/ 410309 h 1062620"/>
                    <a:gd name="connsiteX49" fmla="*/ 37765 w 858007"/>
                    <a:gd name="connsiteY49" fmla="*/ 399915 h 1062620"/>
                    <a:gd name="connsiteX50" fmla="*/ 42669 w 858007"/>
                    <a:gd name="connsiteY50" fmla="*/ 385363 h 1062620"/>
                    <a:gd name="connsiteX51" fmla="*/ 157600 w 858007"/>
                    <a:gd name="connsiteY51" fmla="*/ 253737 h 1062620"/>
                    <a:gd name="connsiteX52" fmla="*/ 166415 w 858007"/>
                    <a:gd name="connsiteY52" fmla="*/ 249366 h 1062620"/>
                    <a:gd name="connsiteX53" fmla="*/ 195664 w 858007"/>
                    <a:gd name="connsiteY53" fmla="*/ 231079 h 1062620"/>
                    <a:gd name="connsiteX54" fmla="*/ 200676 w 858007"/>
                    <a:gd name="connsiteY54" fmla="*/ 230646 h 1062620"/>
                    <a:gd name="connsiteX55" fmla="*/ 201852 w 858007"/>
                    <a:gd name="connsiteY55" fmla="*/ 229470 h 1062620"/>
                    <a:gd name="connsiteX56" fmla="*/ 214286 w 858007"/>
                    <a:gd name="connsiteY56" fmla="*/ 229470 h 1062620"/>
                    <a:gd name="connsiteX57" fmla="*/ 214705 w 858007"/>
                    <a:gd name="connsiteY57" fmla="*/ 229434 h 1062620"/>
                    <a:gd name="connsiteX58" fmla="*/ 267392 w 858007"/>
                    <a:gd name="connsiteY58" fmla="*/ 0 h 1062620"/>
                    <a:gd name="connsiteX59" fmla="*/ 372505 w 858007"/>
                    <a:gd name="connsiteY59" fmla="*/ 105113 h 1062620"/>
                    <a:gd name="connsiteX60" fmla="*/ 267392 w 858007"/>
                    <a:gd name="connsiteY60" fmla="*/ 210226 h 1062620"/>
                    <a:gd name="connsiteX61" fmla="*/ 162279 w 858007"/>
                    <a:gd name="connsiteY61" fmla="*/ 105113 h 1062620"/>
                    <a:gd name="connsiteX62" fmla="*/ 267392 w 858007"/>
                    <a:gd name="connsiteY62" fmla="*/ 0 h 1062620"/>
                    <a:gd name="connsiteX0" fmla="*/ 214705 w 858007"/>
                    <a:gd name="connsiteY0" fmla="*/ 229434 h 1062620"/>
                    <a:gd name="connsiteX1" fmla="*/ 214820 w 858007"/>
                    <a:gd name="connsiteY1" fmla="*/ 229470 h 1062620"/>
                    <a:gd name="connsiteX2" fmla="*/ 325096 w 858007"/>
                    <a:gd name="connsiteY2" fmla="*/ 229470 h 1062620"/>
                    <a:gd name="connsiteX3" fmla="*/ 325211 w 858007"/>
                    <a:gd name="connsiteY3" fmla="*/ 229434 h 1062620"/>
                    <a:gd name="connsiteX4" fmla="*/ 325630 w 858007"/>
                    <a:gd name="connsiteY4" fmla="*/ 229470 h 1062620"/>
                    <a:gd name="connsiteX5" fmla="*/ 328490 w 858007"/>
                    <a:gd name="connsiteY5" fmla="*/ 229470 h 1062620"/>
                    <a:gd name="connsiteX6" fmla="*/ 328761 w 858007"/>
                    <a:gd name="connsiteY6" fmla="*/ 229741 h 1062620"/>
                    <a:gd name="connsiteX7" fmla="*/ 344252 w 858007"/>
                    <a:gd name="connsiteY7" fmla="*/ 231079 h 1062620"/>
                    <a:gd name="connsiteX8" fmla="*/ 363488 w 858007"/>
                    <a:gd name="connsiteY8" fmla="*/ 241067 h 1062620"/>
                    <a:gd name="connsiteX9" fmla="*/ 371240 w 858007"/>
                    <a:gd name="connsiteY9" fmla="*/ 242218 h 1062620"/>
                    <a:gd name="connsiteX10" fmla="*/ 509248 w 858007"/>
                    <a:gd name="connsiteY10" fmla="*/ 324945 h 1062620"/>
                    <a:gd name="connsiteX11" fmla="*/ 648984 w 858007"/>
                    <a:gd name="connsiteY11" fmla="*/ 275236 h 1062620"/>
                    <a:gd name="connsiteX12" fmla="*/ 690006 w 858007"/>
                    <a:gd name="connsiteY12" fmla="*/ 293832 h 1062620"/>
                    <a:gd name="connsiteX13" fmla="*/ 849864 w 858007"/>
                    <a:gd name="connsiteY13" fmla="*/ 236966 h 1062620"/>
                    <a:gd name="connsiteX14" fmla="*/ 856843 w 858007"/>
                    <a:gd name="connsiteY14" fmla="*/ 240283 h 1062620"/>
                    <a:gd name="connsiteX15" fmla="*/ 857690 w 858007"/>
                    <a:gd name="connsiteY15" fmla="*/ 242663 h 1062620"/>
                    <a:gd name="connsiteX16" fmla="*/ 854373 w 858007"/>
                    <a:gd name="connsiteY16" fmla="*/ 249642 h 1062620"/>
                    <a:gd name="connsiteX17" fmla="*/ 695280 w 858007"/>
                    <a:gd name="connsiteY17" fmla="*/ 306236 h 1062620"/>
                    <a:gd name="connsiteX18" fmla="*/ 696578 w 858007"/>
                    <a:gd name="connsiteY18" fmla="*/ 309883 h 1062620"/>
                    <a:gd name="connsiteX19" fmla="*/ 676408 w 858007"/>
                    <a:gd name="connsiteY19" fmla="*/ 352327 h 1062620"/>
                    <a:gd name="connsiteX20" fmla="*/ 505097 w 858007"/>
                    <a:gd name="connsiteY20" fmla="*/ 413267 h 1062620"/>
                    <a:gd name="connsiteX21" fmla="*/ 503314 w 858007"/>
                    <a:gd name="connsiteY21" fmla="*/ 413176 h 1062620"/>
                    <a:gd name="connsiteX22" fmla="*/ 494980 w 858007"/>
                    <a:gd name="connsiteY22" fmla="*/ 412751 h 1062620"/>
                    <a:gd name="connsiteX23" fmla="*/ 478145 w 858007"/>
                    <a:gd name="connsiteY23" fmla="*/ 410253 h 1062620"/>
                    <a:gd name="connsiteX24" fmla="*/ 474563 w 858007"/>
                    <a:gd name="connsiteY24" fmla="*/ 409722 h 1062620"/>
                    <a:gd name="connsiteX25" fmla="*/ 375434 w 858007"/>
                    <a:gd name="connsiteY25" fmla="*/ 350301 h 1062620"/>
                    <a:gd name="connsiteX26" fmla="*/ 352507 w 858007"/>
                    <a:gd name="connsiteY26" fmla="*/ 615612 h 1062620"/>
                    <a:gd name="connsiteX27" fmla="*/ 335672 w 858007"/>
                    <a:gd name="connsiteY27" fmla="*/ 644401 h 1062620"/>
                    <a:gd name="connsiteX28" fmla="*/ 363653 w 858007"/>
                    <a:gd name="connsiteY28" fmla="*/ 675425 h 1062620"/>
                    <a:gd name="connsiteX29" fmla="*/ 404734 w 858007"/>
                    <a:gd name="connsiteY29" fmla="*/ 1014005 h 1062620"/>
                    <a:gd name="connsiteX30" fmla="*/ 368682 w 858007"/>
                    <a:gd name="connsiteY30" fmla="*/ 1060014 h 1062620"/>
                    <a:gd name="connsiteX31" fmla="*/ 349710 w 858007"/>
                    <a:gd name="connsiteY31" fmla="*/ 1062316 h 1062620"/>
                    <a:gd name="connsiteX32" fmla="*/ 303701 w 858007"/>
                    <a:gd name="connsiteY32" fmla="*/ 1026264 h 1062620"/>
                    <a:gd name="connsiteX33" fmla="*/ 265452 w 858007"/>
                    <a:gd name="connsiteY33" fmla="*/ 711028 h 1062620"/>
                    <a:gd name="connsiteX34" fmla="*/ 261751 w 858007"/>
                    <a:gd name="connsiteY34" fmla="*/ 711028 h 1062620"/>
                    <a:gd name="connsiteX35" fmla="*/ 223502 w 858007"/>
                    <a:gd name="connsiteY35" fmla="*/ 1026264 h 1062620"/>
                    <a:gd name="connsiteX36" fmla="*/ 177493 w 858007"/>
                    <a:gd name="connsiteY36" fmla="*/ 1062316 h 1062620"/>
                    <a:gd name="connsiteX37" fmla="*/ 158521 w 858007"/>
                    <a:gd name="connsiteY37" fmla="*/ 1060014 h 1062620"/>
                    <a:gd name="connsiteX38" fmla="*/ 122469 w 858007"/>
                    <a:gd name="connsiteY38" fmla="*/ 1014005 h 1062620"/>
                    <a:gd name="connsiteX39" fmla="*/ 163550 w 858007"/>
                    <a:gd name="connsiteY39" fmla="*/ 675425 h 1062620"/>
                    <a:gd name="connsiteX40" fmla="*/ 187409 w 858007"/>
                    <a:gd name="connsiteY40" fmla="*/ 615612 h 1062620"/>
                    <a:gd name="connsiteX41" fmla="*/ 167094 w 858007"/>
                    <a:gd name="connsiteY41" fmla="*/ 380532 h 1062620"/>
                    <a:gd name="connsiteX42" fmla="*/ 118492 w 858007"/>
                    <a:gd name="connsiteY42" fmla="*/ 436195 h 1062620"/>
                    <a:gd name="connsiteX43" fmla="*/ 89724 w 858007"/>
                    <a:gd name="connsiteY43" fmla="*/ 598190 h 1062620"/>
                    <a:gd name="connsiteX44" fmla="*/ 47088 w 858007"/>
                    <a:gd name="connsiteY44" fmla="*/ 627966 h 1062620"/>
                    <a:gd name="connsiteX45" fmla="*/ 30347 w 858007"/>
                    <a:gd name="connsiteY45" fmla="*/ 624993 h 1062620"/>
                    <a:gd name="connsiteX46" fmla="*/ 572 w 858007"/>
                    <a:gd name="connsiteY46" fmla="*/ 582358 h 1062620"/>
                    <a:gd name="connsiteX47" fmla="*/ 31125 w 858007"/>
                    <a:gd name="connsiteY47" fmla="*/ 410309 h 1062620"/>
                    <a:gd name="connsiteX48" fmla="*/ 37765 w 858007"/>
                    <a:gd name="connsiteY48" fmla="*/ 399915 h 1062620"/>
                    <a:gd name="connsiteX49" fmla="*/ 42669 w 858007"/>
                    <a:gd name="connsiteY49" fmla="*/ 385363 h 1062620"/>
                    <a:gd name="connsiteX50" fmla="*/ 157600 w 858007"/>
                    <a:gd name="connsiteY50" fmla="*/ 253737 h 1062620"/>
                    <a:gd name="connsiteX51" fmla="*/ 166415 w 858007"/>
                    <a:gd name="connsiteY51" fmla="*/ 249366 h 1062620"/>
                    <a:gd name="connsiteX52" fmla="*/ 195664 w 858007"/>
                    <a:gd name="connsiteY52" fmla="*/ 231079 h 1062620"/>
                    <a:gd name="connsiteX53" fmla="*/ 200676 w 858007"/>
                    <a:gd name="connsiteY53" fmla="*/ 230646 h 1062620"/>
                    <a:gd name="connsiteX54" fmla="*/ 201852 w 858007"/>
                    <a:gd name="connsiteY54" fmla="*/ 229470 h 1062620"/>
                    <a:gd name="connsiteX55" fmla="*/ 214286 w 858007"/>
                    <a:gd name="connsiteY55" fmla="*/ 229470 h 1062620"/>
                    <a:gd name="connsiteX56" fmla="*/ 214705 w 858007"/>
                    <a:gd name="connsiteY56" fmla="*/ 229434 h 1062620"/>
                    <a:gd name="connsiteX57" fmla="*/ 267392 w 858007"/>
                    <a:gd name="connsiteY57" fmla="*/ 0 h 1062620"/>
                    <a:gd name="connsiteX58" fmla="*/ 372505 w 858007"/>
                    <a:gd name="connsiteY58" fmla="*/ 105113 h 1062620"/>
                    <a:gd name="connsiteX59" fmla="*/ 267392 w 858007"/>
                    <a:gd name="connsiteY59" fmla="*/ 210226 h 1062620"/>
                    <a:gd name="connsiteX60" fmla="*/ 162279 w 858007"/>
                    <a:gd name="connsiteY60" fmla="*/ 105113 h 1062620"/>
                    <a:gd name="connsiteX61" fmla="*/ 267392 w 858007"/>
                    <a:gd name="connsiteY61" fmla="*/ 0 h 1062620"/>
                    <a:gd name="connsiteX0" fmla="*/ 214705 w 858007"/>
                    <a:gd name="connsiteY0" fmla="*/ 229434 h 1062620"/>
                    <a:gd name="connsiteX1" fmla="*/ 214820 w 858007"/>
                    <a:gd name="connsiteY1" fmla="*/ 229470 h 1062620"/>
                    <a:gd name="connsiteX2" fmla="*/ 325096 w 858007"/>
                    <a:gd name="connsiteY2" fmla="*/ 229470 h 1062620"/>
                    <a:gd name="connsiteX3" fmla="*/ 325211 w 858007"/>
                    <a:gd name="connsiteY3" fmla="*/ 229434 h 1062620"/>
                    <a:gd name="connsiteX4" fmla="*/ 325630 w 858007"/>
                    <a:gd name="connsiteY4" fmla="*/ 229470 h 1062620"/>
                    <a:gd name="connsiteX5" fmla="*/ 328490 w 858007"/>
                    <a:gd name="connsiteY5" fmla="*/ 229470 h 1062620"/>
                    <a:gd name="connsiteX6" fmla="*/ 328761 w 858007"/>
                    <a:gd name="connsiteY6" fmla="*/ 229741 h 1062620"/>
                    <a:gd name="connsiteX7" fmla="*/ 344252 w 858007"/>
                    <a:gd name="connsiteY7" fmla="*/ 231079 h 1062620"/>
                    <a:gd name="connsiteX8" fmla="*/ 363488 w 858007"/>
                    <a:gd name="connsiteY8" fmla="*/ 241067 h 1062620"/>
                    <a:gd name="connsiteX9" fmla="*/ 371240 w 858007"/>
                    <a:gd name="connsiteY9" fmla="*/ 242218 h 1062620"/>
                    <a:gd name="connsiteX10" fmla="*/ 509248 w 858007"/>
                    <a:gd name="connsiteY10" fmla="*/ 324945 h 1062620"/>
                    <a:gd name="connsiteX11" fmla="*/ 648984 w 858007"/>
                    <a:gd name="connsiteY11" fmla="*/ 275236 h 1062620"/>
                    <a:gd name="connsiteX12" fmla="*/ 690006 w 858007"/>
                    <a:gd name="connsiteY12" fmla="*/ 293832 h 1062620"/>
                    <a:gd name="connsiteX13" fmla="*/ 849864 w 858007"/>
                    <a:gd name="connsiteY13" fmla="*/ 236966 h 1062620"/>
                    <a:gd name="connsiteX14" fmla="*/ 856843 w 858007"/>
                    <a:gd name="connsiteY14" fmla="*/ 240283 h 1062620"/>
                    <a:gd name="connsiteX15" fmla="*/ 857690 w 858007"/>
                    <a:gd name="connsiteY15" fmla="*/ 242663 h 1062620"/>
                    <a:gd name="connsiteX16" fmla="*/ 854373 w 858007"/>
                    <a:gd name="connsiteY16" fmla="*/ 249642 h 1062620"/>
                    <a:gd name="connsiteX17" fmla="*/ 695280 w 858007"/>
                    <a:gd name="connsiteY17" fmla="*/ 306236 h 1062620"/>
                    <a:gd name="connsiteX18" fmla="*/ 696578 w 858007"/>
                    <a:gd name="connsiteY18" fmla="*/ 309883 h 1062620"/>
                    <a:gd name="connsiteX19" fmla="*/ 676408 w 858007"/>
                    <a:gd name="connsiteY19" fmla="*/ 352327 h 1062620"/>
                    <a:gd name="connsiteX20" fmla="*/ 505097 w 858007"/>
                    <a:gd name="connsiteY20" fmla="*/ 413267 h 1062620"/>
                    <a:gd name="connsiteX21" fmla="*/ 503314 w 858007"/>
                    <a:gd name="connsiteY21" fmla="*/ 413176 h 1062620"/>
                    <a:gd name="connsiteX22" fmla="*/ 494980 w 858007"/>
                    <a:gd name="connsiteY22" fmla="*/ 412751 h 1062620"/>
                    <a:gd name="connsiteX23" fmla="*/ 478145 w 858007"/>
                    <a:gd name="connsiteY23" fmla="*/ 410253 h 1062620"/>
                    <a:gd name="connsiteX24" fmla="*/ 474563 w 858007"/>
                    <a:gd name="connsiteY24" fmla="*/ 409722 h 1062620"/>
                    <a:gd name="connsiteX25" fmla="*/ 375434 w 858007"/>
                    <a:gd name="connsiteY25" fmla="*/ 350301 h 1062620"/>
                    <a:gd name="connsiteX26" fmla="*/ 352507 w 858007"/>
                    <a:gd name="connsiteY26" fmla="*/ 615612 h 1062620"/>
                    <a:gd name="connsiteX27" fmla="*/ 335672 w 858007"/>
                    <a:gd name="connsiteY27" fmla="*/ 644401 h 1062620"/>
                    <a:gd name="connsiteX28" fmla="*/ 363653 w 858007"/>
                    <a:gd name="connsiteY28" fmla="*/ 675425 h 1062620"/>
                    <a:gd name="connsiteX29" fmla="*/ 404734 w 858007"/>
                    <a:gd name="connsiteY29" fmla="*/ 1014005 h 1062620"/>
                    <a:gd name="connsiteX30" fmla="*/ 368682 w 858007"/>
                    <a:gd name="connsiteY30" fmla="*/ 1060014 h 1062620"/>
                    <a:gd name="connsiteX31" fmla="*/ 349710 w 858007"/>
                    <a:gd name="connsiteY31" fmla="*/ 1062316 h 1062620"/>
                    <a:gd name="connsiteX32" fmla="*/ 303701 w 858007"/>
                    <a:gd name="connsiteY32" fmla="*/ 1026264 h 1062620"/>
                    <a:gd name="connsiteX33" fmla="*/ 265452 w 858007"/>
                    <a:gd name="connsiteY33" fmla="*/ 711028 h 1062620"/>
                    <a:gd name="connsiteX34" fmla="*/ 261751 w 858007"/>
                    <a:gd name="connsiteY34" fmla="*/ 711028 h 1062620"/>
                    <a:gd name="connsiteX35" fmla="*/ 223502 w 858007"/>
                    <a:gd name="connsiteY35" fmla="*/ 1026264 h 1062620"/>
                    <a:gd name="connsiteX36" fmla="*/ 177493 w 858007"/>
                    <a:gd name="connsiteY36" fmla="*/ 1062316 h 1062620"/>
                    <a:gd name="connsiteX37" fmla="*/ 158521 w 858007"/>
                    <a:gd name="connsiteY37" fmla="*/ 1060014 h 1062620"/>
                    <a:gd name="connsiteX38" fmla="*/ 122469 w 858007"/>
                    <a:gd name="connsiteY38" fmla="*/ 1014005 h 1062620"/>
                    <a:gd name="connsiteX39" fmla="*/ 163550 w 858007"/>
                    <a:gd name="connsiteY39" fmla="*/ 675425 h 1062620"/>
                    <a:gd name="connsiteX40" fmla="*/ 167094 w 858007"/>
                    <a:gd name="connsiteY40" fmla="*/ 380532 h 1062620"/>
                    <a:gd name="connsiteX41" fmla="*/ 118492 w 858007"/>
                    <a:gd name="connsiteY41" fmla="*/ 436195 h 1062620"/>
                    <a:gd name="connsiteX42" fmla="*/ 89724 w 858007"/>
                    <a:gd name="connsiteY42" fmla="*/ 598190 h 1062620"/>
                    <a:gd name="connsiteX43" fmla="*/ 47088 w 858007"/>
                    <a:gd name="connsiteY43" fmla="*/ 627966 h 1062620"/>
                    <a:gd name="connsiteX44" fmla="*/ 30347 w 858007"/>
                    <a:gd name="connsiteY44" fmla="*/ 624993 h 1062620"/>
                    <a:gd name="connsiteX45" fmla="*/ 572 w 858007"/>
                    <a:gd name="connsiteY45" fmla="*/ 582358 h 1062620"/>
                    <a:gd name="connsiteX46" fmla="*/ 31125 w 858007"/>
                    <a:gd name="connsiteY46" fmla="*/ 410309 h 1062620"/>
                    <a:gd name="connsiteX47" fmla="*/ 37765 w 858007"/>
                    <a:gd name="connsiteY47" fmla="*/ 399915 h 1062620"/>
                    <a:gd name="connsiteX48" fmla="*/ 42669 w 858007"/>
                    <a:gd name="connsiteY48" fmla="*/ 385363 h 1062620"/>
                    <a:gd name="connsiteX49" fmla="*/ 157600 w 858007"/>
                    <a:gd name="connsiteY49" fmla="*/ 253737 h 1062620"/>
                    <a:gd name="connsiteX50" fmla="*/ 166415 w 858007"/>
                    <a:gd name="connsiteY50" fmla="*/ 249366 h 1062620"/>
                    <a:gd name="connsiteX51" fmla="*/ 195664 w 858007"/>
                    <a:gd name="connsiteY51" fmla="*/ 231079 h 1062620"/>
                    <a:gd name="connsiteX52" fmla="*/ 200676 w 858007"/>
                    <a:gd name="connsiteY52" fmla="*/ 230646 h 1062620"/>
                    <a:gd name="connsiteX53" fmla="*/ 201852 w 858007"/>
                    <a:gd name="connsiteY53" fmla="*/ 229470 h 1062620"/>
                    <a:gd name="connsiteX54" fmla="*/ 214286 w 858007"/>
                    <a:gd name="connsiteY54" fmla="*/ 229470 h 1062620"/>
                    <a:gd name="connsiteX55" fmla="*/ 214705 w 858007"/>
                    <a:gd name="connsiteY55" fmla="*/ 229434 h 1062620"/>
                    <a:gd name="connsiteX56" fmla="*/ 267392 w 858007"/>
                    <a:gd name="connsiteY56" fmla="*/ 0 h 1062620"/>
                    <a:gd name="connsiteX57" fmla="*/ 372505 w 858007"/>
                    <a:gd name="connsiteY57" fmla="*/ 105113 h 1062620"/>
                    <a:gd name="connsiteX58" fmla="*/ 267392 w 858007"/>
                    <a:gd name="connsiteY58" fmla="*/ 210226 h 1062620"/>
                    <a:gd name="connsiteX59" fmla="*/ 162279 w 858007"/>
                    <a:gd name="connsiteY59" fmla="*/ 105113 h 1062620"/>
                    <a:gd name="connsiteX60" fmla="*/ 267392 w 858007"/>
                    <a:gd name="connsiteY60" fmla="*/ 0 h 1062620"/>
                    <a:gd name="connsiteX0" fmla="*/ 214705 w 858007"/>
                    <a:gd name="connsiteY0" fmla="*/ 229434 h 1062620"/>
                    <a:gd name="connsiteX1" fmla="*/ 214820 w 858007"/>
                    <a:gd name="connsiteY1" fmla="*/ 229470 h 1062620"/>
                    <a:gd name="connsiteX2" fmla="*/ 325096 w 858007"/>
                    <a:gd name="connsiteY2" fmla="*/ 229470 h 1062620"/>
                    <a:gd name="connsiteX3" fmla="*/ 325211 w 858007"/>
                    <a:gd name="connsiteY3" fmla="*/ 229434 h 1062620"/>
                    <a:gd name="connsiteX4" fmla="*/ 325630 w 858007"/>
                    <a:gd name="connsiteY4" fmla="*/ 229470 h 1062620"/>
                    <a:gd name="connsiteX5" fmla="*/ 328490 w 858007"/>
                    <a:gd name="connsiteY5" fmla="*/ 229470 h 1062620"/>
                    <a:gd name="connsiteX6" fmla="*/ 328761 w 858007"/>
                    <a:gd name="connsiteY6" fmla="*/ 229741 h 1062620"/>
                    <a:gd name="connsiteX7" fmla="*/ 344252 w 858007"/>
                    <a:gd name="connsiteY7" fmla="*/ 231079 h 1062620"/>
                    <a:gd name="connsiteX8" fmla="*/ 363488 w 858007"/>
                    <a:gd name="connsiteY8" fmla="*/ 241067 h 1062620"/>
                    <a:gd name="connsiteX9" fmla="*/ 371240 w 858007"/>
                    <a:gd name="connsiteY9" fmla="*/ 242218 h 1062620"/>
                    <a:gd name="connsiteX10" fmla="*/ 509248 w 858007"/>
                    <a:gd name="connsiteY10" fmla="*/ 324945 h 1062620"/>
                    <a:gd name="connsiteX11" fmla="*/ 648984 w 858007"/>
                    <a:gd name="connsiteY11" fmla="*/ 275236 h 1062620"/>
                    <a:gd name="connsiteX12" fmla="*/ 690006 w 858007"/>
                    <a:gd name="connsiteY12" fmla="*/ 293832 h 1062620"/>
                    <a:gd name="connsiteX13" fmla="*/ 849864 w 858007"/>
                    <a:gd name="connsiteY13" fmla="*/ 236966 h 1062620"/>
                    <a:gd name="connsiteX14" fmla="*/ 856843 w 858007"/>
                    <a:gd name="connsiteY14" fmla="*/ 240283 h 1062620"/>
                    <a:gd name="connsiteX15" fmla="*/ 857690 w 858007"/>
                    <a:gd name="connsiteY15" fmla="*/ 242663 h 1062620"/>
                    <a:gd name="connsiteX16" fmla="*/ 854373 w 858007"/>
                    <a:gd name="connsiteY16" fmla="*/ 249642 h 1062620"/>
                    <a:gd name="connsiteX17" fmla="*/ 695280 w 858007"/>
                    <a:gd name="connsiteY17" fmla="*/ 306236 h 1062620"/>
                    <a:gd name="connsiteX18" fmla="*/ 696578 w 858007"/>
                    <a:gd name="connsiteY18" fmla="*/ 309883 h 1062620"/>
                    <a:gd name="connsiteX19" fmla="*/ 676408 w 858007"/>
                    <a:gd name="connsiteY19" fmla="*/ 352327 h 1062620"/>
                    <a:gd name="connsiteX20" fmla="*/ 505097 w 858007"/>
                    <a:gd name="connsiteY20" fmla="*/ 413267 h 1062620"/>
                    <a:gd name="connsiteX21" fmla="*/ 503314 w 858007"/>
                    <a:gd name="connsiteY21" fmla="*/ 413176 h 1062620"/>
                    <a:gd name="connsiteX22" fmla="*/ 494980 w 858007"/>
                    <a:gd name="connsiteY22" fmla="*/ 412751 h 1062620"/>
                    <a:gd name="connsiteX23" fmla="*/ 478145 w 858007"/>
                    <a:gd name="connsiteY23" fmla="*/ 410253 h 1062620"/>
                    <a:gd name="connsiteX24" fmla="*/ 474563 w 858007"/>
                    <a:gd name="connsiteY24" fmla="*/ 409722 h 1062620"/>
                    <a:gd name="connsiteX25" fmla="*/ 375434 w 858007"/>
                    <a:gd name="connsiteY25" fmla="*/ 350301 h 1062620"/>
                    <a:gd name="connsiteX26" fmla="*/ 352507 w 858007"/>
                    <a:gd name="connsiteY26" fmla="*/ 615612 h 1062620"/>
                    <a:gd name="connsiteX27" fmla="*/ 335672 w 858007"/>
                    <a:gd name="connsiteY27" fmla="*/ 644401 h 1062620"/>
                    <a:gd name="connsiteX28" fmla="*/ 363653 w 858007"/>
                    <a:gd name="connsiteY28" fmla="*/ 675425 h 1062620"/>
                    <a:gd name="connsiteX29" fmla="*/ 404734 w 858007"/>
                    <a:gd name="connsiteY29" fmla="*/ 1014005 h 1062620"/>
                    <a:gd name="connsiteX30" fmla="*/ 368682 w 858007"/>
                    <a:gd name="connsiteY30" fmla="*/ 1060014 h 1062620"/>
                    <a:gd name="connsiteX31" fmla="*/ 349710 w 858007"/>
                    <a:gd name="connsiteY31" fmla="*/ 1062316 h 1062620"/>
                    <a:gd name="connsiteX32" fmla="*/ 303701 w 858007"/>
                    <a:gd name="connsiteY32" fmla="*/ 1026264 h 1062620"/>
                    <a:gd name="connsiteX33" fmla="*/ 265452 w 858007"/>
                    <a:gd name="connsiteY33" fmla="*/ 711028 h 1062620"/>
                    <a:gd name="connsiteX34" fmla="*/ 261751 w 858007"/>
                    <a:gd name="connsiteY34" fmla="*/ 711028 h 1062620"/>
                    <a:gd name="connsiteX35" fmla="*/ 223502 w 858007"/>
                    <a:gd name="connsiteY35" fmla="*/ 1026264 h 1062620"/>
                    <a:gd name="connsiteX36" fmla="*/ 177493 w 858007"/>
                    <a:gd name="connsiteY36" fmla="*/ 1062316 h 1062620"/>
                    <a:gd name="connsiteX37" fmla="*/ 158521 w 858007"/>
                    <a:gd name="connsiteY37" fmla="*/ 1060014 h 1062620"/>
                    <a:gd name="connsiteX38" fmla="*/ 122469 w 858007"/>
                    <a:gd name="connsiteY38" fmla="*/ 1014005 h 1062620"/>
                    <a:gd name="connsiteX39" fmla="*/ 180219 w 858007"/>
                    <a:gd name="connsiteY39" fmla="*/ 625418 h 1062620"/>
                    <a:gd name="connsiteX40" fmla="*/ 167094 w 858007"/>
                    <a:gd name="connsiteY40" fmla="*/ 380532 h 1062620"/>
                    <a:gd name="connsiteX41" fmla="*/ 118492 w 858007"/>
                    <a:gd name="connsiteY41" fmla="*/ 436195 h 1062620"/>
                    <a:gd name="connsiteX42" fmla="*/ 89724 w 858007"/>
                    <a:gd name="connsiteY42" fmla="*/ 598190 h 1062620"/>
                    <a:gd name="connsiteX43" fmla="*/ 47088 w 858007"/>
                    <a:gd name="connsiteY43" fmla="*/ 627966 h 1062620"/>
                    <a:gd name="connsiteX44" fmla="*/ 30347 w 858007"/>
                    <a:gd name="connsiteY44" fmla="*/ 624993 h 1062620"/>
                    <a:gd name="connsiteX45" fmla="*/ 572 w 858007"/>
                    <a:gd name="connsiteY45" fmla="*/ 582358 h 1062620"/>
                    <a:gd name="connsiteX46" fmla="*/ 31125 w 858007"/>
                    <a:gd name="connsiteY46" fmla="*/ 410309 h 1062620"/>
                    <a:gd name="connsiteX47" fmla="*/ 37765 w 858007"/>
                    <a:gd name="connsiteY47" fmla="*/ 399915 h 1062620"/>
                    <a:gd name="connsiteX48" fmla="*/ 42669 w 858007"/>
                    <a:gd name="connsiteY48" fmla="*/ 385363 h 1062620"/>
                    <a:gd name="connsiteX49" fmla="*/ 157600 w 858007"/>
                    <a:gd name="connsiteY49" fmla="*/ 253737 h 1062620"/>
                    <a:gd name="connsiteX50" fmla="*/ 166415 w 858007"/>
                    <a:gd name="connsiteY50" fmla="*/ 249366 h 1062620"/>
                    <a:gd name="connsiteX51" fmla="*/ 195664 w 858007"/>
                    <a:gd name="connsiteY51" fmla="*/ 231079 h 1062620"/>
                    <a:gd name="connsiteX52" fmla="*/ 200676 w 858007"/>
                    <a:gd name="connsiteY52" fmla="*/ 230646 h 1062620"/>
                    <a:gd name="connsiteX53" fmla="*/ 201852 w 858007"/>
                    <a:gd name="connsiteY53" fmla="*/ 229470 h 1062620"/>
                    <a:gd name="connsiteX54" fmla="*/ 214286 w 858007"/>
                    <a:gd name="connsiteY54" fmla="*/ 229470 h 1062620"/>
                    <a:gd name="connsiteX55" fmla="*/ 214705 w 858007"/>
                    <a:gd name="connsiteY55" fmla="*/ 229434 h 1062620"/>
                    <a:gd name="connsiteX56" fmla="*/ 267392 w 858007"/>
                    <a:gd name="connsiteY56" fmla="*/ 0 h 1062620"/>
                    <a:gd name="connsiteX57" fmla="*/ 372505 w 858007"/>
                    <a:gd name="connsiteY57" fmla="*/ 105113 h 1062620"/>
                    <a:gd name="connsiteX58" fmla="*/ 267392 w 858007"/>
                    <a:gd name="connsiteY58" fmla="*/ 210226 h 1062620"/>
                    <a:gd name="connsiteX59" fmla="*/ 162279 w 858007"/>
                    <a:gd name="connsiteY59" fmla="*/ 105113 h 1062620"/>
                    <a:gd name="connsiteX60" fmla="*/ 267392 w 858007"/>
                    <a:gd name="connsiteY60" fmla="*/ 0 h 1062620"/>
                    <a:gd name="connsiteX0" fmla="*/ 214705 w 858007"/>
                    <a:gd name="connsiteY0" fmla="*/ 229434 h 1062620"/>
                    <a:gd name="connsiteX1" fmla="*/ 214820 w 858007"/>
                    <a:gd name="connsiteY1" fmla="*/ 229470 h 1062620"/>
                    <a:gd name="connsiteX2" fmla="*/ 325096 w 858007"/>
                    <a:gd name="connsiteY2" fmla="*/ 229470 h 1062620"/>
                    <a:gd name="connsiteX3" fmla="*/ 325211 w 858007"/>
                    <a:gd name="connsiteY3" fmla="*/ 229434 h 1062620"/>
                    <a:gd name="connsiteX4" fmla="*/ 325630 w 858007"/>
                    <a:gd name="connsiteY4" fmla="*/ 229470 h 1062620"/>
                    <a:gd name="connsiteX5" fmla="*/ 328490 w 858007"/>
                    <a:gd name="connsiteY5" fmla="*/ 229470 h 1062620"/>
                    <a:gd name="connsiteX6" fmla="*/ 328761 w 858007"/>
                    <a:gd name="connsiteY6" fmla="*/ 229741 h 1062620"/>
                    <a:gd name="connsiteX7" fmla="*/ 344252 w 858007"/>
                    <a:gd name="connsiteY7" fmla="*/ 231079 h 1062620"/>
                    <a:gd name="connsiteX8" fmla="*/ 363488 w 858007"/>
                    <a:gd name="connsiteY8" fmla="*/ 241067 h 1062620"/>
                    <a:gd name="connsiteX9" fmla="*/ 371240 w 858007"/>
                    <a:gd name="connsiteY9" fmla="*/ 242218 h 1062620"/>
                    <a:gd name="connsiteX10" fmla="*/ 509248 w 858007"/>
                    <a:gd name="connsiteY10" fmla="*/ 324945 h 1062620"/>
                    <a:gd name="connsiteX11" fmla="*/ 648984 w 858007"/>
                    <a:gd name="connsiteY11" fmla="*/ 275236 h 1062620"/>
                    <a:gd name="connsiteX12" fmla="*/ 690006 w 858007"/>
                    <a:gd name="connsiteY12" fmla="*/ 293832 h 1062620"/>
                    <a:gd name="connsiteX13" fmla="*/ 849864 w 858007"/>
                    <a:gd name="connsiteY13" fmla="*/ 236966 h 1062620"/>
                    <a:gd name="connsiteX14" fmla="*/ 856843 w 858007"/>
                    <a:gd name="connsiteY14" fmla="*/ 240283 h 1062620"/>
                    <a:gd name="connsiteX15" fmla="*/ 857690 w 858007"/>
                    <a:gd name="connsiteY15" fmla="*/ 242663 h 1062620"/>
                    <a:gd name="connsiteX16" fmla="*/ 854373 w 858007"/>
                    <a:gd name="connsiteY16" fmla="*/ 249642 h 1062620"/>
                    <a:gd name="connsiteX17" fmla="*/ 695280 w 858007"/>
                    <a:gd name="connsiteY17" fmla="*/ 306236 h 1062620"/>
                    <a:gd name="connsiteX18" fmla="*/ 696578 w 858007"/>
                    <a:gd name="connsiteY18" fmla="*/ 309883 h 1062620"/>
                    <a:gd name="connsiteX19" fmla="*/ 676408 w 858007"/>
                    <a:gd name="connsiteY19" fmla="*/ 352327 h 1062620"/>
                    <a:gd name="connsiteX20" fmla="*/ 505097 w 858007"/>
                    <a:gd name="connsiteY20" fmla="*/ 413267 h 1062620"/>
                    <a:gd name="connsiteX21" fmla="*/ 503314 w 858007"/>
                    <a:gd name="connsiteY21" fmla="*/ 413176 h 1062620"/>
                    <a:gd name="connsiteX22" fmla="*/ 494980 w 858007"/>
                    <a:gd name="connsiteY22" fmla="*/ 412751 h 1062620"/>
                    <a:gd name="connsiteX23" fmla="*/ 478145 w 858007"/>
                    <a:gd name="connsiteY23" fmla="*/ 410253 h 1062620"/>
                    <a:gd name="connsiteX24" fmla="*/ 474563 w 858007"/>
                    <a:gd name="connsiteY24" fmla="*/ 409722 h 1062620"/>
                    <a:gd name="connsiteX25" fmla="*/ 375434 w 858007"/>
                    <a:gd name="connsiteY25" fmla="*/ 350301 h 1062620"/>
                    <a:gd name="connsiteX26" fmla="*/ 352507 w 858007"/>
                    <a:gd name="connsiteY26" fmla="*/ 615612 h 1062620"/>
                    <a:gd name="connsiteX27" fmla="*/ 335672 w 858007"/>
                    <a:gd name="connsiteY27" fmla="*/ 644401 h 1062620"/>
                    <a:gd name="connsiteX28" fmla="*/ 363653 w 858007"/>
                    <a:gd name="connsiteY28" fmla="*/ 675425 h 1062620"/>
                    <a:gd name="connsiteX29" fmla="*/ 404734 w 858007"/>
                    <a:gd name="connsiteY29" fmla="*/ 1014005 h 1062620"/>
                    <a:gd name="connsiteX30" fmla="*/ 368682 w 858007"/>
                    <a:gd name="connsiteY30" fmla="*/ 1060014 h 1062620"/>
                    <a:gd name="connsiteX31" fmla="*/ 349710 w 858007"/>
                    <a:gd name="connsiteY31" fmla="*/ 1062316 h 1062620"/>
                    <a:gd name="connsiteX32" fmla="*/ 303701 w 858007"/>
                    <a:gd name="connsiteY32" fmla="*/ 1026264 h 1062620"/>
                    <a:gd name="connsiteX33" fmla="*/ 265452 w 858007"/>
                    <a:gd name="connsiteY33" fmla="*/ 711028 h 1062620"/>
                    <a:gd name="connsiteX34" fmla="*/ 261751 w 858007"/>
                    <a:gd name="connsiteY34" fmla="*/ 711028 h 1062620"/>
                    <a:gd name="connsiteX35" fmla="*/ 223502 w 858007"/>
                    <a:gd name="connsiteY35" fmla="*/ 1026264 h 1062620"/>
                    <a:gd name="connsiteX36" fmla="*/ 177493 w 858007"/>
                    <a:gd name="connsiteY36" fmla="*/ 1062316 h 1062620"/>
                    <a:gd name="connsiteX37" fmla="*/ 158521 w 858007"/>
                    <a:gd name="connsiteY37" fmla="*/ 1060014 h 1062620"/>
                    <a:gd name="connsiteX38" fmla="*/ 122469 w 858007"/>
                    <a:gd name="connsiteY38" fmla="*/ 1014005 h 1062620"/>
                    <a:gd name="connsiteX39" fmla="*/ 180219 w 858007"/>
                    <a:gd name="connsiteY39" fmla="*/ 625418 h 1062620"/>
                    <a:gd name="connsiteX40" fmla="*/ 167094 w 858007"/>
                    <a:gd name="connsiteY40" fmla="*/ 380532 h 1062620"/>
                    <a:gd name="connsiteX41" fmla="*/ 118492 w 858007"/>
                    <a:gd name="connsiteY41" fmla="*/ 436195 h 1062620"/>
                    <a:gd name="connsiteX42" fmla="*/ 89724 w 858007"/>
                    <a:gd name="connsiteY42" fmla="*/ 598190 h 1062620"/>
                    <a:gd name="connsiteX43" fmla="*/ 47088 w 858007"/>
                    <a:gd name="connsiteY43" fmla="*/ 627966 h 1062620"/>
                    <a:gd name="connsiteX44" fmla="*/ 30347 w 858007"/>
                    <a:gd name="connsiteY44" fmla="*/ 624993 h 1062620"/>
                    <a:gd name="connsiteX45" fmla="*/ 572 w 858007"/>
                    <a:gd name="connsiteY45" fmla="*/ 582358 h 1062620"/>
                    <a:gd name="connsiteX46" fmla="*/ 31125 w 858007"/>
                    <a:gd name="connsiteY46" fmla="*/ 410309 h 1062620"/>
                    <a:gd name="connsiteX47" fmla="*/ 37765 w 858007"/>
                    <a:gd name="connsiteY47" fmla="*/ 399915 h 1062620"/>
                    <a:gd name="connsiteX48" fmla="*/ 42669 w 858007"/>
                    <a:gd name="connsiteY48" fmla="*/ 385363 h 1062620"/>
                    <a:gd name="connsiteX49" fmla="*/ 157600 w 858007"/>
                    <a:gd name="connsiteY49" fmla="*/ 253737 h 1062620"/>
                    <a:gd name="connsiteX50" fmla="*/ 166415 w 858007"/>
                    <a:gd name="connsiteY50" fmla="*/ 249366 h 1062620"/>
                    <a:gd name="connsiteX51" fmla="*/ 195664 w 858007"/>
                    <a:gd name="connsiteY51" fmla="*/ 231079 h 1062620"/>
                    <a:gd name="connsiteX52" fmla="*/ 200676 w 858007"/>
                    <a:gd name="connsiteY52" fmla="*/ 230646 h 1062620"/>
                    <a:gd name="connsiteX53" fmla="*/ 201852 w 858007"/>
                    <a:gd name="connsiteY53" fmla="*/ 229470 h 1062620"/>
                    <a:gd name="connsiteX54" fmla="*/ 214286 w 858007"/>
                    <a:gd name="connsiteY54" fmla="*/ 229470 h 1062620"/>
                    <a:gd name="connsiteX55" fmla="*/ 214705 w 858007"/>
                    <a:gd name="connsiteY55" fmla="*/ 229434 h 1062620"/>
                    <a:gd name="connsiteX56" fmla="*/ 267392 w 858007"/>
                    <a:gd name="connsiteY56" fmla="*/ 0 h 1062620"/>
                    <a:gd name="connsiteX57" fmla="*/ 372505 w 858007"/>
                    <a:gd name="connsiteY57" fmla="*/ 105113 h 1062620"/>
                    <a:gd name="connsiteX58" fmla="*/ 267392 w 858007"/>
                    <a:gd name="connsiteY58" fmla="*/ 210226 h 1062620"/>
                    <a:gd name="connsiteX59" fmla="*/ 162279 w 858007"/>
                    <a:gd name="connsiteY59" fmla="*/ 105113 h 1062620"/>
                    <a:gd name="connsiteX60" fmla="*/ 267392 w 858007"/>
                    <a:gd name="connsiteY60" fmla="*/ 0 h 1062620"/>
                    <a:gd name="connsiteX0" fmla="*/ 214705 w 858007"/>
                    <a:gd name="connsiteY0" fmla="*/ 229434 h 1062620"/>
                    <a:gd name="connsiteX1" fmla="*/ 214820 w 858007"/>
                    <a:gd name="connsiteY1" fmla="*/ 229470 h 1062620"/>
                    <a:gd name="connsiteX2" fmla="*/ 325096 w 858007"/>
                    <a:gd name="connsiteY2" fmla="*/ 229470 h 1062620"/>
                    <a:gd name="connsiteX3" fmla="*/ 325211 w 858007"/>
                    <a:gd name="connsiteY3" fmla="*/ 229434 h 1062620"/>
                    <a:gd name="connsiteX4" fmla="*/ 325630 w 858007"/>
                    <a:gd name="connsiteY4" fmla="*/ 229470 h 1062620"/>
                    <a:gd name="connsiteX5" fmla="*/ 328490 w 858007"/>
                    <a:gd name="connsiteY5" fmla="*/ 229470 h 1062620"/>
                    <a:gd name="connsiteX6" fmla="*/ 328761 w 858007"/>
                    <a:gd name="connsiteY6" fmla="*/ 229741 h 1062620"/>
                    <a:gd name="connsiteX7" fmla="*/ 344252 w 858007"/>
                    <a:gd name="connsiteY7" fmla="*/ 231079 h 1062620"/>
                    <a:gd name="connsiteX8" fmla="*/ 363488 w 858007"/>
                    <a:gd name="connsiteY8" fmla="*/ 241067 h 1062620"/>
                    <a:gd name="connsiteX9" fmla="*/ 371240 w 858007"/>
                    <a:gd name="connsiteY9" fmla="*/ 242218 h 1062620"/>
                    <a:gd name="connsiteX10" fmla="*/ 509248 w 858007"/>
                    <a:gd name="connsiteY10" fmla="*/ 324945 h 1062620"/>
                    <a:gd name="connsiteX11" fmla="*/ 648984 w 858007"/>
                    <a:gd name="connsiteY11" fmla="*/ 275236 h 1062620"/>
                    <a:gd name="connsiteX12" fmla="*/ 690006 w 858007"/>
                    <a:gd name="connsiteY12" fmla="*/ 293832 h 1062620"/>
                    <a:gd name="connsiteX13" fmla="*/ 849864 w 858007"/>
                    <a:gd name="connsiteY13" fmla="*/ 236966 h 1062620"/>
                    <a:gd name="connsiteX14" fmla="*/ 856843 w 858007"/>
                    <a:gd name="connsiteY14" fmla="*/ 240283 h 1062620"/>
                    <a:gd name="connsiteX15" fmla="*/ 857690 w 858007"/>
                    <a:gd name="connsiteY15" fmla="*/ 242663 h 1062620"/>
                    <a:gd name="connsiteX16" fmla="*/ 854373 w 858007"/>
                    <a:gd name="connsiteY16" fmla="*/ 249642 h 1062620"/>
                    <a:gd name="connsiteX17" fmla="*/ 695280 w 858007"/>
                    <a:gd name="connsiteY17" fmla="*/ 306236 h 1062620"/>
                    <a:gd name="connsiteX18" fmla="*/ 696578 w 858007"/>
                    <a:gd name="connsiteY18" fmla="*/ 309883 h 1062620"/>
                    <a:gd name="connsiteX19" fmla="*/ 676408 w 858007"/>
                    <a:gd name="connsiteY19" fmla="*/ 352327 h 1062620"/>
                    <a:gd name="connsiteX20" fmla="*/ 505097 w 858007"/>
                    <a:gd name="connsiteY20" fmla="*/ 413267 h 1062620"/>
                    <a:gd name="connsiteX21" fmla="*/ 503314 w 858007"/>
                    <a:gd name="connsiteY21" fmla="*/ 413176 h 1062620"/>
                    <a:gd name="connsiteX22" fmla="*/ 494980 w 858007"/>
                    <a:gd name="connsiteY22" fmla="*/ 412751 h 1062620"/>
                    <a:gd name="connsiteX23" fmla="*/ 478145 w 858007"/>
                    <a:gd name="connsiteY23" fmla="*/ 410253 h 1062620"/>
                    <a:gd name="connsiteX24" fmla="*/ 474563 w 858007"/>
                    <a:gd name="connsiteY24" fmla="*/ 409722 h 1062620"/>
                    <a:gd name="connsiteX25" fmla="*/ 375434 w 858007"/>
                    <a:gd name="connsiteY25" fmla="*/ 350301 h 1062620"/>
                    <a:gd name="connsiteX26" fmla="*/ 352507 w 858007"/>
                    <a:gd name="connsiteY26" fmla="*/ 615612 h 1062620"/>
                    <a:gd name="connsiteX27" fmla="*/ 363653 w 858007"/>
                    <a:gd name="connsiteY27" fmla="*/ 675425 h 1062620"/>
                    <a:gd name="connsiteX28" fmla="*/ 404734 w 858007"/>
                    <a:gd name="connsiteY28" fmla="*/ 1014005 h 1062620"/>
                    <a:gd name="connsiteX29" fmla="*/ 368682 w 858007"/>
                    <a:gd name="connsiteY29" fmla="*/ 1060014 h 1062620"/>
                    <a:gd name="connsiteX30" fmla="*/ 349710 w 858007"/>
                    <a:gd name="connsiteY30" fmla="*/ 1062316 h 1062620"/>
                    <a:gd name="connsiteX31" fmla="*/ 303701 w 858007"/>
                    <a:gd name="connsiteY31" fmla="*/ 1026264 h 1062620"/>
                    <a:gd name="connsiteX32" fmla="*/ 265452 w 858007"/>
                    <a:gd name="connsiteY32" fmla="*/ 711028 h 1062620"/>
                    <a:gd name="connsiteX33" fmla="*/ 261751 w 858007"/>
                    <a:gd name="connsiteY33" fmla="*/ 711028 h 1062620"/>
                    <a:gd name="connsiteX34" fmla="*/ 223502 w 858007"/>
                    <a:gd name="connsiteY34" fmla="*/ 1026264 h 1062620"/>
                    <a:gd name="connsiteX35" fmla="*/ 177493 w 858007"/>
                    <a:gd name="connsiteY35" fmla="*/ 1062316 h 1062620"/>
                    <a:gd name="connsiteX36" fmla="*/ 158521 w 858007"/>
                    <a:gd name="connsiteY36" fmla="*/ 1060014 h 1062620"/>
                    <a:gd name="connsiteX37" fmla="*/ 122469 w 858007"/>
                    <a:gd name="connsiteY37" fmla="*/ 1014005 h 1062620"/>
                    <a:gd name="connsiteX38" fmla="*/ 180219 w 858007"/>
                    <a:gd name="connsiteY38" fmla="*/ 625418 h 1062620"/>
                    <a:gd name="connsiteX39" fmla="*/ 167094 w 858007"/>
                    <a:gd name="connsiteY39" fmla="*/ 380532 h 1062620"/>
                    <a:gd name="connsiteX40" fmla="*/ 118492 w 858007"/>
                    <a:gd name="connsiteY40" fmla="*/ 436195 h 1062620"/>
                    <a:gd name="connsiteX41" fmla="*/ 89724 w 858007"/>
                    <a:gd name="connsiteY41" fmla="*/ 598190 h 1062620"/>
                    <a:gd name="connsiteX42" fmla="*/ 47088 w 858007"/>
                    <a:gd name="connsiteY42" fmla="*/ 627966 h 1062620"/>
                    <a:gd name="connsiteX43" fmla="*/ 30347 w 858007"/>
                    <a:gd name="connsiteY43" fmla="*/ 624993 h 1062620"/>
                    <a:gd name="connsiteX44" fmla="*/ 572 w 858007"/>
                    <a:gd name="connsiteY44" fmla="*/ 582358 h 1062620"/>
                    <a:gd name="connsiteX45" fmla="*/ 31125 w 858007"/>
                    <a:gd name="connsiteY45" fmla="*/ 410309 h 1062620"/>
                    <a:gd name="connsiteX46" fmla="*/ 37765 w 858007"/>
                    <a:gd name="connsiteY46" fmla="*/ 399915 h 1062620"/>
                    <a:gd name="connsiteX47" fmla="*/ 42669 w 858007"/>
                    <a:gd name="connsiteY47" fmla="*/ 385363 h 1062620"/>
                    <a:gd name="connsiteX48" fmla="*/ 157600 w 858007"/>
                    <a:gd name="connsiteY48" fmla="*/ 253737 h 1062620"/>
                    <a:gd name="connsiteX49" fmla="*/ 166415 w 858007"/>
                    <a:gd name="connsiteY49" fmla="*/ 249366 h 1062620"/>
                    <a:gd name="connsiteX50" fmla="*/ 195664 w 858007"/>
                    <a:gd name="connsiteY50" fmla="*/ 231079 h 1062620"/>
                    <a:gd name="connsiteX51" fmla="*/ 200676 w 858007"/>
                    <a:gd name="connsiteY51" fmla="*/ 230646 h 1062620"/>
                    <a:gd name="connsiteX52" fmla="*/ 201852 w 858007"/>
                    <a:gd name="connsiteY52" fmla="*/ 229470 h 1062620"/>
                    <a:gd name="connsiteX53" fmla="*/ 214286 w 858007"/>
                    <a:gd name="connsiteY53" fmla="*/ 229470 h 1062620"/>
                    <a:gd name="connsiteX54" fmla="*/ 214705 w 858007"/>
                    <a:gd name="connsiteY54" fmla="*/ 229434 h 1062620"/>
                    <a:gd name="connsiteX55" fmla="*/ 267392 w 858007"/>
                    <a:gd name="connsiteY55" fmla="*/ 0 h 1062620"/>
                    <a:gd name="connsiteX56" fmla="*/ 372505 w 858007"/>
                    <a:gd name="connsiteY56" fmla="*/ 105113 h 1062620"/>
                    <a:gd name="connsiteX57" fmla="*/ 267392 w 858007"/>
                    <a:gd name="connsiteY57" fmla="*/ 210226 h 1062620"/>
                    <a:gd name="connsiteX58" fmla="*/ 162279 w 858007"/>
                    <a:gd name="connsiteY58" fmla="*/ 105113 h 1062620"/>
                    <a:gd name="connsiteX59" fmla="*/ 267392 w 858007"/>
                    <a:gd name="connsiteY59" fmla="*/ 0 h 1062620"/>
                    <a:gd name="connsiteX0" fmla="*/ 214705 w 858007"/>
                    <a:gd name="connsiteY0" fmla="*/ 229434 h 1062620"/>
                    <a:gd name="connsiteX1" fmla="*/ 214820 w 858007"/>
                    <a:gd name="connsiteY1" fmla="*/ 229470 h 1062620"/>
                    <a:gd name="connsiteX2" fmla="*/ 325096 w 858007"/>
                    <a:gd name="connsiteY2" fmla="*/ 229470 h 1062620"/>
                    <a:gd name="connsiteX3" fmla="*/ 325211 w 858007"/>
                    <a:gd name="connsiteY3" fmla="*/ 229434 h 1062620"/>
                    <a:gd name="connsiteX4" fmla="*/ 325630 w 858007"/>
                    <a:gd name="connsiteY4" fmla="*/ 229470 h 1062620"/>
                    <a:gd name="connsiteX5" fmla="*/ 328490 w 858007"/>
                    <a:gd name="connsiteY5" fmla="*/ 229470 h 1062620"/>
                    <a:gd name="connsiteX6" fmla="*/ 328761 w 858007"/>
                    <a:gd name="connsiteY6" fmla="*/ 229741 h 1062620"/>
                    <a:gd name="connsiteX7" fmla="*/ 344252 w 858007"/>
                    <a:gd name="connsiteY7" fmla="*/ 231079 h 1062620"/>
                    <a:gd name="connsiteX8" fmla="*/ 363488 w 858007"/>
                    <a:gd name="connsiteY8" fmla="*/ 241067 h 1062620"/>
                    <a:gd name="connsiteX9" fmla="*/ 371240 w 858007"/>
                    <a:gd name="connsiteY9" fmla="*/ 242218 h 1062620"/>
                    <a:gd name="connsiteX10" fmla="*/ 509248 w 858007"/>
                    <a:gd name="connsiteY10" fmla="*/ 324945 h 1062620"/>
                    <a:gd name="connsiteX11" fmla="*/ 648984 w 858007"/>
                    <a:gd name="connsiteY11" fmla="*/ 275236 h 1062620"/>
                    <a:gd name="connsiteX12" fmla="*/ 690006 w 858007"/>
                    <a:gd name="connsiteY12" fmla="*/ 293832 h 1062620"/>
                    <a:gd name="connsiteX13" fmla="*/ 849864 w 858007"/>
                    <a:gd name="connsiteY13" fmla="*/ 236966 h 1062620"/>
                    <a:gd name="connsiteX14" fmla="*/ 856843 w 858007"/>
                    <a:gd name="connsiteY14" fmla="*/ 240283 h 1062620"/>
                    <a:gd name="connsiteX15" fmla="*/ 857690 w 858007"/>
                    <a:gd name="connsiteY15" fmla="*/ 242663 h 1062620"/>
                    <a:gd name="connsiteX16" fmla="*/ 854373 w 858007"/>
                    <a:gd name="connsiteY16" fmla="*/ 249642 h 1062620"/>
                    <a:gd name="connsiteX17" fmla="*/ 695280 w 858007"/>
                    <a:gd name="connsiteY17" fmla="*/ 306236 h 1062620"/>
                    <a:gd name="connsiteX18" fmla="*/ 696578 w 858007"/>
                    <a:gd name="connsiteY18" fmla="*/ 309883 h 1062620"/>
                    <a:gd name="connsiteX19" fmla="*/ 676408 w 858007"/>
                    <a:gd name="connsiteY19" fmla="*/ 352327 h 1062620"/>
                    <a:gd name="connsiteX20" fmla="*/ 505097 w 858007"/>
                    <a:gd name="connsiteY20" fmla="*/ 413267 h 1062620"/>
                    <a:gd name="connsiteX21" fmla="*/ 503314 w 858007"/>
                    <a:gd name="connsiteY21" fmla="*/ 413176 h 1062620"/>
                    <a:gd name="connsiteX22" fmla="*/ 494980 w 858007"/>
                    <a:gd name="connsiteY22" fmla="*/ 412751 h 1062620"/>
                    <a:gd name="connsiteX23" fmla="*/ 478145 w 858007"/>
                    <a:gd name="connsiteY23" fmla="*/ 410253 h 1062620"/>
                    <a:gd name="connsiteX24" fmla="*/ 474563 w 858007"/>
                    <a:gd name="connsiteY24" fmla="*/ 409722 h 1062620"/>
                    <a:gd name="connsiteX25" fmla="*/ 375434 w 858007"/>
                    <a:gd name="connsiteY25" fmla="*/ 350301 h 1062620"/>
                    <a:gd name="connsiteX26" fmla="*/ 352507 w 858007"/>
                    <a:gd name="connsiteY26" fmla="*/ 615612 h 1062620"/>
                    <a:gd name="connsiteX27" fmla="*/ 404734 w 858007"/>
                    <a:gd name="connsiteY27" fmla="*/ 1014005 h 1062620"/>
                    <a:gd name="connsiteX28" fmla="*/ 368682 w 858007"/>
                    <a:gd name="connsiteY28" fmla="*/ 1060014 h 1062620"/>
                    <a:gd name="connsiteX29" fmla="*/ 349710 w 858007"/>
                    <a:gd name="connsiteY29" fmla="*/ 1062316 h 1062620"/>
                    <a:gd name="connsiteX30" fmla="*/ 303701 w 858007"/>
                    <a:gd name="connsiteY30" fmla="*/ 1026264 h 1062620"/>
                    <a:gd name="connsiteX31" fmla="*/ 265452 w 858007"/>
                    <a:gd name="connsiteY31" fmla="*/ 711028 h 1062620"/>
                    <a:gd name="connsiteX32" fmla="*/ 261751 w 858007"/>
                    <a:gd name="connsiteY32" fmla="*/ 711028 h 1062620"/>
                    <a:gd name="connsiteX33" fmla="*/ 223502 w 858007"/>
                    <a:gd name="connsiteY33" fmla="*/ 1026264 h 1062620"/>
                    <a:gd name="connsiteX34" fmla="*/ 177493 w 858007"/>
                    <a:gd name="connsiteY34" fmla="*/ 1062316 h 1062620"/>
                    <a:gd name="connsiteX35" fmla="*/ 158521 w 858007"/>
                    <a:gd name="connsiteY35" fmla="*/ 1060014 h 1062620"/>
                    <a:gd name="connsiteX36" fmla="*/ 122469 w 858007"/>
                    <a:gd name="connsiteY36" fmla="*/ 1014005 h 1062620"/>
                    <a:gd name="connsiteX37" fmla="*/ 180219 w 858007"/>
                    <a:gd name="connsiteY37" fmla="*/ 625418 h 1062620"/>
                    <a:gd name="connsiteX38" fmla="*/ 167094 w 858007"/>
                    <a:gd name="connsiteY38" fmla="*/ 380532 h 1062620"/>
                    <a:gd name="connsiteX39" fmla="*/ 118492 w 858007"/>
                    <a:gd name="connsiteY39" fmla="*/ 436195 h 1062620"/>
                    <a:gd name="connsiteX40" fmla="*/ 89724 w 858007"/>
                    <a:gd name="connsiteY40" fmla="*/ 598190 h 1062620"/>
                    <a:gd name="connsiteX41" fmla="*/ 47088 w 858007"/>
                    <a:gd name="connsiteY41" fmla="*/ 627966 h 1062620"/>
                    <a:gd name="connsiteX42" fmla="*/ 30347 w 858007"/>
                    <a:gd name="connsiteY42" fmla="*/ 624993 h 1062620"/>
                    <a:gd name="connsiteX43" fmla="*/ 572 w 858007"/>
                    <a:gd name="connsiteY43" fmla="*/ 582358 h 1062620"/>
                    <a:gd name="connsiteX44" fmla="*/ 31125 w 858007"/>
                    <a:gd name="connsiteY44" fmla="*/ 410309 h 1062620"/>
                    <a:gd name="connsiteX45" fmla="*/ 37765 w 858007"/>
                    <a:gd name="connsiteY45" fmla="*/ 399915 h 1062620"/>
                    <a:gd name="connsiteX46" fmla="*/ 42669 w 858007"/>
                    <a:gd name="connsiteY46" fmla="*/ 385363 h 1062620"/>
                    <a:gd name="connsiteX47" fmla="*/ 157600 w 858007"/>
                    <a:gd name="connsiteY47" fmla="*/ 253737 h 1062620"/>
                    <a:gd name="connsiteX48" fmla="*/ 166415 w 858007"/>
                    <a:gd name="connsiteY48" fmla="*/ 249366 h 1062620"/>
                    <a:gd name="connsiteX49" fmla="*/ 195664 w 858007"/>
                    <a:gd name="connsiteY49" fmla="*/ 231079 h 1062620"/>
                    <a:gd name="connsiteX50" fmla="*/ 200676 w 858007"/>
                    <a:gd name="connsiteY50" fmla="*/ 230646 h 1062620"/>
                    <a:gd name="connsiteX51" fmla="*/ 201852 w 858007"/>
                    <a:gd name="connsiteY51" fmla="*/ 229470 h 1062620"/>
                    <a:gd name="connsiteX52" fmla="*/ 214286 w 858007"/>
                    <a:gd name="connsiteY52" fmla="*/ 229470 h 1062620"/>
                    <a:gd name="connsiteX53" fmla="*/ 214705 w 858007"/>
                    <a:gd name="connsiteY53" fmla="*/ 229434 h 1062620"/>
                    <a:gd name="connsiteX54" fmla="*/ 267392 w 858007"/>
                    <a:gd name="connsiteY54" fmla="*/ 0 h 1062620"/>
                    <a:gd name="connsiteX55" fmla="*/ 372505 w 858007"/>
                    <a:gd name="connsiteY55" fmla="*/ 105113 h 1062620"/>
                    <a:gd name="connsiteX56" fmla="*/ 267392 w 858007"/>
                    <a:gd name="connsiteY56" fmla="*/ 210226 h 1062620"/>
                    <a:gd name="connsiteX57" fmla="*/ 162279 w 858007"/>
                    <a:gd name="connsiteY57" fmla="*/ 105113 h 1062620"/>
                    <a:gd name="connsiteX58" fmla="*/ 267392 w 858007"/>
                    <a:gd name="connsiteY58" fmla="*/ 0 h 1062620"/>
                    <a:gd name="connsiteX0" fmla="*/ 214705 w 858007"/>
                    <a:gd name="connsiteY0" fmla="*/ 229434 h 1062620"/>
                    <a:gd name="connsiteX1" fmla="*/ 214820 w 858007"/>
                    <a:gd name="connsiteY1" fmla="*/ 229470 h 1062620"/>
                    <a:gd name="connsiteX2" fmla="*/ 325096 w 858007"/>
                    <a:gd name="connsiteY2" fmla="*/ 229470 h 1062620"/>
                    <a:gd name="connsiteX3" fmla="*/ 325211 w 858007"/>
                    <a:gd name="connsiteY3" fmla="*/ 229434 h 1062620"/>
                    <a:gd name="connsiteX4" fmla="*/ 325630 w 858007"/>
                    <a:gd name="connsiteY4" fmla="*/ 229470 h 1062620"/>
                    <a:gd name="connsiteX5" fmla="*/ 328490 w 858007"/>
                    <a:gd name="connsiteY5" fmla="*/ 229470 h 1062620"/>
                    <a:gd name="connsiteX6" fmla="*/ 328761 w 858007"/>
                    <a:gd name="connsiteY6" fmla="*/ 229741 h 1062620"/>
                    <a:gd name="connsiteX7" fmla="*/ 344252 w 858007"/>
                    <a:gd name="connsiteY7" fmla="*/ 231079 h 1062620"/>
                    <a:gd name="connsiteX8" fmla="*/ 363488 w 858007"/>
                    <a:gd name="connsiteY8" fmla="*/ 241067 h 1062620"/>
                    <a:gd name="connsiteX9" fmla="*/ 371240 w 858007"/>
                    <a:gd name="connsiteY9" fmla="*/ 242218 h 1062620"/>
                    <a:gd name="connsiteX10" fmla="*/ 509248 w 858007"/>
                    <a:gd name="connsiteY10" fmla="*/ 324945 h 1062620"/>
                    <a:gd name="connsiteX11" fmla="*/ 648984 w 858007"/>
                    <a:gd name="connsiteY11" fmla="*/ 275236 h 1062620"/>
                    <a:gd name="connsiteX12" fmla="*/ 690006 w 858007"/>
                    <a:gd name="connsiteY12" fmla="*/ 293832 h 1062620"/>
                    <a:gd name="connsiteX13" fmla="*/ 849864 w 858007"/>
                    <a:gd name="connsiteY13" fmla="*/ 236966 h 1062620"/>
                    <a:gd name="connsiteX14" fmla="*/ 856843 w 858007"/>
                    <a:gd name="connsiteY14" fmla="*/ 240283 h 1062620"/>
                    <a:gd name="connsiteX15" fmla="*/ 857690 w 858007"/>
                    <a:gd name="connsiteY15" fmla="*/ 242663 h 1062620"/>
                    <a:gd name="connsiteX16" fmla="*/ 854373 w 858007"/>
                    <a:gd name="connsiteY16" fmla="*/ 249642 h 1062620"/>
                    <a:gd name="connsiteX17" fmla="*/ 695280 w 858007"/>
                    <a:gd name="connsiteY17" fmla="*/ 306236 h 1062620"/>
                    <a:gd name="connsiteX18" fmla="*/ 696578 w 858007"/>
                    <a:gd name="connsiteY18" fmla="*/ 309883 h 1062620"/>
                    <a:gd name="connsiteX19" fmla="*/ 676408 w 858007"/>
                    <a:gd name="connsiteY19" fmla="*/ 352327 h 1062620"/>
                    <a:gd name="connsiteX20" fmla="*/ 505097 w 858007"/>
                    <a:gd name="connsiteY20" fmla="*/ 413267 h 1062620"/>
                    <a:gd name="connsiteX21" fmla="*/ 503314 w 858007"/>
                    <a:gd name="connsiteY21" fmla="*/ 413176 h 1062620"/>
                    <a:gd name="connsiteX22" fmla="*/ 494980 w 858007"/>
                    <a:gd name="connsiteY22" fmla="*/ 412751 h 1062620"/>
                    <a:gd name="connsiteX23" fmla="*/ 478145 w 858007"/>
                    <a:gd name="connsiteY23" fmla="*/ 410253 h 1062620"/>
                    <a:gd name="connsiteX24" fmla="*/ 474563 w 858007"/>
                    <a:gd name="connsiteY24" fmla="*/ 409722 h 1062620"/>
                    <a:gd name="connsiteX25" fmla="*/ 375434 w 858007"/>
                    <a:gd name="connsiteY25" fmla="*/ 350301 h 1062620"/>
                    <a:gd name="connsiteX26" fmla="*/ 354888 w 858007"/>
                    <a:gd name="connsiteY26" fmla="*/ 634662 h 1062620"/>
                    <a:gd name="connsiteX27" fmla="*/ 404734 w 858007"/>
                    <a:gd name="connsiteY27" fmla="*/ 1014005 h 1062620"/>
                    <a:gd name="connsiteX28" fmla="*/ 368682 w 858007"/>
                    <a:gd name="connsiteY28" fmla="*/ 1060014 h 1062620"/>
                    <a:gd name="connsiteX29" fmla="*/ 349710 w 858007"/>
                    <a:gd name="connsiteY29" fmla="*/ 1062316 h 1062620"/>
                    <a:gd name="connsiteX30" fmla="*/ 303701 w 858007"/>
                    <a:gd name="connsiteY30" fmla="*/ 1026264 h 1062620"/>
                    <a:gd name="connsiteX31" fmla="*/ 265452 w 858007"/>
                    <a:gd name="connsiteY31" fmla="*/ 711028 h 1062620"/>
                    <a:gd name="connsiteX32" fmla="*/ 261751 w 858007"/>
                    <a:gd name="connsiteY32" fmla="*/ 711028 h 1062620"/>
                    <a:gd name="connsiteX33" fmla="*/ 223502 w 858007"/>
                    <a:gd name="connsiteY33" fmla="*/ 1026264 h 1062620"/>
                    <a:gd name="connsiteX34" fmla="*/ 177493 w 858007"/>
                    <a:gd name="connsiteY34" fmla="*/ 1062316 h 1062620"/>
                    <a:gd name="connsiteX35" fmla="*/ 158521 w 858007"/>
                    <a:gd name="connsiteY35" fmla="*/ 1060014 h 1062620"/>
                    <a:gd name="connsiteX36" fmla="*/ 122469 w 858007"/>
                    <a:gd name="connsiteY36" fmla="*/ 1014005 h 1062620"/>
                    <a:gd name="connsiteX37" fmla="*/ 180219 w 858007"/>
                    <a:gd name="connsiteY37" fmla="*/ 625418 h 1062620"/>
                    <a:gd name="connsiteX38" fmla="*/ 167094 w 858007"/>
                    <a:gd name="connsiteY38" fmla="*/ 380532 h 1062620"/>
                    <a:gd name="connsiteX39" fmla="*/ 118492 w 858007"/>
                    <a:gd name="connsiteY39" fmla="*/ 436195 h 1062620"/>
                    <a:gd name="connsiteX40" fmla="*/ 89724 w 858007"/>
                    <a:gd name="connsiteY40" fmla="*/ 598190 h 1062620"/>
                    <a:gd name="connsiteX41" fmla="*/ 47088 w 858007"/>
                    <a:gd name="connsiteY41" fmla="*/ 627966 h 1062620"/>
                    <a:gd name="connsiteX42" fmla="*/ 30347 w 858007"/>
                    <a:gd name="connsiteY42" fmla="*/ 624993 h 1062620"/>
                    <a:gd name="connsiteX43" fmla="*/ 572 w 858007"/>
                    <a:gd name="connsiteY43" fmla="*/ 582358 h 1062620"/>
                    <a:gd name="connsiteX44" fmla="*/ 31125 w 858007"/>
                    <a:gd name="connsiteY44" fmla="*/ 410309 h 1062620"/>
                    <a:gd name="connsiteX45" fmla="*/ 37765 w 858007"/>
                    <a:gd name="connsiteY45" fmla="*/ 399915 h 1062620"/>
                    <a:gd name="connsiteX46" fmla="*/ 42669 w 858007"/>
                    <a:gd name="connsiteY46" fmla="*/ 385363 h 1062620"/>
                    <a:gd name="connsiteX47" fmla="*/ 157600 w 858007"/>
                    <a:gd name="connsiteY47" fmla="*/ 253737 h 1062620"/>
                    <a:gd name="connsiteX48" fmla="*/ 166415 w 858007"/>
                    <a:gd name="connsiteY48" fmla="*/ 249366 h 1062620"/>
                    <a:gd name="connsiteX49" fmla="*/ 195664 w 858007"/>
                    <a:gd name="connsiteY49" fmla="*/ 231079 h 1062620"/>
                    <a:gd name="connsiteX50" fmla="*/ 200676 w 858007"/>
                    <a:gd name="connsiteY50" fmla="*/ 230646 h 1062620"/>
                    <a:gd name="connsiteX51" fmla="*/ 201852 w 858007"/>
                    <a:gd name="connsiteY51" fmla="*/ 229470 h 1062620"/>
                    <a:gd name="connsiteX52" fmla="*/ 214286 w 858007"/>
                    <a:gd name="connsiteY52" fmla="*/ 229470 h 1062620"/>
                    <a:gd name="connsiteX53" fmla="*/ 214705 w 858007"/>
                    <a:gd name="connsiteY53" fmla="*/ 229434 h 1062620"/>
                    <a:gd name="connsiteX54" fmla="*/ 267392 w 858007"/>
                    <a:gd name="connsiteY54" fmla="*/ 0 h 1062620"/>
                    <a:gd name="connsiteX55" fmla="*/ 372505 w 858007"/>
                    <a:gd name="connsiteY55" fmla="*/ 105113 h 1062620"/>
                    <a:gd name="connsiteX56" fmla="*/ 267392 w 858007"/>
                    <a:gd name="connsiteY56" fmla="*/ 210226 h 1062620"/>
                    <a:gd name="connsiteX57" fmla="*/ 162279 w 858007"/>
                    <a:gd name="connsiteY57" fmla="*/ 105113 h 1062620"/>
                    <a:gd name="connsiteX58" fmla="*/ 267392 w 858007"/>
                    <a:gd name="connsiteY58" fmla="*/ 0 h 1062620"/>
                    <a:gd name="connsiteX0" fmla="*/ 214705 w 858007"/>
                    <a:gd name="connsiteY0" fmla="*/ 229434 h 1062620"/>
                    <a:gd name="connsiteX1" fmla="*/ 214820 w 858007"/>
                    <a:gd name="connsiteY1" fmla="*/ 229470 h 1062620"/>
                    <a:gd name="connsiteX2" fmla="*/ 325096 w 858007"/>
                    <a:gd name="connsiteY2" fmla="*/ 229470 h 1062620"/>
                    <a:gd name="connsiteX3" fmla="*/ 325211 w 858007"/>
                    <a:gd name="connsiteY3" fmla="*/ 229434 h 1062620"/>
                    <a:gd name="connsiteX4" fmla="*/ 325630 w 858007"/>
                    <a:gd name="connsiteY4" fmla="*/ 229470 h 1062620"/>
                    <a:gd name="connsiteX5" fmla="*/ 328490 w 858007"/>
                    <a:gd name="connsiteY5" fmla="*/ 229470 h 1062620"/>
                    <a:gd name="connsiteX6" fmla="*/ 328761 w 858007"/>
                    <a:gd name="connsiteY6" fmla="*/ 229741 h 1062620"/>
                    <a:gd name="connsiteX7" fmla="*/ 344252 w 858007"/>
                    <a:gd name="connsiteY7" fmla="*/ 231079 h 1062620"/>
                    <a:gd name="connsiteX8" fmla="*/ 363488 w 858007"/>
                    <a:gd name="connsiteY8" fmla="*/ 241067 h 1062620"/>
                    <a:gd name="connsiteX9" fmla="*/ 371240 w 858007"/>
                    <a:gd name="connsiteY9" fmla="*/ 242218 h 1062620"/>
                    <a:gd name="connsiteX10" fmla="*/ 509248 w 858007"/>
                    <a:gd name="connsiteY10" fmla="*/ 324945 h 1062620"/>
                    <a:gd name="connsiteX11" fmla="*/ 648984 w 858007"/>
                    <a:gd name="connsiteY11" fmla="*/ 275236 h 1062620"/>
                    <a:gd name="connsiteX12" fmla="*/ 690006 w 858007"/>
                    <a:gd name="connsiteY12" fmla="*/ 293832 h 1062620"/>
                    <a:gd name="connsiteX13" fmla="*/ 849864 w 858007"/>
                    <a:gd name="connsiteY13" fmla="*/ 236966 h 1062620"/>
                    <a:gd name="connsiteX14" fmla="*/ 856843 w 858007"/>
                    <a:gd name="connsiteY14" fmla="*/ 240283 h 1062620"/>
                    <a:gd name="connsiteX15" fmla="*/ 857690 w 858007"/>
                    <a:gd name="connsiteY15" fmla="*/ 242663 h 1062620"/>
                    <a:gd name="connsiteX16" fmla="*/ 854373 w 858007"/>
                    <a:gd name="connsiteY16" fmla="*/ 249642 h 1062620"/>
                    <a:gd name="connsiteX17" fmla="*/ 695280 w 858007"/>
                    <a:gd name="connsiteY17" fmla="*/ 306236 h 1062620"/>
                    <a:gd name="connsiteX18" fmla="*/ 696578 w 858007"/>
                    <a:gd name="connsiteY18" fmla="*/ 309883 h 1062620"/>
                    <a:gd name="connsiteX19" fmla="*/ 676408 w 858007"/>
                    <a:gd name="connsiteY19" fmla="*/ 352327 h 1062620"/>
                    <a:gd name="connsiteX20" fmla="*/ 505097 w 858007"/>
                    <a:gd name="connsiteY20" fmla="*/ 413267 h 1062620"/>
                    <a:gd name="connsiteX21" fmla="*/ 503314 w 858007"/>
                    <a:gd name="connsiteY21" fmla="*/ 413176 h 1062620"/>
                    <a:gd name="connsiteX22" fmla="*/ 494980 w 858007"/>
                    <a:gd name="connsiteY22" fmla="*/ 412751 h 1062620"/>
                    <a:gd name="connsiteX23" fmla="*/ 478145 w 858007"/>
                    <a:gd name="connsiteY23" fmla="*/ 410253 h 1062620"/>
                    <a:gd name="connsiteX24" fmla="*/ 474563 w 858007"/>
                    <a:gd name="connsiteY24" fmla="*/ 409722 h 1062620"/>
                    <a:gd name="connsiteX25" fmla="*/ 375434 w 858007"/>
                    <a:gd name="connsiteY25" fmla="*/ 350301 h 1062620"/>
                    <a:gd name="connsiteX26" fmla="*/ 354888 w 858007"/>
                    <a:gd name="connsiteY26" fmla="*/ 634662 h 1062620"/>
                    <a:gd name="connsiteX27" fmla="*/ 404734 w 858007"/>
                    <a:gd name="connsiteY27" fmla="*/ 1014005 h 1062620"/>
                    <a:gd name="connsiteX28" fmla="*/ 368682 w 858007"/>
                    <a:gd name="connsiteY28" fmla="*/ 1060014 h 1062620"/>
                    <a:gd name="connsiteX29" fmla="*/ 349710 w 858007"/>
                    <a:gd name="connsiteY29" fmla="*/ 1062316 h 1062620"/>
                    <a:gd name="connsiteX30" fmla="*/ 303701 w 858007"/>
                    <a:gd name="connsiteY30" fmla="*/ 1026264 h 1062620"/>
                    <a:gd name="connsiteX31" fmla="*/ 265452 w 858007"/>
                    <a:gd name="connsiteY31" fmla="*/ 711028 h 1062620"/>
                    <a:gd name="connsiteX32" fmla="*/ 261751 w 858007"/>
                    <a:gd name="connsiteY32" fmla="*/ 711028 h 1062620"/>
                    <a:gd name="connsiteX33" fmla="*/ 223502 w 858007"/>
                    <a:gd name="connsiteY33" fmla="*/ 1026264 h 1062620"/>
                    <a:gd name="connsiteX34" fmla="*/ 177493 w 858007"/>
                    <a:gd name="connsiteY34" fmla="*/ 1062316 h 1062620"/>
                    <a:gd name="connsiteX35" fmla="*/ 158521 w 858007"/>
                    <a:gd name="connsiteY35" fmla="*/ 1060014 h 1062620"/>
                    <a:gd name="connsiteX36" fmla="*/ 122469 w 858007"/>
                    <a:gd name="connsiteY36" fmla="*/ 1014005 h 1062620"/>
                    <a:gd name="connsiteX37" fmla="*/ 180219 w 858007"/>
                    <a:gd name="connsiteY37" fmla="*/ 625418 h 1062620"/>
                    <a:gd name="connsiteX38" fmla="*/ 167094 w 858007"/>
                    <a:gd name="connsiteY38" fmla="*/ 380532 h 1062620"/>
                    <a:gd name="connsiteX39" fmla="*/ 118492 w 858007"/>
                    <a:gd name="connsiteY39" fmla="*/ 436195 h 1062620"/>
                    <a:gd name="connsiteX40" fmla="*/ 89724 w 858007"/>
                    <a:gd name="connsiteY40" fmla="*/ 598190 h 1062620"/>
                    <a:gd name="connsiteX41" fmla="*/ 47088 w 858007"/>
                    <a:gd name="connsiteY41" fmla="*/ 627966 h 1062620"/>
                    <a:gd name="connsiteX42" fmla="*/ 30347 w 858007"/>
                    <a:gd name="connsiteY42" fmla="*/ 624993 h 1062620"/>
                    <a:gd name="connsiteX43" fmla="*/ 572 w 858007"/>
                    <a:gd name="connsiteY43" fmla="*/ 582358 h 1062620"/>
                    <a:gd name="connsiteX44" fmla="*/ 31125 w 858007"/>
                    <a:gd name="connsiteY44" fmla="*/ 410309 h 1062620"/>
                    <a:gd name="connsiteX45" fmla="*/ 42669 w 858007"/>
                    <a:gd name="connsiteY45" fmla="*/ 385363 h 1062620"/>
                    <a:gd name="connsiteX46" fmla="*/ 157600 w 858007"/>
                    <a:gd name="connsiteY46" fmla="*/ 253737 h 1062620"/>
                    <a:gd name="connsiteX47" fmla="*/ 166415 w 858007"/>
                    <a:gd name="connsiteY47" fmla="*/ 249366 h 1062620"/>
                    <a:gd name="connsiteX48" fmla="*/ 195664 w 858007"/>
                    <a:gd name="connsiteY48" fmla="*/ 231079 h 1062620"/>
                    <a:gd name="connsiteX49" fmla="*/ 200676 w 858007"/>
                    <a:gd name="connsiteY49" fmla="*/ 230646 h 1062620"/>
                    <a:gd name="connsiteX50" fmla="*/ 201852 w 858007"/>
                    <a:gd name="connsiteY50" fmla="*/ 229470 h 1062620"/>
                    <a:gd name="connsiteX51" fmla="*/ 214286 w 858007"/>
                    <a:gd name="connsiteY51" fmla="*/ 229470 h 1062620"/>
                    <a:gd name="connsiteX52" fmla="*/ 214705 w 858007"/>
                    <a:gd name="connsiteY52" fmla="*/ 229434 h 1062620"/>
                    <a:gd name="connsiteX53" fmla="*/ 267392 w 858007"/>
                    <a:gd name="connsiteY53" fmla="*/ 0 h 1062620"/>
                    <a:gd name="connsiteX54" fmla="*/ 372505 w 858007"/>
                    <a:gd name="connsiteY54" fmla="*/ 105113 h 1062620"/>
                    <a:gd name="connsiteX55" fmla="*/ 267392 w 858007"/>
                    <a:gd name="connsiteY55" fmla="*/ 210226 h 1062620"/>
                    <a:gd name="connsiteX56" fmla="*/ 162279 w 858007"/>
                    <a:gd name="connsiteY56" fmla="*/ 105113 h 1062620"/>
                    <a:gd name="connsiteX57" fmla="*/ 267392 w 858007"/>
                    <a:gd name="connsiteY57" fmla="*/ 0 h 1062620"/>
                    <a:gd name="connsiteX0" fmla="*/ 214705 w 858007"/>
                    <a:gd name="connsiteY0" fmla="*/ 229434 h 1062620"/>
                    <a:gd name="connsiteX1" fmla="*/ 214820 w 858007"/>
                    <a:gd name="connsiteY1" fmla="*/ 229470 h 1062620"/>
                    <a:gd name="connsiteX2" fmla="*/ 325096 w 858007"/>
                    <a:gd name="connsiteY2" fmla="*/ 229470 h 1062620"/>
                    <a:gd name="connsiteX3" fmla="*/ 325211 w 858007"/>
                    <a:gd name="connsiteY3" fmla="*/ 229434 h 1062620"/>
                    <a:gd name="connsiteX4" fmla="*/ 325630 w 858007"/>
                    <a:gd name="connsiteY4" fmla="*/ 229470 h 1062620"/>
                    <a:gd name="connsiteX5" fmla="*/ 328490 w 858007"/>
                    <a:gd name="connsiteY5" fmla="*/ 229470 h 1062620"/>
                    <a:gd name="connsiteX6" fmla="*/ 328761 w 858007"/>
                    <a:gd name="connsiteY6" fmla="*/ 229741 h 1062620"/>
                    <a:gd name="connsiteX7" fmla="*/ 344252 w 858007"/>
                    <a:gd name="connsiteY7" fmla="*/ 231079 h 1062620"/>
                    <a:gd name="connsiteX8" fmla="*/ 363488 w 858007"/>
                    <a:gd name="connsiteY8" fmla="*/ 241067 h 1062620"/>
                    <a:gd name="connsiteX9" fmla="*/ 371240 w 858007"/>
                    <a:gd name="connsiteY9" fmla="*/ 242218 h 1062620"/>
                    <a:gd name="connsiteX10" fmla="*/ 509248 w 858007"/>
                    <a:gd name="connsiteY10" fmla="*/ 324945 h 1062620"/>
                    <a:gd name="connsiteX11" fmla="*/ 648984 w 858007"/>
                    <a:gd name="connsiteY11" fmla="*/ 275236 h 1062620"/>
                    <a:gd name="connsiteX12" fmla="*/ 690006 w 858007"/>
                    <a:gd name="connsiteY12" fmla="*/ 293832 h 1062620"/>
                    <a:gd name="connsiteX13" fmla="*/ 849864 w 858007"/>
                    <a:gd name="connsiteY13" fmla="*/ 236966 h 1062620"/>
                    <a:gd name="connsiteX14" fmla="*/ 856843 w 858007"/>
                    <a:gd name="connsiteY14" fmla="*/ 240283 h 1062620"/>
                    <a:gd name="connsiteX15" fmla="*/ 857690 w 858007"/>
                    <a:gd name="connsiteY15" fmla="*/ 242663 h 1062620"/>
                    <a:gd name="connsiteX16" fmla="*/ 854373 w 858007"/>
                    <a:gd name="connsiteY16" fmla="*/ 249642 h 1062620"/>
                    <a:gd name="connsiteX17" fmla="*/ 695280 w 858007"/>
                    <a:gd name="connsiteY17" fmla="*/ 306236 h 1062620"/>
                    <a:gd name="connsiteX18" fmla="*/ 696578 w 858007"/>
                    <a:gd name="connsiteY18" fmla="*/ 309883 h 1062620"/>
                    <a:gd name="connsiteX19" fmla="*/ 676408 w 858007"/>
                    <a:gd name="connsiteY19" fmla="*/ 352327 h 1062620"/>
                    <a:gd name="connsiteX20" fmla="*/ 505097 w 858007"/>
                    <a:gd name="connsiteY20" fmla="*/ 413267 h 1062620"/>
                    <a:gd name="connsiteX21" fmla="*/ 503314 w 858007"/>
                    <a:gd name="connsiteY21" fmla="*/ 413176 h 1062620"/>
                    <a:gd name="connsiteX22" fmla="*/ 494980 w 858007"/>
                    <a:gd name="connsiteY22" fmla="*/ 412751 h 1062620"/>
                    <a:gd name="connsiteX23" fmla="*/ 478145 w 858007"/>
                    <a:gd name="connsiteY23" fmla="*/ 410253 h 1062620"/>
                    <a:gd name="connsiteX24" fmla="*/ 474563 w 858007"/>
                    <a:gd name="connsiteY24" fmla="*/ 409722 h 1062620"/>
                    <a:gd name="connsiteX25" fmla="*/ 375434 w 858007"/>
                    <a:gd name="connsiteY25" fmla="*/ 350301 h 1062620"/>
                    <a:gd name="connsiteX26" fmla="*/ 354888 w 858007"/>
                    <a:gd name="connsiteY26" fmla="*/ 634662 h 1062620"/>
                    <a:gd name="connsiteX27" fmla="*/ 404734 w 858007"/>
                    <a:gd name="connsiteY27" fmla="*/ 1014005 h 1062620"/>
                    <a:gd name="connsiteX28" fmla="*/ 368682 w 858007"/>
                    <a:gd name="connsiteY28" fmla="*/ 1060014 h 1062620"/>
                    <a:gd name="connsiteX29" fmla="*/ 349710 w 858007"/>
                    <a:gd name="connsiteY29" fmla="*/ 1062316 h 1062620"/>
                    <a:gd name="connsiteX30" fmla="*/ 303701 w 858007"/>
                    <a:gd name="connsiteY30" fmla="*/ 1026264 h 1062620"/>
                    <a:gd name="connsiteX31" fmla="*/ 265452 w 858007"/>
                    <a:gd name="connsiteY31" fmla="*/ 711028 h 1062620"/>
                    <a:gd name="connsiteX32" fmla="*/ 261751 w 858007"/>
                    <a:gd name="connsiteY32" fmla="*/ 711028 h 1062620"/>
                    <a:gd name="connsiteX33" fmla="*/ 223502 w 858007"/>
                    <a:gd name="connsiteY33" fmla="*/ 1026264 h 1062620"/>
                    <a:gd name="connsiteX34" fmla="*/ 177493 w 858007"/>
                    <a:gd name="connsiteY34" fmla="*/ 1062316 h 1062620"/>
                    <a:gd name="connsiteX35" fmla="*/ 158521 w 858007"/>
                    <a:gd name="connsiteY35" fmla="*/ 1060014 h 1062620"/>
                    <a:gd name="connsiteX36" fmla="*/ 122469 w 858007"/>
                    <a:gd name="connsiteY36" fmla="*/ 1014005 h 1062620"/>
                    <a:gd name="connsiteX37" fmla="*/ 180219 w 858007"/>
                    <a:gd name="connsiteY37" fmla="*/ 625418 h 1062620"/>
                    <a:gd name="connsiteX38" fmla="*/ 167094 w 858007"/>
                    <a:gd name="connsiteY38" fmla="*/ 380532 h 1062620"/>
                    <a:gd name="connsiteX39" fmla="*/ 118492 w 858007"/>
                    <a:gd name="connsiteY39" fmla="*/ 436195 h 1062620"/>
                    <a:gd name="connsiteX40" fmla="*/ 89724 w 858007"/>
                    <a:gd name="connsiteY40" fmla="*/ 598190 h 1062620"/>
                    <a:gd name="connsiteX41" fmla="*/ 47088 w 858007"/>
                    <a:gd name="connsiteY41" fmla="*/ 627966 h 1062620"/>
                    <a:gd name="connsiteX42" fmla="*/ 30347 w 858007"/>
                    <a:gd name="connsiteY42" fmla="*/ 624993 h 1062620"/>
                    <a:gd name="connsiteX43" fmla="*/ 572 w 858007"/>
                    <a:gd name="connsiteY43" fmla="*/ 582358 h 1062620"/>
                    <a:gd name="connsiteX44" fmla="*/ 31125 w 858007"/>
                    <a:gd name="connsiteY44" fmla="*/ 410309 h 1062620"/>
                    <a:gd name="connsiteX45" fmla="*/ 42669 w 858007"/>
                    <a:gd name="connsiteY45" fmla="*/ 385363 h 1062620"/>
                    <a:gd name="connsiteX46" fmla="*/ 157600 w 858007"/>
                    <a:gd name="connsiteY46" fmla="*/ 253737 h 1062620"/>
                    <a:gd name="connsiteX47" fmla="*/ 195664 w 858007"/>
                    <a:gd name="connsiteY47" fmla="*/ 231079 h 1062620"/>
                    <a:gd name="connsiteX48" fmla="*/ 200676 w 858007"/>
                    <a:gd name="connsiteY48" fmla="*/ 230646 h 1062620"/>
                    <a:gd name="connsiteX49" fmla="*/ 201852 w 858007"/>
                    <a:gd name="connsiteY49" fmla="*/ 229470 h 1062620"/>
                    <a:gd name="connsiteX50" fmla="*/ 214286 w 858007"/>
                    <a:gd name="connsiteY50" fmla="*/ 229470 h 1062620"/>
                    <a:gd name="connsiteX51" fmla="*/ 214705 w 858007"/>
                    <a:gd name="connsiteY51" fmla="*/ 229434 h 1062620"/>
                    <a:gd name="connsiteX52" fmla="*/ 267392 w 858007"/>
                    <a:gd name="connsiteY52" fmla="*/ 0 h 1062620"/>
                    <a:gd name="connsiteX53" fmla="*/ 372505 w 858007"/>
                    <a:gd name="connsiteY53" fmla="*/ 105113 h 1062620"/>
                    <a:gd name="connsiteX54" fmla="*/ 267392 w 858007"/>
                    <a:gd name="connsiteY54" fmla="*/ 210226 h 1062620"/>
                    <a:gd name="connsiteX55" fmla="*/ 162279 w 858007"/>
                    <a:gd name="connsiteY55" fmla="*/ 105113 h 1062620"/>
                    <a:gd name="connsiteX56" fmla="*/ 267392 w 858007"/>
                    <a:gd name="connsiteY56" fmla="*/ 0 h 1062620"/>
                    <a:gd name="connsiteX0" fmla="*/ 214705 w 858007"/>
                    <a:gd name="connsiteY0" fmla="*/ 229434 h 1062620"/>
                    <a:gd name="connsiteX1" fmla="*/ 214820 w 858007"/>
                    <a:gd name="connsiteY1" fmla="*/ 229470 h 1062620"/>
                    <a:gd name="connsiteX2" fmla="*/ 325096 w 858007"/>
                    <a:gd name="connsiteY2" fmla="*/ 229470 h 1062620"/>
                    <a:gd name="connsiteX3" fmla="*/ 325211 w 858007"/>
                    <a:gd name="connsiteY3" fmla="*/ 229434 h 1062620"/>
                    <a:gd name="connsiteX4" fmla="*/ 325630 w 858007"/>
                    <a:gd name="connsiteY4" fmla="*/ 229470 h 1062620"/>
                    <a:gd name="connsiteX5" fmla="*/ 328490 w 858007"/>
                    <a:gd name="connsiteY5" fmla="*/ 229470 h 1062620"/>
                    <a:gd name="connsiteX6" fmla="*/ 328761 w 858007"/>
                    <a:gd name="connsiteY6" fmla="*/ 229741 h 1062620"/>
                    <a:gd name="connsiteX7" fmla="*/ 344252 w 858007"/>
                    <a:gd name="connsiteY7" fmla="*/ 231079 h 1062620"/>
                    <a:gd name="connsiteX8" fmla="*/ 371240 w 858007"/>
                    <a:gd name="connsiteY8" fmla="*/ 242218 h 1062620"/>
                    <a:gd name="connsiteX9" fmla="*/ 509248 w 858007"/>
                    <a:gd name="connsiteY9" fmla="*/ 324945 h 1062620"/>
                    <a:gd name="connsiteX10" fmla="*/ 648984 w 858007"/>
                    <a:gd name="connsiteY10" fmla="*/ 275236 h 1062620"/>
                    <a:gd name="connsiteX11" fmla="*/ 690006 w 858007"/>
                    <a:gd name="connsiteY11" fmla="*/ 293832 h 1062620"/>
                    <a:gd name="connsiteX12" fmla="*/ 849864 w 858007"/>
                    <a:gd name="connsiteY12" fmla="*/ 236966 h 1062620"/>
                    <a:gd name="connsiteX13" fmla="*/ 856843 w 858007"/>
                    <a:gd name="connsiteY13" fmla="*/ 240283 h 1062620"/>
                    <a:gd name="connsiteX14" fmla="*/ 857690 w 858007"/>
                    <a:gd name="connsiteY14" fmla="*/ 242663 h 1062620"/>
                    <a:gd name="connsiteX15" fmla="*/ 854373 w 858007"/>
                    <a:gd name="connsiteY15" fmla="*/ 249642 h 1062620"/>
                    <a:gd name="connsiteX16" fmla="*/ 695280 w 858007"/>
                    <a:gd name="connsiteY16" fmla="*/ 306236 h 1062620"/>
                    <a:gd name="connsiteX17" fmla="*/ 696578 w 858007"/>
                    <a:gd name="connsiteY17" fmla="*/ 309883 h 1062620"/>
                    <a:gd name="connsiteX18" fmla="*/ 676408 w 858007"/>
                    <a:gd name="connsiteY18" fmla="*/ 352327 h 1062620"/>
                    <a:gd name="connsiteX19" fmla="*/ 505097 w 858007"/>
                    <a:gd name="connsiteY19" fmla="*/ 413267 h 1062620"/>
                    <a:gd name="connsiteX20" fmla="*/ 503314 w 858007"/>
                    <a:gd name="connsiteY20" fmla="*/ 413176 h 1062620"/>
                    <a:gd name="connsiteX21" fmla="*/ 494980 w 858007"/>
                    <a:gd name="connsiteY21" fmla="*/ 412751 h 1062620"/>
                    <a:gd name="connsiteX22" fmla="*/ 478145 w 858007"/>
                    <a:gd name="connsiteY22" fmla="*/ 410253 h 1062620"/>
                    <a:gd name="connsiteX23" fmla="*/ 474563 w 858007"/>
                    <a:gd name="connsiteY23" fmla="*/ 409722 h 1062620"/>
                    <a:gd name="connsiteX24" fmla="*/ 375434 w 858007"/>
                    <a:gd name="connsiteY24" fmla="*/ 350301 h 1062620"/>
                    <a:gd name="connsiteX25" fmla="*/ 354888 w 858007"/>
                    <a:gd name="connsiteY25" fmla="*/ 634662 h 1062620"/>
                    <a:gd name="connsiteX26" fmla="*/ 404734 w 858007"/>
                    <a:gd name="connsiteY26" fmla="*/ 1014005 h 1062620"/>
                    <a:gd name="connsiteX27" fmla="*/ 368682 w 858007"/>
                    <a:gd name="connsiteY27" fmla="*/ 1060014 h 1062620"/>
                    <a:gd name="connsiteX28" fmla="*/ 349710 w 858007"/>
                    <a:gd name="connsiteY28" fmla="*/ 1062316 h 1062620"/>
                    <a:gd name="connsiteX29" fmla="*/ 303701 w 858007"/>
                    <a:gd name="connsiteY29" fmla="*/ 1026264 h 1062620"/>
                    <a:gd name="connsiteX30" fmla="*/ 265452 w 858007"/>
                    <a:gd name="connsiteY30" fmla="*/ 711028 h 1062620"/>
                    <a:gd name="connsiteX31" fmla="*/ 261751 w 858007"/>
                    <a:gd name="connsiteY31" fmla="*/ 711028 h 1062620"/>
                    <a:gd name="connsiteX32" fmla="*/ 223502 w 858007"/>
                    <a:gd name="connsiteY32" fmla="*/ 1026264 h 1062620"/>
                    <a:gd name="connsiteX33" fmla="*/ 177493 w 858007"/>
                    <a:gd name="connsiteY33" fmla="*/ 1062316 h 1062620"/>
                    <a:gd name="connsiteX34" fmla="*/ 158521 w 858007"/>
                    <a:gd name="connsiteY34" fmla="*/ 1060014 h 1062620"/>
                    <a:gd name="connsiteX35" fmla="*/ 122469 w 858007"/>
                    <a:gd name="connsiteY35" fmla="*/ 1014005 h 1062620"/>
                    <a:gd name="connsiteX36" fmla="*/ 180219 w 858007"/>
                    <a:gd name="connsiteY36" fmla="*/ 625418 h 1062620"/>
                    <a:gd name="connsiteX37" fmla="*/ 167094 w 858007"/>
                    <a:gd name="connsiteY37" fmla="*/ 380532 h 1062620"/>
                    <a:gd name="connsiteX38" fmla="*/ 118492 w 858007"/>
                    <a:gd name="connsiteY38" fmla="*/ 436195 h 1062620"/>
                    <a:gd name="connsiteX39" fmla="*/ 89724 w 858007"/>
                    <a:gd name="connsiteY39" fmla="*/ 598190 h 1062620"/>
                    <a:gd name="connsiteX40" fmla="*/ 47088 w 858007"/>
                    <a:gd name="connsiteY40" fmla="*/ 627966 h 1062620"/>
                    <a:gd name="connsiteX41" fmla="*/ 30347 w 858007"/>
                    <a:gd name="connsiteY41" fmla="*/ 624993 h 1062620"/>
                    <a:gd name="connsiteX42" fmla="*/ 572 w 858007"/>
                    <a:gd name="connsiteY42" fmla="*/ 582358 h 1062620"/>
                    <a:gd name="connsiteX43" fmla="*/ 31125 w 858007"/>
                    <a:gd name="connsiteY43" fmla="*/ 410309 h 1062620"/>
                    <a:gd name="connsiteX44" fmla="*/ 42669 w 858007"/>
                    <a:gd name="connsiteY44" fmla="*/ 385363 h 1062620"/>
                    <a:gd name="connsiteX45" fmla="*/ 157600 w 858007"/>
                    <a:gd name="connsiteY45" fmla="*/ 253737 h 1062620"/>
                    <a:gd name="connsiteX46" fmla="*/ 195664 w 858007"/>
                    <a:gd name="connsiteY46" fmla="*/ 231079 h 1062620"/>
                    <a:gd name="connsiteX47" fmla="*/ 200676 w 858007"/>
                    <a:gd name="connsiteY47" fmla="*/ 230646 h 1062620"/>
                    <a:gd name="connsiteX48" fmla="*/ 201852 w 858007"/>
                    <a:gd name="connsiteY48" fmla="*/ 229470 h 1062620"/>
                    <a:gd name="connsiteX49" fmla="*/ 214286 w 858007"/>
                    <a:gd name="connsiteY49" fmla="*/ 229470 h 1062620"/>
                    <a:gd name="connsiteX50" fmla="*/ 214705 w 858007"/>
                    <a:gd name="connsiteY50" fmla="*/ 229434 h 1062620"/>
                    <a:gd name="connsiteX51" fmla="*/ 267392 w 858007"/>
                    <a:gd name="connsiteY51" fmla="*/ 0 h 1062620"/>
                    <a:gd name="connsiteX52" fmla="*/ 372505 w 858007"/>
                    <a:gd name="connsiteY52" fmla="*/ 105113 h 1062620"/>
                    <a:gd name="connsiteX53" fmla="*/ 267392 w 858007"/>
                    <a:gd name="connsiteY53" fmla="*/ 210226 h 1062620"/>
                    <a:gd name="connsiteX54" fmla="*/ 162279 w 858007"/>
                    <a:gd name="connsiteY54" fmla="*/ 105113 h 1062620"/>
                    <a:gd name="connsiteX55" fmla="*/ 267392 w 858007"/>
                    <a:gd name="connsiteY55" fmla="*/ 0 h 1062620"/>
                    <a:gd name="connsiteX0" fmla="*/ 214705 w 858007"/>
                    <a:gd name="connsiteY0" fmla="*/ 229434 h 1062620"/>
                    <a:gd name="connsiteX1" fmla="*/ 214820 w 858007"/>
                    <a:gd name="connsiteY1" fmla="*/ 229470 h 1062620"/>
                    <a:gd name="connsiteX2" fmla="*/ 325096 w 858007"/>
                    <a:gd name="connsiteY2" fmla="*/ 229470 h 1062620"/>
                    <a:gd name="connsiteX3" fmla="*/ 325211 w 858007"/>
                    <a:gd name="connsiteY3" fmla="*/ 229434 h 1062620"/>
                    <a:gd name="connsiteX4" fmla="*/ 325630 w 858007"/>
                    <a:gd name="connsiteY4" fmla="*/ 229470 h 1062620"/>
                    <a:gd name="connsiteX5" fmla="*/ 328490 w 858007"/>
                    <a:gd name="connsiteY5" fmla="*/ 229470 h 1062620"/>
                    <a:gd name="connsiteX6" fmla="*/ 328761 w 858007"/>
                    <a:gd name="connsiteY6" fmla="*/ 229741 h 1062620"/>
                    <a:gd name="connsiteX7" fmla="*/ 344252 w 858007"/>
                    <a:gd name="connsiteY7" fmla="*/ 231079 h 1062620"/>
                    <a:gd name="connsiteX8" fmla="*/ 371240 w 858007"/>
                    <a:gd name="connsiteY8" fmla="*/ 242218 h 1062620"/>
                    <a:gd name="connsiteX9" fmla="*/ 509248 w 858007"/>
                    <a:gd name="connsiteY9" fmla="*/ 324945 h 1062620"/>
                    <a:gd name="connsiteX10" fmla="*/ 648984 w 858007"/>
                    <a:gd name="connsiteY10" fmla="*/ 275236 h 1062620"/>
                    <a:gd name="connsiteX11" fmla="*/ 690006 w 858007"/>
                    <a:gd name="connsiteY11" fmla="*/ 293832 h 1062620"/>
                    <a:gd name="connsiteX12" fmla="*/ 849864 w 858007"/>
                    <a:gd name="connsiteY12" fmla="*/ 236966 h 1062620"/>
                    <a:gd name="connsiteX13" fmla="*/ 856843 w 858007"/>
                    <a:gd name="connsiteY13" fmla="*/ 240283 h 1062620"/>
                    <a:gd name="connsiteX14" fmla="*/ 857690 w 858007"/>
                    <a:gd name="connsiteY14" fmla="*/ 242663 h 1062620"/>
                    <a:gd name="connsiteX15" fmla="*/ 854373 w 858007"/>
                    <a:gd name="connsiteY15" fmla="*/ 249642 h 1062620"/>
                    <a:gd name="connsiteX16" fmla="*/ 695280 w 858007"/>
                    <a:gd name="connsiteY16" fmla="*/ 306236 h 1062620"/>
                    <a:gd name="connsiteX17" fmla="*/ 696578 w 858007"/>
                    <a:gd name="connsiteY17" fmla="*/ 309883 h 1062620"/>
                    <a:gd name="connsiteX18" fmla="*/ 676408 w 858007"/>
                    <a:gd name="connsiteY18" fmla="*/ 352327 h 1062620"/>
                    <a:gd name="connsiteX19" fmla="*/ 505097 w 858007"/>
                    <a:gd name="connsiteY19" fmla="*/ 413267 h 1062620"/>
                    <a:gd name="connsiteX20" fmla="*/ 503314 w 858007"/>
                    <a:gd name="connsiteY20" fmla="*/ 413176 h 1062620"/>
                    <a:gd name="connsiteX21" fmla="*/ 494980 w 858007"/>
                    <a:gd name="connsiteY21" fmla="*/ 412751 h 1062620"/>
                    <a:gd name="connsiteX22" fmla="*/ 478145 w 858007"/>
                    <a:gd name="connsiteY22" fmla="*/ 410253 h 1062620"/>
                    <a:gd name="connsiteX23" fmla="*/ 474563 w 858007"/>
                    <a:gd name="connsiteY23" fmla="*/ 409722 h 1062620"/>
                    <a:gd name="connsiteX24" fmla="*/ 375434 w 858007"/>
                    <a:gd name="connsiteY24" fmla="*/ 350301 h 1062620"/>
                    <a:gd name="connsiteX25" fmla="*/ 354888 w 858007"/>
                    <a:gd name="connsiteY25" fmla="*/ 634662 h 1062620"/>
                    <a:gd name="connsiteX26" fmla="*/ 404734 w 858007"/>
                    <a:gd name="connsiteY26" fmla="*/ 1014005 h 1062620"/>
                    <a:gd name="connsiteX27" fmla="*/ 368682 w 858007"/>
                    <a:gd name="connsiteY27" fmla="*/ 1060014 h 1062620"/>
                    <a:gd name="connsiteX28" fmla="*/ 349710 w 858007"/>
                    <a:gd name="connsiteY28" fmla="*/ 1062316 h 1062620"/>
                    <a:gd name="connsiteX29" fmla="*/ 303701 w 858007"/>
                    <a:gd name="connsiteY29" fmla="*/ 1026264 h 1062620"/>
                    <a:gd name="connsiteX30" fmla="*/ 265452 w 858007"/>
                    <a:gd name="connsiteY30" fmla="*/ 711028 h 1062620"/>
                    <a:gd name="connsiteX31" fmla="*/ 261751 w 858007"/>
                    <a:gd name="connsiteY31" fmla="*/ 711028 h 1062620"/>
                    <a:gd name="connsiteX32" fmla="*/ 223502 w 858007"/>
                    <a:gd name="connsiteY32" fmla="*/ 1026264 h 1062620"/>
                    <a:gd name="connsiteX33" fmla="*/ 177493 w 858007"/>
                    <a:gd name="connsiteY33" fmla="*/ 1062316 h 1062620"/>
                    <a:gd name="connsiteX34" fmla="*/ 158521 w 858007"/>
                    <a:gd name="connsiteY34" fmla="*/ 1060014 h 1062620"/>
                    <a:gd name="connsiteX35" fmla="*/ 122469 w 858007"/>
                    <a:gd name="connsiteY35" fmla="*/ 1014005 h 1062620"/>
                    <a:gd name="connsiteX36" fmla="*/ 175229 w 858007"/>
                    <a:gd name="connsiteY36" fmla="*/ 630407 h 1062620"/>
                    <a:gd name="connsiteX37" fmla="*/ 167094 w 858007"/>
                    <a:gd name="connsiteY37" fmla="*/ 380532 h 1062620"/>
                    <a:gd name="connsiteX38" fmla="*/ 118492 w 858007"/>
                    <a:gd name="connsiteY38" fmla="*/ 436195 h 1062620"/>
                    <a:gd name="connsiteX39" fmla="*/ 89724 w 858007"/>
                    <a:gd name="connsiteY39" fmla="*/ 598190 h 1062620"/>
                    <a:gd name="connsiteX40" fmla="*/ 47088 w 858007"/>
                    <a:gd name="connsiteY40" fmla="*/ 627966 h 1062620"/>
                    <a:gd name="connsiteX41" fmla="*/ 30347 w 858007"/>
                    <a:gd name="connsiteY41" fmla="*/ 624993 h 1062620"/>
                    <a:gd name="connsiteX42" fmla="*/ 572 w 858007"/>
                    <a:gd name="connsiteY42" fmla="*/ 582358 h 1062620"/>
                    <a:gd name="connsiteX43" fmla="*/ 31125 w 858007"/>
                    <a:gd name="connsiteY43" fmla="*/ 410309 h 1062620"/>
                    <a:gd name="connsiteX44" fmla="*/ 42669 w 858007"/>
                    <a:gd name="connsiteY44" fmla="*/ 385363 h 1062620"/>
                    <a:gd name="connsiteX45" fmla="*/ 157600 w 858007"/>
                    <a:gd name="connsiteY45" fmla="*/ 253737 h 1062620"/>
                    <a:gd name="connsiteX46" fmla="*/ 195664 w 858007"/>
                    <a:gd name="connsiteY46" fmla="*/ 231079 h 1062620"/>
                    <a:gd name="connsiteX47" fmla="*/ 200676 w 858007"/>
                    <a:gd name="connsiteY47" fmla="*/ 230646 h 1062620"/>
                    <a:gd name="connsiteX48" fmla="*/ 201852 w 858007"/>
                    <a:gd name="connsiteY48" fmla="*/ 229470 h 1062620"/>
                    <a:gd name="connsiteX49" fmla="*/ 214286 w 858007"/>
                    <a:gd name="connsiteY49" fmla="*/ 229470 h 1062620"/>
                    <a:gd name="connsiteX50" fmla="*/ 214705 w 858007"/>
                    <a:gd name="connsiteY50" fmla="*/ 229434 h 1062620"/>
                    <a:gd name="connsiteX51" fmla="*/ 267392 w 858007"/>
                    <a:gd name="connsiteY51" fmla="*/ 0 h 1062620"/>
                    <a:gd name="connsiteX52" fmla="*/ 372505 w 858007"/>
                    <a:gd name="connsiteY52" fmla="*/ 105113 h 1062620"/>
                    <a:gd name="connsiteX53" fmla="*/ 267392 w 858007"/>
                    <a:gd name="connsiteY53" fmla="*/ 210226 h 1062620"/>
                    <a:gd name="connsiteX54" fmla="*/ 162279 w 858007"/>
                    <a:gd name="connsiteY54" fmla="*/ 105113 h 1062620"/>
                    <a:gd name="connsiteX55" fmla="*/ 267392 w 858007"/>
                    <a:gd name="connsiteY55" fmla="*/ 0 h 1062620"/>
                    <a:gd name="connsiteX0" fmla="*/ 214705 w 858007"/>
                    <a:gd name="connsiteY0" fmla="*/ 229434 h 1062620"/>
                    <a:gd name="connsiteX1" fmla="*/ 214820 w 858007"/>
                    <a:gd name="connsiteY1" fmla="*/ 229470 h 1062620"/>
                    <a:gd name="connsiteX2" fmla="*/ 325096 w 858007"/>
                    <a:gd name="connsiteY2" fmla="*/ 229470 h 1062620"/>
                    <a:gd name="connsiteX3" fmla="*/ 325211 w 858007"/>
                    <a:gd name="connsiteY3" fmla="*/ 229434 h 1062620"/>
                    <a:gd name="connsiteX4" fmla="*/ 325630 w 858007"/>
                    <a:gd name="connsiteY4" fmla="*/ 229470 h 1062620"/>
                    <a:gd name="connsiteX5" fmla="*/ 328490 w 858007"/>
                    <a:gd name="connsiteY5" fmla="*/ 229470 h 1062620"/>
                    <a:gd name="connsiteX6" fmla="*/ 328761 w 858007"/>
                    <a:gd name="connsiteY6" fmla="*/ 229741 h 1062620"/>
                    <a:gd name="connsiteX7" fmla="*/ 344252 w 858007"/>
                    <a:gd name="connsiteY7" fmla="*/ 231079 h 1062620"/>
                    <a:gd name="connsiteX8" fmla="*/ 371240 w 858007"/>
                    <a:gd name="connsiteY8" fmla="*/ 242218 h 1062620"/>
                    <a:gd name="connsiteX9" fmla="*/ 509248 w 858007"/>
                    <a:gd name="connsiteY9" fmla="*/ 324945 h 1062620"/>
                    <a:gd name="connsiteX10" fmla="*/ 648984 w 858007"/>
                    <a:gd name="connsiteY10" fmla="*/ 275236 h 1062620"/>
                    <a:gd name="connsiteX11" fmla="*/ 690006 w 858007"/>
                    <a:gd name="connsiteY11" fmla="*/ 293832 h 1062620"/>
                    <a:gd name="connsiteX12" fmla="*/ 849864 w 858007"/>
                    <a:gd name="connsiteY12" fmla="*/ 236966 h 1062620"/>
                    <a:gd name="connsiteX13" fmla="*/ 856843 w 858007"/>
                    <a:gd name="connsiteY13" fmla="*/ 240283 h 1062620"/>
                    <a:gd name="connsiteX14" fmla="*/ 857690 w 858007"/>
                    <a:gd name="connsiteY14" fmla="*/ 242663 h 1062620"/>
                    <a:gd name="connsiteX15" fmla="*/ 854373 w 858007"/>
                    <a:gd name="connsiteY15" fmla="*/ 249642 h 1062620"/>
                    <a:gd name="connsiteX16" fmla="*/ 695280 w 858007"/>
                    <a:gd name="connsiteY16" fmla="*/ 306236 h 1062620"/>
                    <a:gd name="connsiteX17" fmla="*/ 696578 w 858007"/>
                    <a:gd name="connsiteY17" fmla="*/ 309883 h 1062620"/>
                    <a:gd name="connsiteX18" fmla="*/ 676408 w 858007"/>
                    <a:gd name="connsiteY18" fmla="*/ 352327 h 1062620"/>
                    <a:gd name="connsiteX19" fmla="*/ 505097 w 858007"/>
                    <a:gd name="connsiteY19" fmla="*/ 413267 h 1062620"/>
                    <a:gd name="connsiteX20" fmla="*/ 503314 w 858007"/>
                    <a:gd name="connsiteY20" fmla="*/ 413176 h 1062620"/>
                    <a:gd name="connsiteX21" fmla="*/ 494980 w 858007"/>
                    <a:gd name="connsiteY21" fmla="*/ 412751 h 1062620"/>
                    <a:gd name="connsiteX22" fmla="*/ 478145 w 858007"/>
                    <a:gd name="connsiteY22" fmla="*/ 410253 h 1062620"/>
                    <a:gd name="connsiteX23" fmla="*/ 474563 w 858007"/>
                    <a:gd name="connsiteY23" fmla="*/ 409722 h 1062620"/>
                    <a:gd name="connsiteX24" fmla="*/ 375434 w 858007"/>
                    <a:gd name="connsiteY24" fmla="*/ 350301 h 1062620"/>
                    <a:gd name="connsiteX25" fmla="*/ 364867 w 858007"/>
                    <a:gd name="connsiteY25" fmla="*/ 629674 h 1062620"/>
                    <a:gd name="connsiteX26" fmla="*/ 404734 w 858007"/>
                    <a:gd name="connsiteY26" fmla="*/ 1014005 h 1062620"/>
                    <a:gd name="connsiteX27" fmla="*/ 368682 w 858007"/>
                    <a:gd name="connsiteY27" fmla="*/ 1060014 h 1062620"/>
                    <a:gd name="connsiteX28" fmla="*/ 349710 w 858007"/>
                    <a:gd name="connsiteY28" fmla="*/ 1062316 h 1062620"/>
                    <a:gd name="connsiteX29" fmla="*/ 303701 w 858007"/>
                    <a:gd name="connsiteY29" fmla="*/ 1026264 h 1062620"/>
                    <a:gd name="connsiteX30" fmla="*/ 265452 w 858007"/>
                    <a:gd name="connsiteY30" fmla="*/ 711028 h 1062620"/>
                    <a:gd name="connsiteX31" fmla="*/ 261751 w 858007"/>
                    <a:gd name="connsiteY31" fmla="*/ 711028 h 1062620"/>
                    <a:gd name="connsiteX32" fmla="*/ 223502 w 858007"/>
                    <a:gd name="connsiteY32" fmla="*/ 1026264 h 1062620"/>
                    <a:gd name="connsiteX33" fmla="*/ 177493 w 858007"/>
                    <a:gd name="connsiteY33" fmla="*/ 1062316 h 1062620"/>
                    <a:gd name="connsiteX34" fmla="*/ 158521 w 858007"/>
                    <a:gd name="connsiteY34" fmla="*/ 1060014 h 1062620"/>
                    <a:gd name="connsiteX35" fmla="*/ 122469 w 858007"/>
                    <a:gd name="connsiteY35" fmla="*/ 1014005 h 1062620"/>
                    <a:gd name="connsiteX36" fmla="*/ 175229 w 858007"/>
                    <a:gd name="connsiteY36" fmla="*/ 630407 h 1062620"/>
                    <a:gd name="connsiteX37" fmla="*/ 167094 w 858007"/>
                    <a:gd name="connsiteY37" fmla="*/ 380532 h 1062620"/>
                    <a:gd name="connsiteX38" fmla="*/ 118492 w 858007"/>
                    <a:gd name="connsiteY38" fmla="*/ 436195 h 1062620"/>
                    <a:gd name="connsiteX39" fmla="*/ 89724 w 858007"/>
                    <a:gd name="connsiteY39" fmla="*/ 598190 h 1062620"/>
                    <a:gd name="connsiteX40" fmla="*/ 47088 w 858007"/>
                    <a:gd name="connsiteY40" fmla="*/ 627966 h 1062620"/>
                    <a:gd name="connsiteX41" fmla="*/ 30347 w 858007"/>
                    <a:gd name="connsiteY41" fmla="*/ 624993 h 1062620"/>
                    <a:gd name="connsiteX42" fmla="*/ 572 w 858007"/>
                    <a:gd name="connsiteY42" fmla="*/ 582358 h 1062620"/>
                    <a:gd name="connsiteX43" fmla="*/ 31125 w 858007"/>
                    <a:gd name="connsiteY43" fmla="*/ 410309 h 1062620"/>
                    <a:gd name="connsiteX44" fmla="*/ 42669 w 858007"/>
                    <a:gd name="connsiteY44" fmla="*/ 385363 h 1062620"/>
                    <a:gd name="connsiteX45" fmla="*/ 157600 w 858007"/>
                    <a:gd name="connsiteY45" fmla="*/ 253737 h 1062620"/>
                    <a:gd name="connsiteX46" fmla="*/ 195664 w 858007"/>
                    <a:gd name="connsiteY46" fmla="*/ 231079 h 1062620"/>
                    <a:gd name="connsiteX47" fmla="*/ 200676 w 858007"/>
                    <a:gd name="connsiteY47" fmla="*/ 230646 h 1062620"/>
                    <a:gd name="connsiteX48" fmla="*/ 201852 w 858007"/>
                    <a:gd name="connsiteY48" fmla="*/ 229470 h 1062620"/>
                    <a:gd name="connsiteX49" fmla="*/ 214286 w 858007"/>
                    <a:gd name="connsiteY49" fmla="*/ 229470 h 1062620"/>
                    <a:gd name="connsiteX50" fmla="*/ 214705 w 858007"/>
                    <a:gd name="connsiteY50" fmla="*/ 229434 h 1062620"/>
                    <a:gd name="connsiteX51" fmla="*/ 267392 w 858007"/>
                    <a:gd name="connsiteY51" fmla="*/ 0 h 1062620"/>
                    <a:gd name="connsiteX52" fmla="*/ 372505 w 858007"/>
                    <a:gd name="connsiteY52" fmla="*/ 105113 h 1062620"/>
                    <a:gd name="connsiteX53" fmla="*/ 267392 w 858007"/>
                    <a:gd name="connsiteY53" fmla="*/ 210226 h 1062620"/>
                    <a:gd name="connsiteX54" fmla="*/ 162279 w 858007"/>
                    <a:gd name="connsiteY54" fmla="*/ 105113 h 1062620"/>
                    <a:gd name="connsiteX55" fmla="*/ 267392 w 858007"/>
                    <a:gd name="connsiteY55" fmla="*/ 0 h 106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58007" h="1062620">
                      <a:moveTo>
                        <a:pt x="214705" y="229434"/>
                      </a:moveTo>
                      <a:lnTo>
                        <a:pt x="214820" y="229470"/>
                      </a:lnTo>
                      <a:lnTo>
                        <a:pt x="325096" y="229470"/>
                      </a:lnTo>
                      <a:cubicBezTo>
                        <a:pt x="325137" y="229428"/>
                        <a:pt x="325174" y="229431"/>
                        <a:pt x="325211" y="229434"/>
                      </a:cubicBezTo>
                      <a:lnTo>
                        <a:pt x="325630" y="229470"/>
                      </a:lnTo>
                      <a:lnTo>
                        <a:pt x="328490" y="229470"/>
                      </a:lnTo>
                      <a:lnTo>
                        <a:pt x="328761" y="229741"/>
                      </a:lnTo>
                      <a:lnTo>
                        <a:pt x="344252" y="231079"/>
                      </a:lnTo>
                      <a:lnTo>
                        <a:pt x="371240" y="242218"/>
                      </a:lnTo>
                      <a:lnTo>
                        <a:pt x="509248" y="324945"/>
                      </a:lnTo>
                      <a:lnTo>
                        <a:pt x="648984" y="275236"/>
                      </a:lnTo>
                      <a:cubicBezTo>
                        <a:pt x="665641" y="269311"/>
                        <a:pt x="683886" y="277474"/>
                        <a:pt x="690006" y="293832"/>
                      </a:cubicBezTo>
                      <a:lnTo>
                        <a:pt x="849864" y="236966"/>
                      </a:lnTo>
                      <a:cubicBezTo>
                        <a:pt x="852707" y="235954"/>
                        <a:pt x="855832" y="237439"/>
                        <a:pt x="856843" y="240283"/>
                      </a:cubicBezTo>
                      <a:lnTo>
                        <a:pt x="857690" y="242663"/>
                      </a:lnTo>
                      <a:cubicBezTo>
                        <a:pt x="858701" y="245506"/>
                        <a:pt x="857217" y="248630"/>
                        <a:pt x="854373" y="249642"/>
                      </a:cubicBezTo>
                      <a:lnTo>
                        <a:pt x="695280" y="306236"/>
                      </a:lnTo>
                      <a:lnTo>
                        <a:pt x="696578" y="309883"/>
                      </a:lnTo>
                      <a:cubicBezTo>
                        <a:pt x="702729" y="327173"/>
                        <a:pt x="693698" y="346176"/>
                        <a:pt x="676408" y="352327"/>
                      </a:cubicBezTo>
                      <a:lnTo>
                        <a:pt x="505097" y="413267"/>
                      </a:lnTo>
                      <a:lnTo>
                        <a:pt x="503314" y="413176"/>
                      </a:lnTo>
                      <a:cubicBezTo>
                        <a:pt x="500711" y="414344"/>
                        <a:pt x="497908" y="414797"/>
                        <a:pt x="494980" y="412751"/>
                      </a:cubicBezTo>
                      <a:cubicBezTo>
                        <a:pt x="488946" y="415384"/>
                        <a:pt x="482965" y="413879"/>
                        <a:pt x="478145" y="410253"/>
                      </a:cubicBezTo>
                      <a:cubicBezTo>
                        <a:pt x="476582" y="410869"/>
                        <a:pt x="475564" y="410322"/>
                        <a:pt x="474563" y="409722"/>
                      </a:cubicBezTo>
                      <a:lnTo>
                        <a:pt x="375434" y="350301"/>
                      </a:lnTo>
                      <a:lnTo>
                        <a:pt x="364867" y="629674"/>
                      </a:lnTo>
                      <a:cubicBezTo>
                        <a:pt x="369750" y="740291"/>
                        <a:pt x="402038" y="939938"/>
                        <a:pt x="404734" y="1014005"/>
                      </a:cubicBezTo>
                      <a:cubicBezTo>
                        <a:pt x="407484" y="1036665"/>
                        <a:pt x="391342" y="1057264"/>
                        <a:pt x="368682" y="1060014"/>
                      </a:cubicBezTo>
                      <a:lnTo>
                        <a:pt x="349710" y="1062316"/>
                      </a:lnTo>
                      <a:cubicBezTo>
                        <a:pt x="327050" y="1065065"/>
                        <a:pt x="306451" y="1048924"/>
                        <a:pt x="303701" y="1026264"/>
                      </a:cubicBezTo>
                      <a:lnTo>
                        <a:pt x="265452" y="711028"/>
                      </a:lnTo>
                      <a:lnTo>
                        <a:pt x="261751" y="711028"/>
                      </a:lnTo>
                      <a:lnTo>
                        <a:pt x="223502" y="1026264"/>
                      </a:lnTo>
                      <a:cubicBezTo>
                        <a:pt x="220752" y="1048924"/>
                        <a:pt x="200153" y="1065065"/>
                        <a:pt x="177493" y="1062316"/>
                      </a:cubicBezTo>
                      <a:lnTo>
                        <a:pt x="158521" y="1060014"/>
                      </a:lnTo>
                      <a:cubicBezTo>
                        <a:pt x="135861" y="1057264"/>
                        <a:pt x="119719" y="1036665"/>
                        <a:pt x="122469" y="1014005"/>
                      </a:cubicBezTo>
                      <a:lnTo>
                        <a:pt x="175229" y="630407"/>
                      </a:lnTo>
                      <a:cubicBezTo>
                        <a:pt x="170761" y="562928"/>
                        <a:pt x="174604" y="420404"/>
                        <a:pt x="167094" y="380532"/>
                      </a:cubicBezTo>
                      <a:lnTo>
                        <a:pt x="118492" y="436195"/>
                      </a:lnTo>
                      <a:lnTo>
                        <a:pt x="89724" y="598190"/>
                      </a:lnTo>
                      <a:cubicBezTo>
                        <a:pt x="86173" y="618187"/>
                        <a:pt x="67085" y="631517"/>
                        <a:pt x="47088" y="627966"/>
                      </a:cubicBezTo>
                      <a:lnTo>
                        <a:pt x="30347" y="624993"/>
                      </a:lnTo>
                      <a:cubicBezTo>
                        <a:pt x="10351" y="621442"/>
                        <a:pt x="-2980" y="602354"/>
                        <a:pt x="572" y="582358"/>
                      </a:cubicBezTo>
                      <a:lnTo>
                        <a:pt x="31125" y="410309"/>
                      </a:lnTo>
                      <a:lnTo>
                        <a:pt x="42669" y="385363"/>
                      </a:lnTo>
                      <a:lnTo>
                        <a:pt x="157600" y="253737"/>
                      </a:lnTo>
                      <a:lnTo>
                        <a:pt x="195664" y="231079"/>
                      </a:lnTo>
                      <a:lnTo>
                        <a:pt x="200676" y="230646"/>
                      </a:lnTo>
                      <a:cubicBezTo>
                        <a:pt x="200856" y="229543"/>
                        <a:pt x="201345" y="229470"/>
                        <a:pt x="201852" y="229470"/>
                      </a:cubicBezTo>
                      <a:lnTo>
                        <a:pt x="214286" y="229470"/>
                      </a:lnTo>
                      <a:lnTo>
                        <a:pt x="214705" y="229434"/>
                      </a:lnTo>
                      <a:close/>
                      <a:moveTo>
                        <a:pt x="267392" y="0"/>
                      </a:moveTo>
                      <a:cubicBezTo>
                        <a:pt x="325444" y="0"/>
                        <a:pt x="372505" y="47061"/>
                        <a:pt x="372505" y="105113"/>
                      </a:cubicBezTo>
                      <a:cubicBezTo>
                        <a:pt x="372505" y="163165"/>
                        <a:pt x="325444" y="210226"/>
                        <a:pt x="267392" y="210226"/>
                      </a:cubicBezTo>
                      <a:cubicBezTo>
                        <a:pt x="209340" y="210226"/>
                        <a:pt x="162279" y="163165"/>
                        <a:pt x="162279" y="105113"/>
                      </a:cubicBezTo>
                      <a:cubicBezTo>
                        <a:pt x="162279" y="47061"/>
                        <a:pt x="209340" y="0"/>
                        <a:pt x="267392" y="0"/>
                      </a:cubicBezTo>
                      <a:close/>
                    </a:path>
                  </a:pathLst>
                </a:custGeom>
                <a:grpFill/>
                <a:ln w="9525" cap="flat" cmpd="sng" algn="ctr">
                  <a:noFill/>
                  <a:prstDash val="solid"/>
                </a:ln>
                <a:effectLst/>
              </p:spPr>
              <p:txBody>
                <a:bodyPr rtlCol="0" anchor="ctr"/>
                <a:lstStyle/>
                <a:p>
                  <a:pPr marL="0" marR="0" lvl="0" indent="0" algn="ctr" defTabSz="457200" eaLnBrk="0" fontAlgn="base" latinLnBrk="0" hangingPunct="0">
                    <a:lnSpc>
                      <a:spcPct val="100000"/>
                    </a:lnSpc>
                    <a:spcBef>
                      <a:spcPct val="0"/>
                    </a:spcBef>
                    <a:spcAft>
                      <a:spcPct val="0"/>
                    </a:spcAft>
                    <a:buClrTx/>
                    <a:buSzTx/>
                    <a:buFontTx/>
                    <a:buNone/>
                    <a:tabLst/>
                    <a:defRPr/>
                  </a:pPr>
                  <a:endParaRPr kumimoji="0" lang="de-DE" sz="1800" b="0" i="0" u="none" strike="noStrike" kern="0" cap="none" spc="0" normalizeH="0" baseline="0" noProof="0" dirty="0" err="1">
                    <a:ln>
                      <a:noFill/>
                    </a:ln>
                    <a:solidFill>
                      <a:prstClr val="black"/>
                    </a:solidFill>
                    <a:effectLst/>
                    <a:uLnTx/>
                    <a:uFillTx/>
                    <a:latin typeface="Calibri"/>
                    <a:ea typeface="+mn-ea"/>
                    <a:cs typeface="Arial" panose="020B0604020202020204" pitchFamily="34" charset="0"/>
                  </a:endParaRPr>
                </a:p>
              </p:txBody>
            </p:sp>
          </p:grpSp>
          <p:grpSp>
            <p:nvGrpSpPr>
              <p:cNvPr id="129" name="Group 128">
                <a:extLst>
                  <a:ext uri="{FF2B5EF4-FFF2-40B4-BE49-F238E27FC236}">
                    <a16:creationId xmlns:a16="http://schemas.microsoft.com/office/drawing/2014/main" xmlns="" id="{02A7CE58-5872-430B-BA7B-24ACCC1EE19D}"/>
                  </a:ext>
                </a:extLst>
              </p:cNvPr>
              <p:cNvGrpSpPr/>
              <p:nvPr/>
            </p:nvGrpSpPr>
            <p:grpSpPr>
              <a:xfrm>
                <a:off x="3845012" y="5152933"/>
                <a:ext cx="410348" cy="160792"/>
                <a:chOff x="1805303" y="4282821"/>
                <a:chExt cx="1124427" cy="440600"/>
              </a:xfrm>
              <a:solidFill>
                <a:srgbClr val="D0247B"/>
              </a:solidFill>
            </p:grpSpPr>
            <p:sp>
              <p:nvSpPr>
                <p:cNvPr id="139" name="Trapezoid 372">
                  <a:extLst>
                    <a:ext uri="{FF2B5EF4-FFF2-40B4-BE49-F238E27FC236}">
                      <a16:creationId xmlns:a16="http://schemas.microsoft.com/office/drawing/2014/main" xmlns="" id="{5C78F2F7-B661-4DCB-88BD-7FF90B17A135}"/>
                    </a:ext>
                  </a:extLst>
                </p:cNvPr>
                <p:cNvSpPr/>
                <p:nvPr/>
              </p:nvSpPr>
              <p:spPr>
                <a:xfrm rot="13588542">
                  <a:off x="2289240" y="3939616"/>
                  <a:ext cx="177641" cy="1103339"/>
                </a:xfrm>
                <a:custGeom>
                  <a:avLst/>
                  <a:gdLst/>
                  <a:ahLst/>
                  <a:cxnLst/>
                  <a:rect l="l" t="t" r="r" b="b"/>
                  <a:pathLst>
                    <a:path w="177641" h="1103339">
                      <a:moveTo>
                        <a:pt x="72668" y="657336"/>
                      </a:moveTo>
                      <a:lnTo>
                        <a:pt x="42415" y="657336"/>
                      </a:lnTo>
                      <a:lnTo>
                        <a:pt x="42415" y="957087"/>
                      </a:lnTo>
                      <a:lnTo>
                        <a:pt x="72668" y="957087"/>
                      </a:lnTo>
                      <a:close/>
                      <a:moveTo>
                        <a:pt x="135225" y="657336"/>
                      </a:moveTo>
                      <a:lnTo>
                        <a:pt x="104972" y="657336"/>
                      </a:lnTo>
                      <a:lnTo>
                        <a:pt x="104972" y="957087"/>
                      </a:lnTo>
                      <a:lnTo>
                        <a:pt x="135225" y="957087"/>
                      </a:lnTo>
                      <a:close/>
                      <a:moveTo>
                        <a:pt x="177641" y="218369"/>
                      </a:moveTo>
                      <a:lnTo>
                        <a:pt x="176239" y="219771"/>
                      </a:lnTo>
                      <a:lnTo>
                        <a:pt x="176414" y="220721"/>
                      </a:lnTo>
                      <a:lnTo>
                        <a:pt x="175288" y="220721"/>
                      </a:lnTo>
                      <a:lnTo>
                        <a:pt x="132913" y="263097"/>
                      </a:lnTo>
                      <a:lnTo>
                        <a:pt x="136251" y="263097"/>
                      </a:lnTo>
                      <a:lnTo>
                        <a:pt x="136251" y="608163"/>
                      </a:lnTo>
                      <a:lnTo>
                        <a:pt x="177641" y="608163"/>
                      </a:lnTo>
                      <a:lnTo>
                        <a:pt x="177641" y="1014519"/>
                      </a:lnTo>
                      <a:lnTo>
                        <a:pt x="177641" y="1014520"/>
                      </a:lnTo>
                      <a:cubicBezTo>
                        <a:pt x="177641" y="1063574"/>
                        <a:pt x="137875" y="1103339"/>
                        <a:pt x="88821" y="1103339"/>
                      </a:cubicBezTo>
                      <a:cubicBezTo>
                        <a:pt x="39767" y="1103339"/>
                        <a:pt x="1" y="1063574"/>
                        <a:pt x="1" y="1014520"/>
                      </a:cubicBezTo>
                      <a:lnTo>
                        <a:pt x="1" y="1014519"/>
                      </a:lnTo>
                      <a:lnTo>
                        <a:pt x="1" y="608163"/>
                      </a:lnTo>
                      <a:lnTo>
                        <a:pt x="41390" y="608163"/>
                      </a:lnTo>
                      <a:lnTo>
                        <a:pt x="41390" y="263097"/>
                      </a:lnTo>
                      <a:lnTo>
                        <a:pt x="44728" y="263097"/>
                      </a:lnTo>
                      <a:lnTo>
                        <a:pt x="2353" y="220721"/>
                      </a:lnTo>
                      <a:lnTo>
                        <a:pt x="1225" y="220721"/>
                      </a:lnTo>
                      <a:lnTo>
                        <a:pt x="1400" y="219769"/>
                      </a:lnTo>
                      <a:lnTo>
                        <a:pt x="0" y="218369"/>
                      </a:lnTo>
                      <a:lnTo>
                        <a:pt x="1658" y="218369"/>
                      </a:lnTo>
                      <a:lnTo>
                        <a:pt x="41825" y="0"/>
                      </a:lnTo>
                      <a:lnTo>
                        <a:pt x="135814" y="0"/>
                      </a:lnTo>
                      <a:lnTo>
                        <a:pt x="175981" y="218369"/>
                      </a:lnTo>
                      <a:close/>
                    </a:path>
                  </a:pathLst>
                </a:custGeom>
                <a:grpFill/>
                <a:ln w="9525" cap="flat" cmpd="sng" algn="ctr">
                  <a:noFill/>
                  <a:prstDash val="solid"/>
                </a:ln>
                <a:effectLst/>
              </p:spPr>
              <p:txBody>
                <a:bodyPr rtlCol="0" anchor="ctr"/>
                <a:lstStyle/>
                <a:p>
                  <a:pPr marL="0" marR="0" lvl="0" indent="0" algn="ctr" defTabSz="45720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Arial" panose="020B0604020202020204" pitchFamily="34" charset="0"/>
                  </a:endParaRPr>
                </a:p>
              </p:txBody>
            </p:sp>
            <p:sp>
              <p:nvSpPr>
                <p:cNvPr id="140" name="Oval 379">
                  <a:extLst>
                    <a:ext uri="{FF2B5EF4-FFF2-40B4-BE49-F238E27FC236}">
                      <a16:creationId xmlns:a16="http://schemas.microsoft.com/office/drawing/2014/main" xmlns="" id="{30DFB360-3749-46C0-ADAB-8721BF133964}"/>
                    </a:ext>
                  </a:extLst>
                </p:cNvPr>
                <p:cNvSpPr/>
                <p:nvPr/>
              </p:nvSpPr>
              <p:spPr>
                <a:xfrm rot="2257669">
                  <a:off x="1805303" y="4282821"/>
                  <a:ext cx="1069312" cy="440600"/>
                </a:xfrm>
                <a:custGeom>
                  <a:avLst/>
                  <a:gdLst/>
                  <a:ahLst/>
                  <a:cxnLst/>
                  <a:rect l="l" t="t" r="r" b="b"/>
                  <a:pathLst>
                    <a:path w="1069312" h="440600">
                      <a:moveTo>
                        <a:pt x="919963" y="151577"/>
                      </a:moveTo>
                      <a:cubicBezTo>
                        <a:pt x="882008" y="151577"/>
                        <a:pt x="851239" y="182346"/>
                        <a:pt x="851239" y="220301"/>
                      </a:cubicBezTo>
                      <a:cubicBezTo>
                        <a:pt x="851239" y="258256"/>
                        <a:pt x="882008" y="289025"/>
                        <a:pt x="919963" y="289025"/>
                      </a:cubicBezTo>
                      <a:cubicBezTo>
                        <a:pt x="957918" y="289025"/>
                        <a:pt x="988687" y="258256"/>
                        <a:pt x="988687" y="220301"/>
                      </a:cubicBezTo>
                      <a:cubicBezTo>
                        <a:pt x="988687" y="182346"/>
                        <a:pt x="957918" y="151577"/>
                        <a:pt x="919963" y="151577"/>
                      </a:cubicBezTo>
                      <a:close/>
                      <a:moveTo>
                        <a:pt x="203143" y="0"/>
                      </a:moveTo>
                      <a:cubicBezTo>
                        <a:pt x="284450" y="0"/>
                        <a:pt x="355469" y="44047"/>
                        <a:pt x="390522" y="111398"/>
                      </a:cubicBezTo>
                      <a:lnTo>
                        <a:pt x="1033010" y="111398"/>
                      </a:lnTo>
                      <a:cubicBezTo>
                        <a:pt x="1053059" y="111398"/>
                        <a:pt x="1069312" y="127651"/>
                        <a:pt x="1069312" y="147700"/>
                      </a:cubicBezTo>
                      <a:lnTo>
                        <a:pt x="1069312" y="292902"/>
                      </a:lnTo>
                      <a:cubicBezTo>
                        <a:pt x="1069312" y="312951"/>
                        <a:pt x="1053059" y="329204"/>
                        <a:pt x="1033010" y="329204"/>
                      </a:cubicBezTo>
                      <a:lnTo>
                        <a:pt x="390520" y="329204"/>
                      </a:lnTo>
                      <a:cubicBezTo>
                        <a:pt x="355468" y="396554"/>
                        <a:pt x="284449" y="440600"/>
                        <a:pt x="203143" y="440600"/>
                      </a:cubicBezTo>
                      <a:cubicBezTo>
                        <a:pt x="111708" y="440600"/>
                        <a:pt x="33283" y="384896"/>
                        <a:pt x="1" y="305552"/>
                      </a:cubicBezTo>
                      <a:lnTo>
                        <a:pt x="215493" y="305552"/>
                      </a:lnTo>
                      <a:cubicBezTo>
                        <a:pt x="231188" y="305552"/>
                        <a:pt x="243911" y="292829"/>
                        <a:pt x="243911" y="277134"/>
                      </a:cubicBezTo>
                      <a:lnTo>
                        <a:pt x="243911" y="163468"/>
                      </a:lnTo>
                      <a:cubicBezTo>
                        <a:pt x="243911" y="147773"/>
                        <a:pt x="231188" y="135050"/>
                        <a:pt x="215493" y="135050"/>
                      </a:cubicBezTo>
                      <a:lnTo>
                        <a:pt x="0" y="135050"/>
                      </a:lnTo>
                      <a:cubicBezTo>
                        <a:pt x="33282" y="55705"/>
                        <a:pt x="111707" y="0"/>
                        <a:pt x="203143" y="0"/>
                      </a:cubicBezTo>
                      <a:close/>
                    </a:path>
                  </a:pathLst>
                </a:custGeom>
                <a:grpFill/>
                <a:ln w="9525" cap="flat" cmpd="sng" algn="ctr">
                  <a:noFill/>
                  <a:prstDash val="solid"/>
                </a:ln>
                <a:effectLst/>
              </p:spPr>
              <p:txBody>
                <a:bodyPr rtlCol="0" anchor="ctr"/>
                <a:lstStyle/>
                <a:p>
                  <a:pPr marL="0" marR="0" lvl="0" indent="0" algn="ctr" defTabSz="45720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Arial" panose="020B0604020202020204" pitchFamily="34" charset="0"/>
                  </a:endParaRPr>
                </a:p>
              </p:txBody>
            </p:sp>
          </p:grpSp>
          <p:grpSp>
            <p:nvGrpSpPr>
              <p:cNvPr id="130" name="Group 129">
                <a:extLst>
                  <a:ext uri="{FF2B5EF4-FFF2-40B4-BE49-F238E27FC236}">
                    <a16:creationId xmlns:a16="http://schemas.microsoft.com/office/drawing/2014/main" xmlns="" id="{A493CCF2-D71E-46BD-86DD-A93BAC650BBB}"/>
                  </a:ext>
                </a:extLst>
              </p:cNvPr>
              <p:cNvGrpSpPr/>
              <p:nvPr/>
            </p:nvGrpSpPr>
            <p:grpSpPr>
              <a:xfrm>
                <a:off x="5354719" y="5025176"/>
                <a:ext cx="362550" cy="410254"/>
                <a:chOff x="6475861" y="2515403"/>
                <a:chExt cx="411725" cy="465899"/>
              </a:xfrm>
              <a:solidFill>
                <a:srgbClr val="D0247B"/>
              </a:solidFill>
            </p:grpSpPr>
            <p:sp>
              <p:nvSpPr>
                <p:cNvPr id="133" name="Oval 93723">
                  <a:extLst>
                    <a:ext uri="{FF2B5EF4-FFF2-40B4-BE49-F238E27FC236}">
                      <a16:creationId xmlns:a16="http://schemas.microsoft.com/office/drawing/2014/main" xmlns="" id="{2A209712-EB0A-4FF5-B2D1-FA7609F63F3F}"/>
                    </a:ext>
                  </a:extLst>
                </p:cNvPr>
                <p:cNvSpPr>
                  <a:spLocks noChangeArrowheads="1"/>
                </p:cNvSpPr>
                <p:nvPr/>
              </p:nvSpPr>
              <p:spPr bwMode="auto">
                <a:xfrm>
                  <a:off x="6605879" y="2515403"/>
                  <a:ext cx="173358" cy="17335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0" fontAlgn="base" latinLnBrk="0" hangingPunct="0">
                    <a:lnSpc>
                      <a:spcPct val="100000"/>
                    </a:lnSpc>
                    <a:spcBef>
                      <a:spcPct val="0"/>
                    </a:spcBef>
                    <a:spcAft>
                      <a:spcPct val="0"/>
                    </a:spcAft>
                    <a:buClrTx/>
                    <a:buSzTx/>
                    <a:buFontTx/>
                    <a:buNone/>
                    <a:tabLst/>
                    <a:defRPr/>
                  </a:pPr>
                  <a:endParaRPr kumimoji="0" lang="es-CR" sz="1800" b="0" i="0" u="none" strike="noStrike" kern="0" cap="none" spc="0" normalizeH="0" baseline="0" noProof="0" dirty="0">
                    <a:ln>
                      <a:noFill/>
                    </a:ln>
                    <a:solidFill>
                      <a:prstClr val="black"/>
                    </a:solidFill>
                    <a:effectLst/>
                    <a:uLnTx/>
                    <a:uFillTx/>
                    <a:latin typeface="Calibri"/>
                    <a:ea typeface="MS PGothic" pitchFamily="34" charset="-128"/>
                    <a:cs typeface="Arial" panose="020B0604020202020204" pitchFamily="34" charset="0"/>
                  </a:endParaRPr>
                </a:p>
              </p:txBody>
            </p:sp>
            <p:sp>
              <p:nvSpPr>
                <p:cNvPr id="134" name="Freeform 93724">
                  <a:extLst>
                    <a:ext uri="{FF2B5EF4-FFF2-40B4-BE49-F238E27FC236}">
                      <a16:creationId xmlns:a16="http://schemas.microsoft.com/office/drawing/2014/main" xmlns="" id="{E931888E-F3E6-4031-B992-E59885EC4CF3}"/>
                    </a:ext>
                  </a:extLst>
                </p:cNvPr>
                <p:cNvSpPr>
                  <a:spLocks/>
                </p:cNvSpPr>
                <p:nvPr/>
              </p:nvSpPr>
              <p:spPr bwMode="auto">
                <a:xfrm>
                  <a:off x="6475861" y="2818779"/>
                  <a:ext cx="173358" cy="162523"/>
                </a:xfrm>
                <a:custGeom>
                  <a:avLst/>
                  <a:gdLst>
                    <a:gd name="T0" fmla="*/ 34 w 36"/>
                    <a:gd name="T1" fmla="*/ 2 h 36"/>
                    <a:gd name="T2" fmla="*/ 34 w 36"/>
                    <a:gd name="T3" fmla="*/ 12 h 36"/>
                    <a:gd name="T4" fmla="*/ 13 w 36"/>
                    <a:gd name="T5" fmla="*/ 33 h 36"/>
                    <a:gd name="T6" fmla="*/ 3 w 36"/>
                    <a:gd name="T7" fmla="*/ 33 h 36"/>
                    <a:gd name="T8" fmla="*/ 3 w 36"/>
                    <a:gd name="T9" fmla="*/ 23 h 36"/>
                    <a:gd name="T10" fmla="*/ 24 w 36"/>
                    <a:gd name="T11" fmla="*/ 2 h 36"/>
                    <a:gd name="T12" fmla="*/ 34 w 36"/>
                    <a:gd name="T13" fmla="*/ 2 h 36"/>
                  </a:gdLst>
                  <a:ahLst/>
                  <a:cxnLst>
                    <a:cxn ang="0">
                      <a:pos x="T0" y="T1"/>
                    </a:cxn>
                    <a:cxn ang="0">
                      <a:pos x="T2" y="T3"/>
                    </a:cxn>
                    <a:cxn ang="0">
                      <a:pos x="T4" y="T5"/>
                    </a:cxn>
                    <a:cxn ang="0">
                      <a:pos x="T6" y="T7"/>
                    </a:cxn>
                    <a:cxn ang="0">
                      <a:pos x="T8" y="T9"/>
                    </a:cxn>
                    <a:cxn ang="0">
                      <a:pos x="T10" y="T11"/>
                    </a:cxn>
                    <a:cxn ang="0">
                      <a:pos x="T12" y="T13"/>
                    </a:cxn>
                  </a:cxnLst>
                  <a:rect l="0" t="0" r="r" b="b"/>
                  <a:pathLst>
                    <a:path w="36" h="36">
                      <a:moveTo>
                        <a:pt x="34" y="2"/>
                      </a:moveTo>
                      <a:cubicBezTo>
                        <a:pt x="36" y="5"/>
                        <a:pt x="36" y="9"/>
                        <a:pt x="34" y="12"/>
                      </a:cubicBezTo>
                      <a:cubicBezTo>
                        <a:pt x="13" y="33"/>
                        <a:pt x="13" y="33"/>
                        <a:pt x="13" y="33"/>
                      </a:cubicBezTo>
                      <a:cubicBezTo>
                        <a:pt x="10" y="36"/>
                        <a:pt x="6" y="36"/>
                        <a:pt x="3" y="33"/>
                      </a:cubicBezTo>
                      <a:cubicBezTo>
                        <a:pt x="0" y="30"/>
                        <a:pt x="0" y="26"/>
                        <a:pt x="3" y="23"/>
                      </a:cubicBezTo>
                      <a:cubicBezTo>
                        <a:pt x="24" y="2"/>
                        <a:pt x="24" y="2"/>
                        <a:pt x="24" y="2"/>
                      </a:cubicBezTo>
                      <a:cubicBezTo>
                        <a:pt x="27" y="0"/>
                        <a:pt x="31" y="0"/>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0" fontAlgn="base" latinLnBrk="0" hangingPunct="0">
                    <a:lnSpc>
                      <a:spcPct val="100000"/>
                    </a:lnSpc>
                    <a:spcBef>
                      <a:spcPct val="0"/>
                    </a:spcBef>
                    <a:spcAft>
                      <a:spcPct val="0"/>
                    </a:spcAft>
                    <a:buClrTx/>
                    <a:buSzTx/>
                    <a:buFontTx/>
                    <a:buNone/>
                    <a:tabLst/>
                    <a:defRPr/>
                  </a:pPr>
                  <a:endParaRPr kumimoji="0" lang="es-CR" sz="1800" b="0" i="0" u="none" strike="noStrike" kern="0" cap="none" spc="0" normalizeH="0" baseline="0" noProof="0" dirty="0">
                    <a:ln>
                      <a:noFill/>
                    </a:ln>
                    <a:solidFill>
                      <a:prstClr val="black"/>
                    </a:solidFill>
                    <a:effectLst/>
                    <a:uLnTx/>
                    <a:uFillTx/>
                    <a:latin typeface="Calibri"/>
                    <a:ea typeface="MS PGothic" pitchFamily="34" charset="-128"/>
                    <a:cs typeface="Arial" panose="020B0604020202020204" pitchFamily="34" charset="0"/>
                  </a:endParaRPr>
                </a:p>
              </p:txBody>
            </p:sp>
            <p:sp>
              <p:nvSpPr>
                <p:cNvPr id="135" name="Freeform 93725">
                  <a:extLst>
                    <a:ext uri="{FF2B5EF4-FFF2-40B4-BE49-F238E27FC236}">
                      <a16:creationId xmlns:a16="http://schemas.microsoft.com/office/drawing/2014/main" xmlns="" id="{136D2FAC-2B2D-49FD-A7F6-5188AB48A2C0}"/>
                    </a:ext>
                  </a:extLst>
                </p:cNvPr>
                <p:cNvSpPr>
                  <a:spLocks/>
                </p:cNvSpPr>
                <p:nvPr/>
              </p:nvSpPr>
              <p:spPr bwMode="auto">
                <a:xfrm>
                  <a:off x="6725063" y="2807944"/>
                  <a:ext cx="162523" cy="162523"/>
                </a:xfrm>
                <a:custGeom>
                  <a:avLst/>
                  <a:gdLst>
                    <a:gd name="T0" fmla="*/ 3 w 36"/>
                    <a:gd name="T1" fmla="*/ 3 h 36"/>
                    <a:gd name="T2" fmla="*/ 3 w 36"/>
                    <a:gd name="T3" fmla="*/ 12 h 36"/>
                    <a:gd name="T4" fmla="*/ 24 w 36"/>
                    <a:gd name="T5" fmla="*/ 33 h 36"/>
                    <a:gd name="T6" fmla="*/ 34 w 36"/>
                    <a:gd name="T7" fmla="*/ 33 h 36"/>
                    <a:gd name="T8" fmla="*/ 34 w 36"/>
                    <a:gd name="T9" fmla="*/ 24 h 36"/>
                    <a:gd name="T10" fmla="*/ 13 w 36"/>
                    <a:gd name="T11" fmla="*/ 3 h 36"/>
                    <a:gd name="T12" fmla="*/ 3 w 36"/>
                    <a:gd name="T13" fmla="*/ 3 h 36"/>
                  </a:gdLst>
                  <a:ahLst/>
                  <a:cxnLst>
                    <a:cxn ang="0">
                      <a:pos x="T0" y="T1"/>
                    </a:cxn>
                    <a:cxn ang="0">
                      <a:pos x="T2" y="T3"/>
                    </a:cxn>
                    <a:cxn ang="0">
                      <a:pos x="T4" y="T5"/>
                    </a:cxn>
                    <a:cxn ang="0">
                      <a:pos x="T6" y="T7"/>
                    </a:cxn>
                    <a:cxn ang="0">
                      <a:pos x="T8" y="T9"/>
                    </a:cxn>
                    <a:cxn ang="0">
                      <a:pos x="T10" y="T11"/>
                    </a:cxn>
                    <a:cxn ang="0">
                      <a:pos x="T12" y="T13"/>
                    </a:cxn>
                  </a:cxnLst>
                  <a:rect l="0" t="0" r="r" b="b"/>
                  <a:pathLst>
                    <a:path w="36" h="36">
                      <a:moveTo>
                        <a:pt x="3" y="3"/>
                      </a:moveTo>
                      <a:cubicBezTo>
                        <a:pt x="0" y="5"/>
                        <a:pt x="0" y="10"/>
                        <a:pt x="3" y="12"/>
                      </a:cubicBezTo>
                      <a:cubicBezTo>
                        <a:pt x="24" y="33"/>
                        <a:pt x="24" y="33"/>
                        <a:pt x="24" y="33"/>
                      </a:cubicBezTo>
                      <a:cubicBezTo>
                        <a:pt x="27" y="36"/>
                        <a:pt x="31" y="36"/>
                        <a:pt x="34" y="33"/>
                      </a:cubicBezTo>
                      <a:cubicBezTo>
                        <a:pt x="36" y="31"/>
                        <a:pt x="36" y="26"/>
                        <a:pt x="34" y="24"/>
                      </a:cubicBezTo>
                      <a:cubicBezTo>
                        <a:pt x="13" y="3"/>
                        <a:pt x="13" y="3"/>
                        <a:pt x="13" y="3"/>
                      </a:cubicBezTo>
                      <a:cubicBezTo>
                        <a:pt x="10" y="0"/>
                        <a:pt x="6" y="0"/>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0" fontAlgn="base" latinLnBrk="0" hangingPunct="0">
                    <a:lnSpc>
                      <a:spcPct val="100000"/>
                    </a:lnSpc>
                    <a:spcBef>
                      <a:spcPct val="0"/>
                    </a:spcBef>
                    <a:spcAft>
                      <a:spcPct val="0"/>
                    </a:spcAft>
                    <a:buClrTx/>
                    <a:buSzTx/>
                    <a:buFontTx/>
                    <a:buNone/>
                    <a:tabLst/>
                    <a:defRPr/>
                  </a:pPr>
                  <a:endParaRPr kumimoji="0" lang="es-CR" sz="1800" b="0" i="0" u="none" strike="noStrike" kern="0" cap="none" spc="0" normalizeH="0" baseline="0" noProof="0" dirty="0">
                    <a:ln>
                      <a:noFill/>
                    </a:ln>
                    <a:solidFill>
                      <a:prstClr val="black"/>
                    </a:solidFill>
                    <a:effectLst/>
                    <a:uLnTx/>
                    <a:uFillTx/>
                    <a:latin typeface="Calibri"/>
                    <a:ea typeface="MS PGothic" pitchFamily="34" charset="-128"/>
                    <a:cs typeface="Arial" panose="020B0604020202020204" pitchFamily="34" charset="0"/>
                  </a:endParaRPr>
                </a:p>
              </p:txBody>
            </p:sp>
            <p:sp>
              <p:nvSpPr>
                <p:cNvPr id="136" name="Freeform 93726">
                  <a:extLst>
                    <a:ext uri="{FF2B5EF4-FFF2-40B4-BE49-F238E27FC236}">
                      <a16:creationId xmlns:a16="http://schemas.microsoft.com/office/drawing/2014/main" xmlns="" id="{A0CB7C26-C043-490B-BBB2-3D541AF7996F}"/>
                    </a:ext>
                  </a:extLst>
                </p:cNvPr>
                <p:cNvSpPr>
                  <a:spLocks/>
                </p:cNvSpPr>
                <p:nvPr/>
              </p:nvSpPr>
              <p:spPr bwMode="auto">
                <a:xfrm>
                  <a:off x="6486696" y="2710430"/>
                  <a:ext cx="97514" cy="227532"/>
                </a:xfrm>
                <a:custGeom>
                  <a:avLst/>
                  <a:gdLst>
                    <a:gd name="T0" fmla="*/ 17 w 22"/>
                    <a:gd name="T1" fmla="*/ 0 h 49"/>
                    <a:gd name="T2" fmla="*/ 0 w 22"/>
                    <a:gd name="T3" fmla="*/ 49 h 49"/>
                    <a:gd name="T4" fmla="*/ 22 w 22"/>
                    <a:gd name="T5" fmla="*/ 49 h 49"/>
                    <a:gd name="T6" fmla="*/ 17 w 22"/>
                    <a:gd name="T7" fmla="*/ 0 h 49"/>
                  </a:gdLst>
                  <a:ahLst/>
                  <a:cxnLst>
                    <a:cxn ang="0">
                      <a:pos x="T0" y="T1"/>
                    </a:cxn>
                    <a:cxn ang="0">
                      <a:pos x="T2" y="T3"/>
                    </a:cxn>
                    <a:cxn ang="0">
                      <a:pos x="T4" y="T5"/>
                    </a:cxn>
                    <a:cxn ang="0">
                      <a:pos x="T6" y="T7"/>
                    </a:cxn>
                  </a:cxnLst>
                  <a:rect l="0" t="0" r="r" b="b"/>
                  <a:pathLst>
                    <a:path w="22" h="49">
                      <a:moveTo>
                        <a:pt x="17" y="0"/>
                      </a:moveTo>
                      <a:cubicBezTo>
                        <a:pt x="17" y="0"/>
                        <a:pt x="1" y="37"/>
                        <a:pt x="0" y="49"/>
                      </a:cubicBezTo>
                      <a:cubicBezTo>
                        <a:pt x="22" y="49"/>
                        <a:pt x="22" y="49"/>
                        <a:pt x="22" y="49"/>
                      </a:cubicBezTo>
                      <a:lnTo>
                        <a:pt x="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0" fontAlgn="base" latinLnBrk="0" hangingPunct="0">
                    <a:lnSpc>
                      <a:spcPct val="100000"/>
                    </a:lnSpc>
                    <a:spcBef>
                      <a:spcPct val="0"/>
                    </a:spcBef>
                    <a:spcAft>
                      <a:spcPct val="0"/>
                    </a:spcAft>
                    <a:buClrTx/>
                    <a:buSzTx/>
                    <a:buFontTx/>
                    <a:buNone/>
                    <a:tabLst/>
                    <a:defRPr/>
                  </a:pPr>
                  <a:endParaRPr kumimoji="0" lang="es-CR" sz="1800" b="0" i="0" u="none" strike="noStrike" kern="0" cap="none" spc="0" normalizeH="0" baseline="0" noProof="0" dirty="0">
                    <a:ln>
                      <a:noFill/>
                    </a:ln>
                    <a:solidFill>
                      <a:prstClr val="black"/>
                    </a:solidFill>
                    <a:effectLst/>
                    <a:uLnTx/>
                    <a:uFillTx/>
                    <a:latin typeface="Calibri"/>
                    <a:ea typeface="MS PGothic" pitchFamily="34" charset="-128"/>
                    <a:cs typeface="Arial" panose="020B0604020202020204" pitchFamily="34" charset="0"/>
                  </a:endParaRPr>
                </a:p>
              </p:txBody>
            </p:sp>
            <p:sp>
              <p:nvSpPr>
                <p:cNvPr id="137" name="Freeform 93727">
                  <a:extLst>
                    <a:ext uri="{FF2B5EF4-FFF2-40B4-BE49-F238E27FC236}">
                      <a16:creationId xmlns:a16="http://schemas.microsoft.com/office/drawing/2014/main" xmlns="" id="{911716C4-FF29-479B-B8A8-0DC09CB1EE54}"/>
                    </a:ext>
                  </a:extLst>
                </p:cNvPr>
                <p:cNvSpPr>
                  <a:spLocks/>
                </p:cNvSpPr>
                <p:nvPr/>
              </p:nvSpPr>
              <p:spPr bwMode="auto">
                <a:xfrm>
                  <a:off x="6790072" y="2710430"/>
                  <a:ext cx="97514" cy="227532"/>
                </a:xfrm>
                <a:custGeom>
                  <a:avLst/>
                  <a:gdLst>
                    <a:gd name="T0" fmla="*/ 4 w 22"/>
                    <a:gd name="T1" fmla="*/ 0 h 49"/>
                    <a:gd name="T2" fmla="*/ 22 w 22"/>
                    <a:gd name="T3" fmla="*/ 49 h 49"/>
                    <a:gd name="T4" fmla="*/ 0 w 22"/>
                    <a:gd name="T5" fmla="*/ 49 h 49"/>
                    <a:gd name="T6" fmla="*/ 4 w 22"/>
                    <a:gd name="T7" fmla="*/ 0 h 49"/>
                  </a:gdLst>
                  <a:ahLst/>
                  <a:cxnLst>
                    <a:cxn ang="0">
                      <a:pos x="T0" y="T1"/>
                    </a:cxn>
                    <a:cxn ang="0">
                      <a:pos x="T2" y="T3"/>
                    </a:cxn>
                    <a:cxn ang="0">
                      <a:pos x="T4" y="T5"/>
                    </a:cxn>
                    <a:cxn ang="0">
                      <a:pos x="T6" y="T7"/>
                    </a:cxn>
                  </a:cxnLst>
                  <a:rect l="0" t="0" r="r" b="b"/>
                  <a:pathLst>
                    <a:path w="22" h="49">
                      <a:moveTo>
                        <a:pt x="4" y="0"/>
                      </a:moveTo>
                      <a:cubicBezTo>
                        <a:pt x="4" y="0"/>
                        <a:pt x="21" y="37"/>
                        <a:pt x="22" y="49"/>
                      </a:cubicBezTo>
                      <a:cubicBezTo>
                        <a:pt x="0" y="49"/>
                        <a:pt x="0" y="49"/>
                        <a:pt x="0" y="49"/>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0" fontAlgn="base" latinLnBrk="0" hangingPunct="0">
                    <a:lnSpc>
                      <a:spcPct val="100000"/>
                    </a:lnSpc>
                    <a:spcBef>
                      <a:spcPct val="0"/>
                    </a:spcBef>
                    <a:spcAft>
                      <a:spcPct val="0"/>
                    </a:spcAft>
                    <a:buClrTx/>
                    <a:buSzTx/>
                    <a:buFontTx/>
                    <a:buNone/>
                    <a:tabLst/>
                    <a:defRPr/>
                  </a:pPr>
                  <a:endParaRPr kumimoji="0" lang="es-CR" sz="1800" b="0" i="0" u="none" strike="noStrike" kern="0" cap="none" spc="0" normalizeH="0" baseline="0" noProof="0" dirty="0">
                    <a:ln>
                      <a:noFill/>
                    </a:ln>
                    <a:solidFill>
                      <a:prstClr val="black"/>
                    </a:solidFill>
                    <a:effectLst/>
                    <a:uLnTx/>
                    <a:uFillTx/>
                    <a:latin typeface="Calibri"/>
                    <a:ea typeface="MS PGothic" pitchFamily="34" charset="-128"/>
                    <a:cs typeface="Arial" panose="020B0604020202020204" pitchFamily="34" charset="0"/>
                  </a:endParaRPr>
                </a:p>
              </p:txBody>
            </p:sp>
            <p:sp>
              <p:nvSpPr>
                <p:cNvPr id="138" name="Freeform 93728">
                  <a:extLst>
                    <a:ext uri="{FF2B5EF4-FFF2-40B4-BE49-F238E27FC236}">
                      <a16:creationId xmlns:a16="http://schemas.microsoft.com/office/drawing/2014/main" xmlns="" id="{6C5C7A49-D13B-4999-B7ED-FF4CC3526018}"/>
                    </a:ext>
                  </a:extLst>
                </p:cNvPr>
                <p:cNvSpPr>
                  <a:spLocks noEditPoints="1"/>
                </p:cNvSpPr>
                <p:nvPr/>
              </p:nvSpPr>
              <p:spPr bwMode="auto">
                <a:xfrm>
                  <a:off x="6562540" y="2710430"/>
                  <a:ext cx="249202" cy="270872"/>
                </a:xfrm>
                <a:custGeom>
                  <a:avLst/>
                  <a:gdLst>
                    <a:gd name="T0" fmla="*/ 0 w 23"/>
                    <a:gd name="T1" fmla="*/ 0 h 25"/>
                    <a:gd name="T2" fmla="*/ 0 w 23"/>
                    <a:gd name="T3" fmla="*/ 25 h 25"/>
                    <a:gd name="T4" fmla="*/ 23 w 23"/>
                    <a:gd name="T5" fmla="*/ 25 h 25"/>
                    <a:gd name="T6" fmla="*/ 23 w 23"/>
                    <a:gd name="T7" fmla="*/ 0 h 25"/>
                    <a:gd name="T8" fmla="*/ 0 w 23"/>
                    <a:gd name="T9" fmla="*/ 0 h 25"/>
                    <a:gd name="T10" fmla="*/ 19 w 23"/>
                    <a:gd name="T11" fmla="*/ 20 h 25"/>
                    <a:gd name="T12" fmla="*/ 11 w 23"/>
                    <a:gd name="T13" fmla="*/ 22 h 25"/>
                    <a:gd name="T14" fmla="*/ 4 w 23"/>
                    <a:gd name="T15" fmla="*/ 20 h 25"/>
                    <a:gd name="T16" fmla="*/ 4 w 23"/>
                    <a:gd name="T17" fmla="*/ 7 h 25"/>
                    <a:gd name="T18" fmla="*/ 11 w 23"/>
                    <a:gd name="T19" fmla="*/ 9 h 25"/>
                    <a:gd name="T20" fmla="*/ 19 w 23"/>
                    <a:gd name="T21" fmla="*/ 7 h 25"/>
                    <a:gd name="T22" fmla="*/ 19 w 23"/>
                    <a:gd name="T23" fmla="*/ 2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25">
                      <a:moveTo>
                        <a:pt x="0" y="0"/>
                      </a:moveTo>
                      <a:lnTo>
                        <a:pt x="0" y="25"/>
                      </a:lnTo>
                      <a:lnTo>
                        <a:pt x="23" y="25"/>
                      </a:lnTo>
                      <a:lnTo>
                        <a:pt x="23" y="0"/>
                      </a:lnTo>
                      <a:lnTo>
                        <a:pt x="0" y="0"/>
                      </a:lnTo>
                      <a:close/>
                      <a:moveTo>
                        <a:pt x="19" y="20"/>
                      </a:moveTo>
                      <a:lnTo>
                        <a:pt x="11" y="22"/>
                      </a:lnTo>
                      <a:lnTo>
                        <a:pt x="4" y="20"/>
                      </a:lnTo>
                      <a:lnTo>
                        <a:pt x="4" y="7"/>
                      </a:lnTo>
                      <a:lnTo>
                        <a:pt x="11" y="9"/>
                      </a:lnTo>
                      <a:lnTo>
                        <a:pt x="19" y="7"/>
                      </a:lnTo>
                      <a:lnTo>
                        <a:pt x="19"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0" fontAlgn="base" latinLnBrk="0" hangingPunct="0">
                    <a:lnSpc>
                      <a:spcPct val="100000"/>
                    </a:lnSpc>
                    <a:spcBef>
                      <a:spcPct val="0"/>
                    </a:spcBef>
                    <a:spcAft>
                      <a:spcPct val="0"/>
                    </a:spcAft>
                    <a:buClrTx/>
                    <a:buSzTx/>
                    <a:buFontTx/>
                    <a:buNone/>
                    <a:tabLst/>
                    <a:defRPr/>
                  </a:pPr>
                  <a:endParaRPr kumimoji="0" lang="es-CR" sz="1800" b="0" i="0" u="none" strike="noStrike" kern="0" cap="none" spc="0" normalizeH="0" baseline="0" noProof="0" dirty="0">
                    <a:ln>
                      <a:noFill/>
                    </a:ln>
                    <a:solidFill>
                      <a:prstClr val="black"/>
                    </a:solidFill>
                    <a:effectLst/>
                    <a:uLnTx/>
                    <a:uFillTx/>
                    <a:latin typeface="Calibri"/>
                    <a:ea typeface="MS PGothic" pitchFamily="34" charset="-128"/>
                    <a:cs typeface="Arial" panose="020B0604020202020204" pitchFamily="34" charset="0"/>
                  </a:endParaRPr>
                </a:p>
              </p:txBody>
            </p:sp>
          </p:grpSp>
          <p:sp>
            <p:nvSpPr>
              <p:cNvPr id="131" name="Freeform 65">
                <a:extLst>
                  <a:ext uri="{FF2B5EF4-FFF2-40B4-BE49-F238E27FC236}">
                    <a16:creationId xmlns:a16="http://schemas.microsoft.com/office/drawing/2014/main" xmlns="" id="{5767F721-9CF1-4A02-830D-409CB1B3E91A}"/>
                  </a:ext>
                </a:extLst>
              </p:cNvPr>
              <p:cNvSpPr>
                <a:spLocks noEditPoints="1"/>
              </p:cNvSpPr>
              <p:nvPr/>
            </p:nvSpPr>
            <p:spPr bwMode="auto">
              <a:xfrm>
                <a:off x="6675020" y="5076551"/>
                <a:ext cx="400474" cy="339576"/>
              </a:xfrm>
              <a:custGeom>
                <a:avLst/>
                <a:gdLst>
                  <a:gd name="T0" fmla="*/ 414 w 776"/>
                  <a:gd name="T1" fmla="*/ 460 h 658"/>
                  <a:gd name="T2" fmla="*/ 408 w 776"/>
                  <a:gd name="T3" fmla="*/ 474 h 658"/>
                  <a:gd name="T4" fmla="*/ 474 w 776"/>
                  <a:gd name="T5" fmla="*/ 536 h 658"/>
                  <a:gd name="T6" fmla="*/ 590 w 776"/>
                  <a:gd name="T7" fmla="*/ 572 h 658"/>
                  <a:gd name="T8" fmla="*/ 698 w 776"/>
                  <a:gd name="T9" fmla="*/ 512 h 658"/>
                  <a:gd name="T10" fmla="*/ 728 w 776"/>
                  <a:gd name="T11" fmla="*/ 384 h 658"/>
                  <a:gd name="T12" fmla="*/ 662 w 776"/>
                  <a:gd name="T13" fmla="*/ 276 h 658"/>
                  <a:gd name="T14" fmla="*/ 542 w 776"/>
                  <a:gd name="T15" fmla="*/ 248 h 658"/>
                  <a:gd name="T16" fmla="*/ 436 w 776"/>
                  <a:gd name="T17" fmla="*/ 304 h 658"/>
                  <a:gd name="T18" fmla="*/ 404 w 776"/>
                  <a:gd name="T19" fmla="*/ 424 h 658"/>
                  <a:gd name="T20" fmla="*/ 606 w 776"/>
                  <a:gd name="T21" fmla="*/ 328 h 658"/>
                  <a:gd name="T22" fmla="*/ 656 w 776"/>
                  <a:gd name="T23" fmla="*/ 376 h 658"/>
                  <a:gd name="T24" fmla="*/ 662 w 776"/>
                  <a:gd name="T25" fmla="*/ 428 h 658"/>
                  <a:gd name="T26" fmla="*/ 622 w 776"/>
                  <a:gd name="T27" fmla="*/ 484 h 658"/>
                  <a:gd name="T28" fmla="*/ 570 w 776"/>
                  <a:gd name="T29" fmla="*/ 500 h 658"/>
                  <a:gd name="T30" fmla="*/ 502 w 776"/>
                  <a:gd name="T31" fmla="*/ 474 h 658"/>
                  <a:gd name="T32" fmla="*/ 476 w 776"/>
                  <a:gd name="T33" fmla="*/ 410 h 658"/>
                  <a:gd name="T34" fmla="*/ 492 w 776"/>
                  <a:gd name="T35" fmla="*/ 360 h 658"/>
                  <a:gd name="T36" fmla="*/ 550 w 776"/>
                  <a:gd name="T37" fmla="*/ 322 h 658"/>
                  <a:gd name="T38" fmla="*/ 346 w 776"/>
                  <a:gd name="T39" fmla="*/ 566 h 658"/>
                  <a:gd name="T40" fmla="*/ 370 w 776"/>
                  <a:gd name="T41" fmla="*/ 428 h 658"/>
                  <a:gd name="T42" fmla="*/ 288 w 776"/>
                  <a:gd name="T43" fmla="*/ 312 h 658"/>
                  <a:gd name="T44" fmla="*/ 148 w 776"/>
                  <a:gd name="T45" fmla="*/ 286 h 658"/>
                  <a:gd name="T46" fmla="*/ 28 w 776"/>
                  <a:gd name="T47" fmla="*/ 370 h 658"/>
                  <a:gd name="T48" fmla="*/ 6 w 776"/>
                  <a:gd name="T49" fmla="*/ 510 h 658"/>
                  <a:gd name="T50" fmla="*/ 88 w 776"/>
                  <a:gd name="T51" fmla="*/ 628 h 658"/>
                  <a:gd name="T52" fmla="*/ 230 w 776"/>
                  <a:gd name="T53" fmla="*/ 650 h 658"/>
                  <a:gd name="T54" fmla="*/ 238 w 776"/>
                  <a:gd name="T55" fmla="*/ 608 h 658"/>
                  <a:gd name="T56" fmla="*/ 254 w 776"/>
                  <a:gd name="T57" fmla="*/ 598 h 658"/>
                  <a:gd name="T58" fmla="*/ 242 w 776"/>
                  <a:gd name="T59" fmla="*/ 532 h 658"/>
                  <a:gd name="T60" fmla="*/ 182 w 776"/>
                  <a:gd name="T61" fmla="*/ 552 h 658"/>
                  <a:gd name="T62" fmla="*/ 124 w 776"/>
                  <a:gd name="T63" fmla="*/ 520 h 658"/>
                  <a:gd name="T64" fmla="*/ 104 w 776"/>
                  <a:gd name="T65" fmla="*/ 476 h 658"/>
                  <a:gd name="T66" fmla="*/ 120 w 776"/>
                  <a:gd name="T67" fmla="*/ 416 h 658"/>
                  <a:gd name="T68" fmla="*/ 160 w 776"/>
                  <a:gd name="T69" fmla="*/ 388 h 658"/>
                  <a:gd name="T70" fmla="*/ 222 w 776"/>
                  <a:gd name="T71" fmla="*/ 394 h 658"/>
                  <a:gd name="T72" fmla="*/ 258 w 776"/>
                  <a:gd name="T73" fmla="*/ 430 h 658"/>
                  <a:gd name="T74" fmla="*/ 268 w 776"/>
                  <a:gd name="T75" fmla="*/ 492 h 658"/>
                  <a:gd name="T76" fmla="*/ 242 w 776"/>
                  <a:gd name="T77" fmla="*/ 532 h 658"/>
                  <a:gd name="T78" fmla="*/ 398 w 776"/>
                  <a:gd name="T79" fmla="*/ 52 h 658"/>
                  <a:gd name="T80" fmla="*/ 304 w 776"/>
                  <a:gd name="T81" fmla="*/ 28 h 658"/>
                  <a:gd name="T82" fmla="*/ 218 w 776"/>
                  <a:gd name="T83" fmla="*/ 72 h 658"/>
                  <a:gd name="T84" fmla="*/ 190 w 776"/>
                  <a:gd name="T85" fmla="*/ 164 h 658"/>
                  <a:gd name="T86" fmla="*/ 236 w 776"/>
                  <a:gd name="T87" fmla="*/ 254 h 658"/>
                  <a:gd name="T88" fmla="*/ 328 w 776"/>
                  <a:gd name="T89" fmla="*/ 280 h 658"/>
                  <a:gd name="T90" fmla="*/ 408 w 776"/>
                  <a:gd name="T91" fmla="*/ 230 h 658"/>
                  <a:gd name="T92" fmla="*/ 456 w 776"/>
                  <a:gd name="T93" fmla="*/ 180 h 658"/>
                  <a:gd name="T94" fmla="*/ 438 w 776"/>
                  <a:gd name="T95" fmla="*/ 168 h 658"/>
                  <a:gd name="T96" fmla="*/ 468 w 776"/>
                  <a:gd name="T97" fmla="*/ 116 h 658"/>
                  <a:gd name="T98" fmla="*/ 384 w 776"/>
                  <a:gd name="T99" fmla="*/ 164 h 658"/>
                  <a:gd name="T100" fmla="*/ 356 w 776"/>
                  <a:gd name="T101" fmla="*/ 210 h 658"/>
                  <a:gd name="T102" fmla="*/ 316 w 776"/>
                  <a:gd name="T103" fmla="*/ 224 h 658"/>
                  <a:gd name="T104" fmla="*/ 264 w 776"/>
                  <a:gd name="T105" fmla="*/ 206 h 658"/>
                  <a:gd name="T106" fmla="*/ 242 w 776"/>
                  <a:gd name="T107" fmla="*/ 172 h 658"/>
                  <a:gd name="T108" fmla="*/ 252 w 776"/>
                  <a:gd name="T109" fmla="*/ 120 h 658"/>
                  <a:gd name="T110" fmla="*/ 296 w 776"/>
                  <a:gd name="T111" fmla="*/ 88 h 658"/>
                  <a:gd name="T112" fmla="*/ 338 w 776"/>
                  <a:gd name="T113" fmla="*/ 90 h 658"/>
                  <a:gd name="T114" fmla="*/ 378 w 776"/>
                  <a:gd name="T115" fmla="*/ 124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76" h="658">
                    <a:moveTo>
                      <a:pt x="404" y="424"/>
                    </a:moveTo>
                    <a:lnTo>
                      <a:pt x="404" y="424"/>
                    </a:lnTo>
                    <a:lnTo>
                      <a:pt x="410" y="446"/>
                    </a:lnTo>
                    <a:lnTo>
                      <a:pt x="414" y="460"/>
                    </a:lnTo>
                    <a:lnTo>
                      <a:pt x="416" y="466"/>
                    </a:lnTo>
                    <a:lnTo>
                      <a:pt x="414" y="468"/>
                    </a:lnTo>
                    <a:lnTo>
                      <a:pt x="414" y="468"/>
                    </a:lnTo>
                    <a:lnTo>
                      <a:pt x="408" y="474"/>
                    </a:lnTo>
                    <a:lnTo>
                      <a:pt x="398" y="486"/>
                    </a:lnTo>
                    <a:lnTo>
                      <a:pt x="386" y="504"/>
                    </a:lnTo>
                    <a:lnTo>
                      <a:pt x="420" y="558"/>
                    </a:lnTo>
                    <a:lnTo>
                      <a:pt x="474" y="536"/>
                    </a:lnTo>
                    <a:lnTo>
                      <a:pt x="502" y="558"/>
                    </a:lnTo>
                    <a:lnTo>
                      <a:pt x="506" y="606"/>
                    </a:lnTo>
                    <a:lnTo>
                      <a:pt x="570" y="616"/>
                    </a:lnTo>
                    <a:lnTo>
                      <a:pt x="590" y="572"/>
                    </a:lnTo>
                    <a:lnTo>
                      <a:pt x="620" y="566"/>
                    </a:lnTo>
                    <a:lnTo>
                      <a:pt x="664" y="590"/>
                    </a:lnTo>
                    <a:lnTo>
                      <a:pt x="712" y="558"/>
                    </a:lnTo>
                    <a:lnTo>
                      <a:pt x="698" y="512"/>
                    </a:lnTo>
                    <a:lnTo>
                      <a:pt x="712" y="484"/>
                    </a:lnTo>
                    <a:lnTo>
                      <a:pt x="766" y="472"/>
                    </a:lnTo>
                    <a:lnTo>
                      <a:pt x="776" y="406"/>
                    </a:lnTo>
                    <a:lnTo>
                      <a:pt x="728" y="384"/>
                    </a:lnTo>
                    <a:lnTo>
                      <a:pt x="724" y="352"/>
                    </a:lnTo>
                    <a:lnTo>
                      <a:pt x="750" y="314"/>
                    </a:lnTo>
                    <a:lnTo>
                      <a:pt x="712" y="258"/>
                    </a:lnTo>
                    <a:lnTo>
                      <a:pt x="662" y="276"/>
                    </a:lnTo>
                    <a:lnTo>
                      <a:pt x="634" y="258"/>
                    </a:lnTo>
                    <a:lnTo>
                      <a:pt x="628" y="214"/>
                    </a:lnTo>
                    <a:lnTo>
                      <a:pt x="564" y="206"/>
                    </a:lnTo>
                    <a:lnTo>
                      <a:pt x="542" y="248"/>
                    </a:lnTo>
                    <a:lnTo>
                      <a:pt x="512" y="258"/>
                    </a:lnTo>
                    <a:lnTo>
                      <a:pt x="472" y="230"/>
                    </a:lnTo>
                    <a:lnTo>
                      <a:pt x="420" y="258"/>
                    </a:lnTo>
                    <a:lnTo>
                      <a:pt x="436" y="304"/>
                    </a:lnTo>
                    <a:lnTo>
                      <a:pt x="416" y="336"/>
                    </a:lnTo>
                    <a:lnTo>
                      <a:pt x="370" y="344"/>
                    </a:lnTo>
                    <a:lnTo>
                      <a:pt x="362" y="410"/>
                    </a:lnTo>
                    <a:lnTo>
                      <a:pt x="404" y="424"/>
                    </a:lnTo>
                    <a:close/>
                    <a:moveTo>
                      <a:pt x="570" y="322"/>
                    </a:moveTo>
                    <a:lnTo>
                      <a:pt x="570" y="322"/>
                    </a:lnTo>
                    <a:lnTo>
                      <a:pt x="588" y="322"/>
                    </a:lnTo>
                    <a:lnTo>
                      <a:pt x="606" y="328"/>
                    </a:lnTo>
                    <a:lnTo>
                      <a:pt x="622" y="336"/>
                    </a:lnTo>
                    <a:lnTo>
                      <a:pt x="636" y="348"/>
                    </a:lnTo>
                    <a:lnTo>
                      <a:pt x="648" y="360"/>
                    </a:lnTo>
                    <a:lnTo>
                      <a:pt x="656" y="376"/>
                    </a:lnTo>
                    <a:lnTo>
                      <a:pt x="662" y="392"/>
                    </a:lnTo>
                    <a:lnTo>
                      <a:pt x="664" y="410"/>
                    </a:lnTo>
                    <a:lnTo>
                      <a:pt x="664" y="410"/>
                    </a:lnTo>
                    <a:lnTo>
                      <a:pt x="662" y="428"/>
                    </a:lnTo>
                    <a:lnTo>
                      <a:pt x="656" y="446"/>
                    </a:lnTo>
                    <a:lnTo>
                      <a:pt x="648" y="460"/>
                    </a:lnTo>
                    <a:lnTo>
                      <a:pt x="636" y="474"/>
                    </a:lnTo>
                    <a:lnTo>
                      <a:pt x="622" y="484"/>
                    </a:lnTo>
                    <a:lnTo>
                      <a:pt x="606" y="492"/>
                    </a:lnTo>
                    <a:lnTo>
                      <a:pt x="588" y="498"/>
                    </a:lnTo>
                    <a:lnTo>
                      <a:pt x="570" y="500"/>
                    </a:lnTo>
                    <a:lnTo>
                      <a:pt x="570" y="500"/>
                    </a:lnTo>
                    <a:lnTo>
                      <a:pt x="550" y="498"/>
                    </a:lnTo>
                    <a:lnTo>
                      <a:pt x="532" y="492"/>
                    </a:lnTo>
                    <a:lnTo>
                      <a:pt x="516" y="484"/>
                    </a:lnTo>
                    <a:lnTo>
                      <a:pt x="502" y="474"/>
                    </a:lnTo>
                    <a:lnTo>
                      <a:pt x="492" y="460"/>
                    </a:lnTo>
                    <a:lnTo>
                      <a:pt x="482" y="446"/>
                    </a:lnTo>
                    <a:lnTo>
                      <a:pt x="478" y="428"/>
                    </a:lnTo>
                    <a:lnTo>
                      <a:pt x="476" y="410"/>
                    </a:lnTo>
                    <a:lnTo>
                      <a:pt x="476" y="410"/>
                    </a:lnTo>
                    <a:lnTo>
                      <a:pt x="478" y="392"/>
                    </a:lnTo>
                    <a:lnTo>
                      <a:pt x="482" y="376"/>
                    </a:lnTo>
                    <a:lnTo>
                      <a:pt x="492" y="360"/>
                    </a:lnTo>
                    <a:lnTo>
                      <a:pt x="502" y="348"/>
                    </a:lnTo>
                    <a:lnTo>
                      <a:pt x="516" y="336"/>
                    </a:lnTo>
                    <a:lnTo>
                      <a:pt x="532" y="328"/>
                    </a:lnTo>
                    <a:lnTo>
                      <a:pt x="550" y="322"/>
                    </a:lnTo>
                    <a:lnTo>
                      <a:pt x="570" y="322"/>
                    </a:lnTo>
                    <a:lnTo>
                      <a:pt x="570" y="322"/>
                    </a:lnTo>
                    <a:close/>
                    <a:moveTo>
                      <a:pt x="310" y="610"/>
                    </a:moveTo>
                    <a:lnTo>
                      <a:pt x="346" y="566"/>
                    </a:lnTo>
                    <a:lnTo>
                      <a:pt x="324" y="528"/>
                    </a:lnTo>
                    <a:lnTo>
                      <a:pt x="342" y="504"/>
                    </a:lnTo>
                    <a:lnTo>
                      <a:pt x="382" y="480"/>
                    </a:lnTo>
                    <a:lnTo>
                      <a:pt x="370" y="428"/>
                    </a:lnTo>
                    <a:lnTo>
                      <a:pt x="328" y="418"/>
                    </a:lnTo>
                    <a:lnTo>
                      <a:pt x="316" y="392"/>
                    </a:lnTo>
                    <a:lnTo>
                      <a:pt x="332" y="350"/>
                    </a:lnTo>
                    <a:lnTo>
                      <a:pt x="288" y="312"/>
                    </a:lnTo>
                    <a:lnTo>
                      <a:pt x="254" y="332"/>
                    </a:lnTo>
                    <a:lnTo>
                      <a:pt x="224" y="324"/>
                    </a:lnTo>
                    <a:lnTo>
                      <a:pt x="210" y="280"/>
                    </a:lnTo>
                    <a:lnTo>
                      <a:pt x="148" y="286"/>
                    </a:lnTo>
                    <a:lnTo>
                      <a:pt x="136" y="328"/>
                    </a:lnTo>
                    <a:lnTo>
                      <a:pt x="112" y="344"/>
                    </a:lnTo>
                    <a:lnTo>
                      <a:pt x="68" y="322"/>
                    </a:lnTo>
                    <a:lnTo>
                      <a:pt x="28" y="370"/>
                    </a:lnTo>
                    <a:lnTo>
                      <a:pt x="52" y="412"/>
                    </a:lnTo>
                    <a:lnTo>
                      <a:pt x="40" y="438"/>
                    </a:lnTo>
                    <a:lnTo>
                      <a:pt x="0" y="456"/>
                    </a:lnTo>
                    <a:lnTo>
                      <a:pt x="6" y="510"/>
                    </a:lnTo>
                    <a:lnTo>
                      <a:pt x="50" y="526"/>
                    </a:lnTo>
                    <a:lnTo>
                      <a:pt x="62" y="550"/>
                    </a:lnTo>
                    <a:lnTo>
                      <a:pt x="44" y="588"/>
                    </a:lnTo>
                    <a:lnTo>
                      <a:pt x="88" y="628"/>
                    </a:lnTo>
                    <a:lnTo>
                      <a:pt x="126" y="602"/>
                    </a:lnTo>
                    <a:lnTo>
                      <a:pt x="156" y="606"/>
                    </a:lnTo>
                    <a:lnTo>
                      <a:pt x="174" y="658"/>
                    </a:lnTo>
                    <a:lnTo>
                      <a:pt x="230" y="650"/>
                    </a:lnTo>
                    <a:lnTo>
                      <a:pt x="230" y="650"/>
                    </a:lnTo>
                    <a:lnTo>
                      <a:pt x="236" y="630"/>
                    </a:lnTo>
                    <a:lnTo>
                      <a:pt x="238" y="616"/>
                    </a:lnTo>
                    <a:lnTo>
                      <a:pt x="238" y="608"/>
                    </a:lnTo>
                    <a:lnTo>
                      <a:pt x="238" y="608"/>
                    </a:lnTo>
                    <a:lnTo>
                      <a:pt x="240" y="606"/>
                    </a:lnTo>
                    <a:lnTo>
                      <a:pt x="242" y="604"/>
                    </a:lnTo>
                    <a:lnTo>
                      <a:pt x="254" y="598"/>
                    </a:lnTo>
                    <a:lnTo>
                      <a:pt x="270" y="592"/>
                    </a:lnTo>
                    <a:lnTo>
                      <a:pt x="310" y="610"/>
                    </a:lnTo>
                    <a:close/>
                    <a:moveTo>
                      <a:pt x="242" y="532"/>
                    </a:moveTo>
                    <a:lnTo>
                      <a:pt x="242" y="532"/>
                    </a:lnTo>
                    <a:lnTo>
                      <a:pt x="228" y="542"/>
                    </a:lnTo>
                    <a:lnTo>
                      <a:pt x="214" y="548"/>
                    </a:lnTo>
                    <a:lnTo>
                      <a:pt x="198" y="552"/>
                    </a:lnTo>
                    <a:lnTo>
                      <a:pt x="182" y="552"/>
                    </a:lnTo>
                    <a:lnTo>
                      <a:pt x="166" y="548"/>
                    </a:lnTo>
                    <a:lnTo>
                      <a:pt x="150" y="542"/>
                    </a:lnTo>
                    <a:lnTo>
                      <a:pt x="136" y="532"/>
                    </a:lnTo>
                    <a:lnTo>
                      <a:pt x="124" y="520"/>
                    </a:lnTo>
                    <a:lnTo>
                      <a:pt x="124" y="520"/>
                    </a:lnTo>
                    <a:lnTo>
                      <a:pt x="114" y="506"/>
                    </a:lnTo>
                    <a:lnTo>
                      <a:pt x="108" y="492"/>
                    </a:lnTo>
                    <a:lnTo>
                      <a:pt x="104" y="476"/>
                    </a:lnTo>
                    <a:lnTo>
                      <a:pt x="104" y="460"/>
                    </a:lnTo>
                    <a:lnTo>
                      <a:pt x="106" y="444"/>
                    </a:lnTo>
                    <a:lnTo>
                      <a:pt x="112" y="430"/>
                    </a:lnTo>
                    <a:lnTo>
                      <a:pt x="120" y="416"/>
                    </a:lnTo>
                    <a:lnTo>
                      <a:pt x="132" y="404"/>
                    </a:lnTo>
                    <a:lnTo>
                      <a:pt x="132" y="404"/>
                    </a:lnTo>
                    <a:lnTo>
                      <a:pt x="144" y="394"/>
                    </a:lnTo>
                    <a:lnTo>
                      <a:pt x="160" y="388"/>
                    </a:lnTo>
                    <a:lnTo>
                      <a:pt x="176" y="384"/>
                    </a:lnTo>
                    <a:lnTo>
                      <a:pt x="192" y="384"/>
                    </a:lnTo>
                    <a:lnTo>
                      <a:pt x="208" y="388"/>
                    </a:lnTo>
                    <a:lnTo>
                      <a:pt x="222" y="394"/>
                    </a:lnTo>
                    <a:lnTo>
                      <a:pt x="236" y="404"/>
                    </a:lnTo>
                    <a:lnTo>
                      <a:pt x="250" y="416"/>
                    </a:lnTo>
                    <a:lnTo>
                      <a:pt x="250" y="416"/>
                    </a:lnTo>
                    <a:lnTo>
                      <a:pt x="258" y="430"/>
                    </a:lnTo>
                    <a:lnTo>
                      <a:pt x="266" y="444"/>
                    </a:lnTo>
                    <a:lnTo>
                      <a:pt x="270" y="460"/>
                    </a:lnTo>
                    <a:lnTo>
                      <a:pt x="270" y="476"/>
                    </a:lnTo>
                    <a:lnTo>
                      <a:pt x="268" y="492"/>
                    </a:lnTo>
                    <a:lnTo>
                      <a:pt x="262" y="506"/>
                    </a:lnTo>
                    <a:lnTo>
                      <a:pt x="254" y="520"/>
                    </a:lnTo>
                    <a:lnTo>
                      <a:pt x="242" y="532"/>
                    </a:lnTo>
                    <a:lnTo>
                      <a:pt x="242" y="532"/>
                    </a:lnTo>
                    <a:close/>
                    <a:moveTo>
                      <a:pt x="468" y="116"/>
                    </a:moveTo>
                    <a:lnTo>
                      <a:pt x="450" y="72"/>
                    </a:lnTo>
                    <a:lnTo>
                      <a:pt x="412" y="74"/>
                    </a:lnTo>
                    <a:lnTo>
                      <a:pt x="398" y="52"/>
                    </a:lnTo>
                    <a:lnTo>
                      <a:pt x="396" y="12"/>
                    </a:lnTo>
                    <a:lnTo>
                      <a:pt x="352" y="2"/>
                    </a:lnTo>
                    <a:lnTo>
                      <a:pt x="328" y="30"/>
                    </a:lnTo>
                    <a:lnTo>
                      <a:pt x="304" y="28"/>
                    </a:lnTo>
                    <a:lnTo>
                      <a:pt x="278" y="0"/>
                    </a:lnTo>
                    <a:lnTo>
                      <a:pt x="232" y="18"/>
                    </a:lnTo>
                    <a:lnTo>
                      <a:pt x="236" y="52"/>
                    </a:lnTo>
                    <a:lnTo>
                      <a:pt x="218" y="72"/>
                    </a:lnTo>
                    <a:lnTo>
                      <a:pt x="178" y="66"/>
                    </a:lnTo>
                    <a:lnTo>
                      <a:pt x="160" y="116"/>
                    </a:lnTo>
                    <a:lnTo>
                      <a:pt x="186" y="140"/>
                    </a:lnTo>
                    <a:lnTo>
                      <a:pt x="190" y="164"/>
                    </a:lnTo>
                    <a:lnTo>
                      <a:pt x="156" y="190"/>
                    </a:lnTo>
                    <a:lnTo>
                      <a:pt x="178" y="238"/>
                    </a:lnTo>
                    <a:lnTo>
                      <a:pt x="220" y="236"/>
                    </a:lnTo>
                    <a:lnTo>
                      <a:pt x="236" y="254"/>
                    </a:lnTo>
                    <a:lnTo>
                      <a:pt x="234" y="290"/>
                    </a:lnTo>
                    <a:lnTo>
                      <a:pt x="276" y="306"/>
                    </a:lnTo>
                    <a:lnTo>
                      <a:pt x="304" y="280"/>
                    </a:lnTo>
                    <a:lnTo>
                      <a:pt x="328" y="280"/>
                    </a:lnTo>
                    <a:lnTo>
                      <a:pt x="350" y="308"/>
                    </a:lnTo>
                    <a:lnTo>
                      <a:pt x="398" y="288"/>
                    </a:lnTo>
                    <a:lnTo>
                      <a:pt x="392" y="252"/>
                    </a:lnTo>
                    <a:lnTo>
                      <a:pt x="408" y="230"/>
                    </a:lnTo>
                    <a:lnTo>
                      <a:pt x="454" y="236"/>
                    </a:lnTo>
                    <a:lnTo>
                      <a:pt x="468" y="190"/>
                    </a:lnTo>
                    <a:lnTo>
                      <a:pt x="468" y="190"/>
                    </a:lnTo>
                    <a:lnTo>
                      <a:pt x="456" y="180"/>
                    </a:lnTo>
                    <a:lnTo>
                      <a:pt x="446" y="172"/>
                    </a:lnTo>
                    <a:lnTo>
                      <a:pt x="440" y="168"/>
                    </a:lnTo>
                    <a:lnTo>
                      <a:pt x="440" y="168"/>
                    </a:lnTo>
                    <a:lnTo>
                      <a:pt x="438" y="168"/>
                    </a:lnTo>
                    <a:lnTo>
                      <a:pt x="438" y="164"/>
                    </a:lnTo>
                    <a:lnTo>
                      <a:pt x="438" y="154"/>
                    </a:lnTo>
                    <a:lnTo>
                      <a:pt x="440" y="138"/>
                    </a:lnTo>
                    <a:lnTo>
                      <a:pt x="468" y="116"/>
                    </a:lnTo>
                    <a:close/>
                    <a:moveTo>
                      <a:pt x="384" y="138"/>
                    </a:moveTo>
                    <a:lnTo>
                      <a:pt x="384" y="138"/>
                    </a:lnTo>
                    <a:lnTo>
                      <a:pt x="386" y="150"/>
                    </a:lnTo>
                    <a:lnTo>
                      <a:pt x="384" y="164"/>
                    </a:lnTo>
                    <a:lnTo>
                      <a:pt x="380" y="178"/>
                    </a:lnTo>
                    <a:lnTo>
                      <a:pt x="374" y="190"/>
                    </a:lnTo>
                    <a:lnTo>
                      <a:pt x="366" y="200"/>
                    </a:lnTo>
                    <a:lnTo>
                      <a:pt x="356" y="210"/>
                    </a:lnTo>
                    <a:lnTo>
                      <a:pt x="344" y="216"/>
                    </a:lnTo>
                    <a:lnTo>
                      <a:pt x="330" y="222"/>
                    </a:lnTo>
                    <a:lnTo>
                      <a:pt x="330" y="222"/>
                    </a:lnTo>
                    <a:lnTo>
                      <a:pt x="316" y="224"/>
                    </a:lnTo>
                    <a:lnTo>
                      <a:pt x="302" y="224"/>
                    </a:lnTo>
                    <a:lnTo>
                      <a:pt x="288" y="220"/>
                    </a:lnTo>
                    <a:lnTo>
                      <a:pt x="276" y="214"/>
                    </a:lnTo>
                    <a:lnTo>
                      <a:pt x="264" y="206"/>
                    </a:lnTo>
                    <a:lnTo>
                      <a:pt x="254" y="196"/>
                    </a:lnTo>
                    <a:lnTo>
                      <a:pt x="248" y="186"/>
                    </a:lnTo>
                    <a:lnTo>
                      <a:pt x="242" y="172"/>
                    </a:lnTo>
                    <a:lnTo>
                      <a:pt x="242" y="172"/>
                    </a:lnTo>
                    <a:lnTo>
                      <a:pt x="240" y="158"/>
                    </a:lnTo>
                    <a:lnTo>
                      <a:pt x="242" y="144"/>
                    </a:lnTo>
                    <a:lnTo>
                      <a:pt x="246" y="132"/>
                    </a:lnTo>
                    <a:lnTo>
                      <a:pt x="252" y="120"/>
                    </a:lnTo>
                    <a:lnTo>
                      <a:pt x="260" y="108"/>
                    </a:lnTo>
                    <a:lnTo>
                      <a:pt x="270" y="100"/>
                    </a:lnTo>
                    <a:lnTo>
                      <a:pt x="282" y="92"/>
                    </a:lnTo>
                    <a:lnTo>
                      <a:pt x="296" y="88"/>
                    </a:lnTo>
                    <a:lnTo>
                      <a:pt x="296" y="88"/>
                    </a:lnTo>
                    <a:lnTo>
                      <a:pt x="310" y="86"/>
                    </a:lnTo>
                    <a:lnTo>
                      <a:pt x="324" y="86"/>
                    </a:lnTo>
                    <a:lnTo>
                      <a:pt x="338" y="90"/>
                    </a:lnTo>
                    <a:lnTo>
                      <a:pt x="350" y="94"/>
                    </a:lnTo>
                    <a:lnTo>
                      <a:pt x="362" y="102"/>
                    </a:lnTo>
                    <a:lnTo>
                      <a:pt x="372" y="112"/>
                    </a:lnTo>
                    <a:lnTo>
                      <a:pt x="378" y="124"/>
                    </a:lnTo>
                    <a:lnTo>
                      <a:pt x="384" y="138"/>
                    </a:lnTo>
                    <a:lnTo>
                      <a:pt x="384" y="138"/>
                    </a:lnTo>
                    <a:close/>
                  </a:path>
                </a:pathLst>
              </a:custGeom>
              <a:solidFill>
                <a:srgbClr val="D0247B"/>
              </a:solidFill>
              <a:ln>
                <a:noFill/>
              </a:ln>
            </p:spPr>
            <p:txBody>
              <a:bodyPr vert="horz" wrap="square" lIns="91440" tIns="45720" rIns="91440" bIns="45720" numCol="1" anchor="t" anchorCtr="0" compatLnSpc="1">
                <a:prstTxWarp prst="textNoShape">
                  <a:avLst/>
                </a:prstTxWarp>
              </a:bodyPr>
              <a:lstStyle/>
              <a:p>
                <a:pPr marL="0" marR="0" lvl="0" indent="0" defTabSz="45720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S PGothic" pitchFamily="34" charset="-128"/>
                  <a:cs typeface="Arial" panose="020B0604020202020204" pitchFamily="34" charset="0"/>
                </a:endParaRPr>
              </a:p>
            </p:txBody>
          </p:sp>
          <p:sp>
            <p:nvSpPr>
              <p:cNvPr id="132" name="TextBox 131">
                <a:extLst>
                  <a:ext uri="{FF2B5EF4-FFF2-40B4-BE49-F238E27FC236}">
                    <a16:creationId xmlns:a16="http://schemas.microsoft.com/office/drawing/2014/main" xmlns="" id="{AE42C624-7713-4356-940C-52EEFF96CE2D}"/>
                  </a:ext>
                </a:extLst>
              </p:cNvPr>
              <p:cNvSpPr txBox="1"/>
              <p:nvPr/>
            </p:nvSpPr>
            <p:spPr>
              <a:xfrm>
                <a:off x="7033425" y="4933247"/>
                <a:ext cx="912893" cy="600164"/>
              </a:xfrm>
              <a:prstGeom prst="rect">
                <a:avLst/>
              </a:prstGeom>
              <a:noFill/>
            </p:spPr>
            <p:txBody>
              <a:bodyPr wrap="square" rtlCol="0">
                <a:spAutoFit/>
              </a:bodyP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a:ea typeface="MS PGothic" pitchFamily="34" charset="-128"/>
                    <a:cs typeface="Arial" panose="020B0604020202020204" pitchFamily="34" charset="0"/>
                  </a:rPr>
                  <a:t>Realtime scenario simulation</a:t>
                </a:r>
              </a:p>
            </p:txBody>
          </p:sp>
        </p:grpSp>
        <p:sp>
          <p:nvSpPr>
            <p:cNvPr id="90" name="Rectangle 89">
              <a:extLst>
                <a:ext uri="{FF2B5EF4-FFF2-40B4-BE49-F238E27FC236}">
                  <a16:creationId xmlns:a16="http://schemas.microsoft.com/office/drawing/2014/main" xmlns="" id="{CAC0B8DC-4BAD-427A-9592-D63BFCB34B2C}"/>
                </a:ext>
              </a:extLst>
            </p:cNvPr>
            <p:cNvSpPr/>
            <p:nvPr/>
          </p:nvSpPr>
          <p:spPr>
            <a:xfrm>
              <a:off x="6159333" y="3140172"/>
              <a:ext cx="2166811" cy="1331128"/>
            </a:xfrm>
            <a:prstGeom prst="rect">
              <a:avLst/>
            </a:prstGeom>
            <a:noFill/>
            <a:ln w="9525" cap="flat" cmpd="sng" algn="ctr">
              <a:solidFill>
                <a:srgbClr val="5E5E5E">
                  <a:lumMod val="75000"/>
                </a:srgbClr>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grpSp>
          <p:nvGrpSpPr>
            <p:cNvPr id="91" name="Group 90">
              <a:extLst>
                <a:ext uri="{FF2B5EF4-FFF2-40B4-BE49-F238E27FC236}">
                  <a16:creationId xmlns:a16="http://schemas.microsoft.com/office/drawing/2014/main" xmlns="" id="{EED731FA-ABF6-48A1-9F25-DD002AC2DE10}"/>
                </a:ext>
              </a:extLst>
            </p:cNvPr>
            <p:cNvGrpSpPr/>
            <p:nvPr/>
          </p:nvGrpSpPr>
          <p:grpSpPr>
            <a:xfrm>
              <a:off x="4644912" y="3349040"/>
              <a:ext cx="471365" cy="911473"/>
              <a:chOff x="4671894" y="2615841"/>
              <a:chExt cx="521351" cy="872942"/>
            </a:xfrm>
          </p:grpSpPr>
          <p:sp>
            <p:nvSpPr>
              <p:cNvPr id="115" name="Rectangle 114">
                <a:extLst>
                  <a:ext uri="{FF2B5EF4-FFF2-40B4-BE49-F238E27FC236}">
                    <a16:creationId xmlns:a16="http://schemas.microsoft.com/office/drawing/2014/main" xmlns="" id="{D24172D1-2750-43FD-BE51-B53B3AF65335}"/>
                  </a:ext>
                </a:extLst>
              </p:cNvPr>
              <p:cNvSpPr/>
              <p:nvPr/>
            </p:nvSpPr>
            <p:spPr>
              <a:xfrm>
                <a:off x="4695950" y="2615841"/>
                <a:ext cx="489738" cy="872942"/>
              </a:xfrm>
              <a:prstGeom prst="rect">
                <a:avLst/>
              </a:prstGeom>
              <a:solidFill>
                <a:sysClr val="window" lastClr="FFFFFF">
                  <a:lumMod val="95000"/>
                </a:sysClr>
              </a:solidFill>
              <a:ln w="9525" cap="flat" cmpd="sng" algn="ctr">
                <a:solidFill>
                  <a:sysClr val="window" lastClr="FFFFFF">
                    <a:lumMod val="9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116" name="Content Placeholder 1">
                <a:extLst>
                  <a:ext uri="{FF2B5EF4-FFF2-40B4-BE49-F238E27FC236}">
                    <a16:creationId xmlns:a16="http://schemas.microsoft.com/office/drawing/2014/main" xmlns="" id="{87D36D44-4F4E-445C-98E7-E7F3709287B3}"/>
                  </a:ext>
                </a:extLst>
              </p:cNvPr>
              <p:cNvSpPr txBox="1">
                <a:spLocks/>
              </p:cNvSpPr>
              <p:nvPr/>
            </p:nvSpPr>
            <p:spPr bwMode="gray">
              <a:xfrm>
                <a:off x="4671894" y="3187421"/>
                <a:ext cx="521351" cy="176860"/>
              </a:xfrm>
              <a:prstGeom prst="rect">
                <a:avLst/>
              </a:prstGeom>
            </p:spPr>
            <p:txBody>
              <a:bodyPr wrap="squar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ts val="200"/>
                  </a:spcBef>
                  <a:spcAft>
                    <a:spcPct val="0"/>
                  </a:spcAft>
                  <a:buClr>
                    <a:srgbClr val="2F82BF"/>
                  </a:buClr>
                  <a:buSzPct val="120000"/>
                  <a:buFont typeface="Lucida Grande"/>
                  <a:buNone/>
                  <a:tabLst/>
                  <a:defRPr/>
                </a:pPr>
                <a:r>
                  <a:rPr kumimoji="0" lang="en-US" sz="1200" b="0" i="0" u="none" strike="noStrike" kern="1200" cap="none" spc="0" normalizeH="0" baseline="0" noProof="0" dirty="0">
                    <a:ln>
                      <a:noFill/>
                    </a:ln>
                    <a:solidFill>
                      <a:prstClr val="black"/>
                    </a:solidFill>
                    <a:effectLst/>
                    <a:uLnTx/>
                    <a:uFillTx/>
                    <a:latin typeface="Calibri"/>
                    <a:ea typeface="MS PGothic" pitchFamily="34" charset="-128"/>
                    <a:cs typeface="Calibri"/>
                  </a:rPr>
                  <a:t>VBL</a:t>
                </a:r>
              </a:p>
            </p:txBody>
          </p:sp>
          <p:sp>
            <p:nvSpPr>
              <p:cNvPr id="117" name="Freeform 41">
                <a:extLst>
                  <a:ext uri="{FF2B5EF4-FFF2-40B4-BE49-F238E27FC236}">
                    <a16:creationId xmlns:a16="http://schemas.microsoft.com/office/drawing/2014/main" xmlns="" id="{6A6BE9C7-A7D1-4E7B-9C50-5C115B4B6531}"/>
                  </a:ext>
                </a:extLst>
              </p:cNvPr>
              <p:cNvSpPr>
                <a:spLocks noEditPoints="1"/>
              </p:cNvSpPr>
              <p:nvPr/>
            </p:nvSpPr>
            <p:spPr bwMode="auto">
              <a:xfrm>
                <a:off x="4810802" y="2712298"/>
                <a:ext cx="286726" cy="378665"/>
              </a:xfrm>
              <a:custGeom>
                <a:avLst/>
                <a:gdLst>
                  <a:gd name="T0" fmla="*/ 809 w 3209"/>
                  <a:gd name="T1" fmla="*/ 1707 h 3262"/>
                  <a:gd name="T2" fmla="*/ 724 w 3209"/>
                  <a:gd name="T3" fmla="*/ 1728 h 3262"/>
                  <a:gd name="T4" fmla="*/ 649 w 3209"/>
                  <a:gd name="T5" fmla="*/ 1769 h 3262"/>
                  <a:gd name="T6" fmla="*/ 586 w 3209"/>
                  <a:gd name="T7" fmla="*/ 1826 h 3262"/>
                  <a:gd name="T8" fmla="*/ 536 w 3209"/>
                  <a:gd name="T9" fmla="*/ 1896 h 3262"/>
                  <a:gd name="T10" fmla="*/ 506 w 3209"/>
                  <a:gd name="T11" fmla="*/ 1977 h 3262"/>
                  <a:gd name="T12" fmla="*/ 494 w 3209"/>
                  <a:gd name="T13" fmla="*/ 2066 h 3262"/>
                  <a:gd name="T14" fmla="*/ 506 w 3209"/>
                  <a:gd name="T15" fmla="*/ 2155 h 3262"/>
                  <a:gd name="T16" fmla="*/ 536 w 3209"/>
                  <a:gd name="T17" fmla="*/ 2236 h 3262"/>
                  <a:gd name="T18" fmla="*/ 586 w 3209"/>
                  <a:gd name="T19" fmla="*/ 2306 h 3262"/>
                  <a:gd name="T20" fmla="*/ 649 w 3209"/>
                  <a:gd name="T21" fmla="*/ 2363 h 3262"/>
                  <a:gd name="T22" fmla="*/ 724 w 3209"/>
                  <a:gd name="T23" fmla="*/ 2404 h 3262"/>
                  <a:gd name="T24" fmla="*/ 809 w 3209"/>
                  <a:gd name="T25" fmla="*/ 2425 h 3262"/>
                  <a:gd name="T26" fmla="*/ 899 w 3209"/>
                  <a:gd name="T27" fmla="*/ 2425 h 3262"/>
                  <a:gd name="T28" fmla="*/ 985 w 3209"/>
                  <a:gd name="T29" fmla="*/ 2404 h 3262"/>
                  <a:gd name="T30" fmla="*/ 1060 w 3209"/>
                  <a:gd name="T31" fmla="*/ 2363 h 3262"/>
                  <a:gd name="T32" fmla="*/ 1124 w 3209"/>
                  <a:gd name="T33" fmla="*/ 2306 h 3262"/>
                  <a:gd name="T34" fmla="*/ 1172 w 3209"/>
                  <a:gd name="T35" fmla="*/ 2236 h 3262"/>
                  <a:gd name="T36" fmla="*/ 1204 w 3209"/>
                  <a:gd name="T37" fmla="*/ 2155 h 3262"/>
                  <a:gd name="T38" fmla="*/ 1214 w 3209"/>
                  <a:gd name="T39" fmla="*/ 2066 h 3262"/>
                  <a:gd name="T40" fmla="*/ 1204 w 3209"/>
                  <a:gd name="T41" fmla="*/ 1977 h 3262"/>
                  <a:gd name="T42" fmla="*/ 1172 w 3209"/>
                  <a:gd name="T43" fmla="*/ 1896 h 3262"/>
                  <a:gd name="T44" fmla="*/ 1124 w 3209"/>
                  <a:gd name="T45" fmla="*/ 1826 h 3262"/>
                  <a:gd name="T46" fmla="*/ 1060 w 3209"/>
                  <a:gd name="T47" fmla="*/ 1769 h 3262"/>
                  <a:gd name="T48" fmla="*/ 985 w 3209"/>
                  <a:gd name="T49" fmla="*/ 1728 h 3262"/>
                  <a:gd name="T50" fmla="*/ 899 w 3209"/>
                  <a:gd name="T51" fmla="*/ 1707 h 3262"/>
                  <a:gd name="T52" fmla="*/ 245 w 3209"/>
                  <a:gd name="T53" fmla="*/ 761 h 3262"/>
                  <a:gd name="T54" fmla="*/ 219 w 3209"/>
                  <a:gd name="T55" fmla="*/ 771 h 3262"/>
                  <a:gd name="T56" fmla="*/ 210 w 3209"/>
                  <a:gd name="T57" fmla="*/ 796 h 3262"/>
                  <a:gd name="T58" fmla="*/ 212 w 3209"/>
                  <a:gd name="T59" fmla="*/ 1078 h 3262"/>
                  <a:gd name="T60" fmla="*/ 231 w 3209"/>
                  <a:gd name="T61" fmla="*/ 1098 h 3262"/>
                  <a:gd name="T62" fmla="*/ 1410 w 3209"/>
                  <a:gd name="T63" fmla="*/ 1100 h 3262"/>
                  <a:gd name="T64" fmla="*/ 1435 w 3209"/>
                  <a:gd name="T65" fmla="*/ 1090 h 3262"/>
                  <a:gd name="T66" fmla="*/ 1445 w 3209"/>
                  <a:gd name="T67" fmla="*/ 1065 h 3262"/>
                  <a:gd name="T68" fmla="*/ 1442 w 3209"/>
                  <a:gd name="T69" fmla="*/ 783 h 3262"/>
                  <a:gd name="T70" fmla="*/ 1424 w 3209"/>
                  <a:gd name="T71" fmla="*/ 764 h 3262"/>
                  <a:gd name="T72" fmla="*/ 245 w 3209"/>
                  <a:gd name="T73" fmla="*/ 761 h 3262"/>
                  <a:gd name="T74" fmla="*/ 210 w 3209"/>
                  <a:gd name="T75" fmla="*/ 664 h 3262"/>
                  <a:gd name="T76" fmla="*/ 1445 w 3209"/>
                  <a:gd name="T77" fmla="*/ 325 h 3262"/>
                  <a:gd name="T78" fmla="*/ 1728 w 3209"/>
                  <a:gd name="T79" fmla="*/ 86 h 3262"/>
                  <a:gd name="T80" fmla="*/ 3139 w 3209"/>
                  <a:gd name="T81" fmla="*/ 2913 h 3262"/>
                  <a:gd name="T82" fmla="*/ 1728 w 3209"/>
                  <a:gd name="T83" fmla="*/ 86 h 3262"/>
                  <a:gd name="T84" fmla="*/ 1706 w 3209"/>
                  <a:gd name="T85" fmla="*/ 2 h 3262"/>
                  <a:gd name="T86" fmla="*/ 3199 w 3209"/>
                  <a:gd name="T87" fmla="*/ 591 h 3262"/>
                  <a:gd name="T88" fmla="*/ 3209 w 3209"/>
                  <a:gd name="T89" fmla="*/ 615 h 3262"/>
                  <a:gd name="T90" fmla="*/ 3207 w 3209"/>
                  <a:gd name="T91" fmla="*/ 2955 h 3262"/>
                  <a:gd name="T92" fmla="*/ 3193 w 3209"/>
                  <a:gd name="T93" fmla="*/ 2972 h 3262"/>
                  <a:gd name="T94" fmla="*/ 1699 w 3209"/>
                  <a:gd name="T95" fmla="*/ 3261 h 3262"/>
                  <a:gd name="T96" fmla="*/ 1693 w 3209"/>
                  <a:gd name="T97" fmla="*/ 3262 h 3262"/>
                  <a:gd name="T98" fmla="*/ 1682 w 3209"/>
                  <a:gd name="T99" fmla="*/ 3260 h 3262"/>
                  <a:gd name="T100" fmla="*/ 1677 w 3209"/>
                  <a:gd name="T101" fmla="*/ 3261 h 3262"/>
                  <a:gd name="T102" fmla="*/ 35 w 3209"/>
                  <a:gd name="T103" fmla="*/ 3261 h 3262"/>
                  <a:gd name="T104" fmla="*/ 10 w 3209"/>
                  <a:gd name="T105" fmla="*/ 3250 h 3262"/>
                  <a:gd name="T106" fmla="*/ 0 w 3209"/>
                  <a:gd name="T107" fmla="*/ 3226 h 3262"/>
                  <a:gd name="T108" fmla="*/ 3 w 3209"/>
                  <a:gd name="T109" fmla="*/ 23 h 3262"/>
                  <a:gd name="T110" fmla="*/ 22 w 3209"/>
                  <a:gd name="T111" fmla="*/ 4 h 3262"/>
                  <a:gd name="T112" fmla="*/ 1674 w 3209"/>
                  <a:gd name="T113" fmla="*/ 2 h 3262"/>
                  <a:gd name="T114" fmla="*/ 1679 w 3209"/>
                  <a:gd name="T115" fmla="*/ 2 h 3262"/>
                  <a:gd name="T116" fmla="*/ 1693 w 3209"/>
                  <a:gd name="T117" fmla="*/ 0 h 3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9" h="3262">
                    <a:moveTo>
                      <a:pt x="854" y="1704"/>
                    </a:moveTo>
                    <a:lnTo>
                      <a:pt x="809" y="1707"/>
                    </a:lnTo>
                    <a:lnTo>
                      <a:pt x="766" y="1715"/>
                    </a:lnTo>
                    <a:lnTo>
                      <a:pt x="724" y="1728"/>
                    </a:lnTo>
                    <a:lnTo>
                      <a:pt x="685" y="1746"/>
                    </a:lnTo>
                    <a:lnTo>
                      <a:pt x="649" y="1769"/>
                    </a:lnTo>
                    <a:lnTo>
                      <a:pt x="615" y="1795"/>
                    </a:lnTo>
                    <a:lnTo>
                      <a:pt x="586" y="1826"/>
                    </a:lnTo>
                    <a:lnTo>
                      <a:pt x="559" y="1859"/>
                    </a:lnTo>
                    <a:lnTo>
                      <a:pt x="536" y="1896"/>
                    </a:lnTo>
                    <a:lnTo>
                      <a:pt x="519" y="1935"/>
                    </a:lnTo>
                    <a:lnTo>
                      <a:pt x="506" y="1977"/>
                    </a:lnTo>
                    <a:lnTo>
                      <a:pt x="497" y="2021"/>
                    </a:lnTo>
                    <a:lnTo>
                      <a:pt x="494" y="2066"/>
                    </a:lnTo>
                    <a:lnTo>
                      <a:pt x="497" y="2111"/>
                    </a:lnTo>
                    <a:lnTo>
                      <a:pt x="506" y="2155"/>
                    </a:lnTo>
                    <a:lnTo>
                      <a:pt x="519" y="2197"/>
                    </a:lnTo>
                    <a:lnTo>
                      <a:pt x="536" y="2236"/>
                    </a:lnTo>
                    <a:lnTo>
                      <a:pt x="559" y="2273"/>
                    </a:lnTo>
                    <a:lnTo>
                      <a:pt x="586" y="2306"/>
                    </a:lnTo>
                    <a:lnTo>
                      <a:pt x="615" y="2337"/>
                    </a:lnTo>
                    <a:lnTo>
                      <a:pt x="649" y="2363"/>
                    </a:lnTo>
                    <a:lnTo>
                      <a:pt x="685" y="2386"/>
                    </a:lnTo>
                    <a:lnTo>
                      <a:pt x="724" y="2404"/>
                    </a:lnTo>
                    <a:lnTo>
                      <a:pt x="766" y="2416"/>
                    </a:lnTo>
                    <a:lnTo>
                      <a:pt x="809" y="2425"/>
                    </a:lnTo>
                    <a:lnTo>
                      <a:pt x="854" y="2428"/>
                    </a:lnTo>
                    <a:lnTo>
                      <a:pt x="899" y="2425"/>
                    </a:lnTo>
                    <a:lnTo>
                      <a:pt x="944" y="2416"/>
                    </a:lnTo>
                    <a:lnTo>
                      <a:pt x="985" y="2404"/>
                    </a:lnTo>
                    <a:lnTo>
                      <a:pt x="1024" y="2386"/>
                    </a:lnTo>
                    <a:lnTo>
                      <a:pt x="1060" y="2363"/>
                    </a:lnTo>
                    <a:lnTo>
                      <a:pt x="1093" y="2337"/>
                    </a:lnTo>
                    <a:lnTo>
                      <a:pt x="1124" y="2306"/>
                    </a:lnTo>
                    <a:lnTo>
                      <a:pt x="1151" y="2273"/>
                    </a:lnTo>
                    <a:lnTo>
                      <a:pt x="1172" y="2236"/>
                    </a:lnTo>
                    <a:lnTo>
                      <a:pt x="1191" y="2197"/>
                    </a:lnTo>
                    <a:lnTo>
                      <a:pt x="1204" y="2155"/>
                    </a:lnTo>
                    <a:lnTo>
                      <a:pt x="1212" y="2111"/>
                    </a:lnTo>
                    <a:lnTo>
                      <a:pt x="1214" y="2066"/>
                    </a:lnTo>
                    <a:lnTo>
                      <a:pt x="1212" y="2021"/>
                    </a:lnTo>
                    <a:lnTo>
                      <a:pt x="1204" y="1977"/>
                    </a:lnTo>
                    <a:lnTo>
                      <a:pt x="1191" y="1935"/>
                    </a:lnTo>
                    <a:lnTo>
                      <a:pt x="1172" y="1896"/>
                    </a:lnTo>
                    <a:lnTo>
                      <a:pt x="1151" y="1859"/>
                    </a:lnTo>
                    <a:lnTo>
                      <a:pt x="1124" y="1826"/>
                    </a:lnTo>
                    <a:lnTo>
                      <a:pt x="1093" y="1795"/>
                    </a:lnTo>
                    <a:lnTo>
                      <a:pt x="1060" y="1769"/>
                    </a:lnTo>
                    <a:lnTo>
                      <a:pt x="1024" y="1746"/>
                    </a:lnTo>
                    <a:lnTo>
                      <a:pt x="985" y="1728"/>
                    </a:lnTo>
                    <a:lnTo>
                      <a:pt x="944" y="1715"/>
                    </a:lnTo>
                    <a:lnTo>
                      <a:pt x="899" y="1707"/>
                    </a:lnTo>
                    <a:lnTo>
                      <a:pt x="854" y="1704"/>
                    </a:lnTo>
                    <a:close/>
                    <a:moveTo>
                      <a:pt x="245" y="761"/>
                    </a:moveTo>
                    <a:lnTo>
                      <a:pt x="231" y="764"/>
                    </a:lnTo>
                    <a:lnTo>
                      <a:pt x="219" y="771"/>
                    </a:lnTo>
                    <a:lnTo>
                      <a:pt x="212" y="783"/>
                    </a:lnTo>
                    <a:lnTo>
                      <a:pt x="210" y="796"/>
                    </a:lnTo>
                    <a:lnTo>
                      <a:pt x="210" y="1065"/>
                    </a:lnTo>
                    <a:lnTo>
                      <a:pt x="212" y="1078"/>
                    </a:lnTo>
                    <a:lnTo>
                      <a:pt x="219" y="1090"/>
                    </a:lnTo>
                    <a:lnTo>
                      <a:pt x="231" y="1098"/>
                    </a:lnTo>
                    <a:lnTo>
                      <a:pt x="245" y="1100"/>
                    </a:lnTo>
                    <a:lnTo>
                      <a:pt x="1410" y="1100"/>
                    </a:lnTo>
                    <a:lnTo>
                      <a:pt x="1424" y="1098"/>
                    </a:lnTo>
                    <a:lnTo>
                      <a:pt x="1435" y="1090"/>
                    </a:lnTo>
                    <a:lnTo>
                      <a:pt x="1442" y="1079"/>
                    </a:lnTo>
                    <a:lnTo>
                      <a:pt x="1445" y="1065"/>
                    </a:lnTo>
                    <a:lnTo>
                      <a:pt x="1445" y="796"/>
                    </a:lnTo>
                    <a:lnTo>
                      <a:pt x="1442" y="783"/>
                    </a:lnTo>
                    <a:lnTo>
                      <a:pt x="1435" y="771"/>
                    </a:lnTo>
                    <a:lnTo>
                      <a:pt x="1424" y="764"/>
                    </a:lnTo>
                    <a:lnTo>
                      <a:pt x="1410" y="761"/>
                    </a:lnTo>
                    <a:lnTo>
                      <a:pt x="245" y="761"/>
                    </a:lnTo>
                    <a:close/>
                    <a:moveTo>
                      <a:pt x="210" y="325"/>
                    </a:moveTo>
                    <a:lnTo>
                      <a:pt x="210" y="664"/>
                    </a:lnTo>
                    <a:lnTo>
                      <a:pt x="1445" y="664"/>
                    </a:lnTo>
                    <a:lnTo>
                      <a:pt x="1445" y="325"/>
                    </a:lnTo>
                    <a:lnTo>
                      <a:pt x="210" y="325"/>
                    </a:lnTo>
                    <a:close/>
                    <a:moveTo>
                      <a:pt x="1728" y="86"/>
                    </a:moveTo>
                    <a:lnTo>
                      <a:pt x="1728" y="3185"/>
                    </a:lnTo>
                    <a:lnTo>
                      <a:pt x="3139" y="2913"/>
                    </a:lnTo>
                    <a:lnTo>
                      <a:pt x="3139" y="640"/>
                    </a:lnTo>
                    <a:lnTo>
                      <a:pt x="1728" y="86"/>
                    </a:lnTo>
                    <a:close/>
                    <a:moveTo>
                      <a:pt x="1693" y="0"/>
                    </a:moveTo>
                    <a:lnTo>
                      <a:pt x="1706" y="2"/>
                    </a:lnTo>
                    <a:lnTo>
                      <a:pt x="3188" y="584"/>
                    </a:lnTo>
                    <a:lnTo>
                      <a:pt x="3199" y="591"/>
                    </a:lnTo>
                    <a:lnTo>
                      <a:pt x="3207" y="602"/>
                    </a:lnTo>
                    <a:lnTo>
                      <a:pt x="3209" y="615"/>
                    </a:lnTo>
                    <a:lnTo>
                      <a:pt x="3209" y="2942"/>
                    </a:lnTo>
                    <a:lnTo>
                      <a:pt x="3207" y="2955"/>
                    </a:lnTo>
                    <a:lnTo>
                      <a:pt x="3201" y="2965"/>
                    </a:lnTo>
                    <a:lnTo>
                      <a:pt x="3193" y="2972"/>
                    </a:lnTo>
                    <a:lnTo>
                      <a:pt x="3182" y="2977"/>
                    </a:lnTo>
                    <a:lnTo>
                      <a:pt x="1699" y="3261"/>
                    </a:lnTo>
                    <a:lnTo>
                      <a:pt x="1696" y="3262"/>
                    </a:lnTo>
                    <a:lnTo>
                      <a:pt x="1693" y="3262"/>
                    </a:lnTo>
                    <a:lnTo>
                      <a:pt x="1687" y="3261"/>
                    </a:lnTo>
                    <a:lnTo>
                      <a:pt x="1682" y="3260"/>
                    </a:lnTo>
                    <a:lnTo>
                      <a:pt x="1679" y="3260"/>
                    </a:lnTo>
                    <a:lnTo>
                      <a:pt x="1677" y="3261"/>
                    </a:lnTo>
                    <a:lnTo>
                      <a:pt x="1674" y="3261"/>
                    </a:lnTo>
                    <a:lnTo>
                      <a:pt x="35" y="3261"/>
                    </a:lnTo>
                    <a:lnTo>
                      <a:pt x="22" y="3259"/>
                    </a:lnTo>
                    <a:lnTo>
                      <a:pt x="10" y="3250"/>
                    </a:lnTo>
                    <a:lnTo>
                      <a:pt x="3" y="3240"/>
                    </a:lnTo>
                    <a:lnTo>
                      <a:pt x="0" y="3226"/>
                    </a:lnTo>
                    <a:lnTo>
                      <a:pt x="0" y="37"/>
                    </a:lnTo>
                    <a:lnTo>
                      <a:pt x="3" y="23"/>
                    </a:lnTo>
                    <a:lnTo>
                      <a:pt x="10" y="12"/>
                    </a:lnTo>
                    <a:lnTo>
                      <a:pt x="22" y="4"/>
                    </a:lnTo>
                    <a:lnTo>
                      <a:pt x="35" y="2"/>
                    </a:lnTo>
                    <a:lnTo>
                      <a:pt x="1674" y="2"/>
                    </a:lnTo>
                    <a:lnTo>
                      <a:pt x="1677" y="2"/>
                    </a:lnTo>
                    <a:lnTo>
                      <a:pt x="1679" y="2"/>
                    </a:lnTo>
                    <a:lnTo>
                      <a:pt x="1681" y="3"/>
                    </a:lnTo>
                    <a:lnTo>
                      <a:pt x="1693" y="0"/>
                    </a:lnTo>
                    <a:close/>
                  </a:path>
                </a:pathLst>
              </a:custGeom>
              <a:solidFill>
                <a:sysClr val="windowText" lastClr="000000">
                  <a:lumMod val="65000"/>
                  <a:lumOff val="35000"/>
                </a:sys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457200" eaLnBrk="0" fontAlgn="base" latinLnBrk="0" hangingPunct="0">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prstClr val="black"/>
                  </a:solidFill>
                  <a:effectLst/>
                  <a:uLnTx/>
                  <a:uFillTx/>
                  <a:latin typeface="Calibri"/>
                  <a:ea typeface="MS PGothic" pitchFamily="34" charset="-128"/>
                </a:endParaRPr>
              </a:p>
            </p:txBody>
          </p:sp>
        </p:grpSp>
        <p:sp>
          <p:nvSpPr>
            <p:cNvPr id="92" name="Freeform 6">
              <a:extLst>
                <a:ext uri="{FF2B5EF4-FFF2-40B4-BE49-F238E27FC236}">
                  <a16:creationId xmlns:a16="http://schemas.microsoft.com/office/drawing/2014/main" xmlns="" id="{EA65269F-65FD-4067-BF3B-423D55403609}"/>
                </a:ext>
              </a:extLst>
            </p:cNvPr>
            <p:cNvSpPr>
              <a:spLocks noEditPoints="1"/>
            </p:cNvSpPr>
            <p:nvPr/>
          </p:nvSpPr>
          <p:spPr bwMode="auto">
            <a:xfrm>
              <a:off x="3985537" y="3074016"/>
              <a:ext cx="265203" cy="339866"/>
            </a:xfrm>
            <a:custGeom>
              <a:avLst/>
              <a:gdLst>
                <a:gd name="T0" fmla="*/ 1822 w 2514"/>
                <a:gd name="T1" fmla="*/ 1843 h 3289"/>
                <a:gd name="T2" fmla="*/ 1788 w 2514"/>
                <a:gd name="T3" fmla="*/ 1900 h 3289"/>
                <a:gd name="T4" fmla="*/ 1693 w 2514"/>
                <a:gd name="T5" fmla="*/ 1994 h 3289"/>
                <a:gd name="T6" fmla="*/ 1793 w 2514"/>
                <a:gd name="T7" fmla="*/ 2040 h 3289"/>
                <a:gd name="T8" fmla="*/ 1825 w 2514"/>
                <a:gd name="T9" fmla="*/ 2088 h 3289"/>
                <a:gd name="T10" fmla="*/ 1870 w 2514"/>
                <a:gd name="T11" fmla="*/ 2095 h 3289"/>
                <a:gd name="T12" fmla="*/ 1909 w 2514"/>
                <a:gd name="T13" fmla="*/ 2059 h 3289"/>
                <a:gd name="T14" fmla="*/ 1930 w 2514"/>
                <a:gd name="T15" fmla="*/ 1991 h 3289"/>
                <a:gd name="T16" fmla="*/ 1926 w 2514"/>
                <a:gd name="T17" fmla="*/ 1912 h 3289"/>
                <a:gd name="T18" fmla="*/ 1898 w 2514"/>
                <a:gd name="T19" fmla="*/ 1853 h 3289"/>
                <a:gd name="T20" fmla="*/ 1855 w 2514"/>
                <a:gd name="T21" fmla="*/ 1829 h 3289"/>
                <a:gd name="T22" fmla="*/ 517 w 2514"/>
                <a:gd name="T23" fmla="*/ 1711 h 3289"/>
                <a:gd name="T24" fmla="*/ 488 w 2514"/>
                <a:gd name="T25" fmla="*/ 1805 h 3289"/>
                <a:gd name="T26" fmla="*/ 500 w 2514"/>
                <a:gd name="T27" fmla="*/ 1902 h 3289"/>
                <a:gd name="T28" fmla="*/ 555 w 2514"/>
                <a:gd name="T29" fmla="*/ 1988 h 3289"/>
                <a:gd name="T30" fmla="*/ 584 w 2514"/>
                <a:gd name="T31" fmla="*/ 2679 h 3289"/>
                <a:gd name="T32" fmla="*/ 562 w 2514"/>
                <a:gd name="T33" fmla="*/ 2732 h 3289"/>
                <a:gd name="T34" fmla="*/ 506 w 2514"/>
                <a:gd name="T35" fmla="*/ 2755 h 3289"/>
                <a:gd name="T36" fmla="*/ 452 w 2514"/>
                <a:gd name="T37" fmla="*/ 2732 h 3289"/>
                <a:gd name="T38" fmla="*/ 430 w 2514"/>
                <a:gd name="T39" fmla="*/ 2679 h 3289"/>
                <a:gd name="T40" fmla="*/ 684 w 2514"/>
                <a:gd name="T41" fmla="*/ 985 h 3289"/>
                <a:gd name="T42" fmla="*/ 731 w 2514"/>
                <a:gd name="T43" fmla="*/ 1008 h 3289"/>
                <a:gd name="T44" fmla="*/ 1126 w 2514"/>
                <a:gd name="T45" fmla="*/ 1410 h 3289"/>
                <a:gd name="T46" fmla="*/ 1126 w 2514"/>
                <a:gd name="T47" fmla="*/ 1460 h 3289"/>
                <a:gd name="T48" fmla="*/ 731 w 2514"/>
                <a:gd name="T49" fmla="*/ 1863 h 3289"/>
                <a:gd name="T50" fmla="*/ 675 w 2514"/>
                <a:gd name="T51" fmla="*/ 1886 h 3289"/>
                <a:gd name="T52" fmla="*/ 632 w 2514"/>
                <a:gd name="T53" fmla="*/ 1873 h 3289"/>
                <a:gd name="T54" fmla="*/ 601 w 2514"/>
                <a:gd name="T55" fmla="*/ 1833 h 3289"/>
                <a:gd name="T56" fmla="*/ 601 w 2514"/>
                <a:gd name="T57" fmla="*/ 1783 h 3289"/>
                <a:gd name="T58" fmla="*/ 862 w 2514"/>
                <a:gd name="T59" fmla="*/ 1513 h 3289"/>
                <a:gd name="T60" fmla="*/ 39 w 2514"/>
                <a:gd name="T61" fmla="*/ 1503 h 3289"/>
                <a:gd name="T62" fmla="*/ 2 w 2514"/>
                <a:gd name="T63" fmla="*/ 1456 h 3289"/>
                <a:gd name="T64" fmla="*/ 10 w 2514"/>
                <a:gd name="T65" fmla="*/ 1396 h 3289"/>
                <a:gd name="T66" fmla="*/ 57 w 2514"/>
                <a:gd name="T67" fmla="*/ 1361 h 3289"/>
                <a:gd name="T68" fmla="*/ 620 w 2514"/>
                <a:gd name="T69" fmla="*/ 1117 h 3289"/>
                <a:gd name="T70" fmla="*/ 598 w 2514"/>
                <a:gd name="T71" fmla="*/ 1071 h 3289"/>
                <a:gd name="T72" fmla="*/ 609 w 2514"/>
                <a:gd name="T73" fmla="*/ 1022 h 3289"/>
                <a:gd name="T74" fmla="*/ 650 w 2514"/>
                <a:gd name="T75" fmla="*/ 988 h 3289"/>
                <a:gd name="T76" fmla="*/ 2436 w 2514"/>
                <a:gd name="T77" fmla="*/ 0 h 3289"/>
                <a:gd name="T78" fmla="*/ 2492 w 2514"/>
                <a:gd name="T79" fmla="*/ 22 h 3289"/>
                <a:gd name="T80" fmla="*/ 2514 w 2514"/>
                <a:gd name="T81" fmla="*/ 76 h 3289"/>
                <a:gd name="T82" fmla="*/ 2503 w 2514"/>
                <a:gd name="T83" fmla="*/ 2717 h 3289"/>
                <a:gd name="T84" fmla="*/ 2457 w 2514"/>
                <a:gd name="T85" fmla="*/ 2752 h 3289"/>
                <a:gd name="T86" fmla="*/ 2399 w 2514"/>
                <a:gd name="T87" fmla="*/ 2746 h 3289"/>
                <a:gd name="T88" fmla="*/ 2364 w 2514"/>
                <a:gd name="T89" fmla="*/ 2703 h 3289"/>
                <a:gd name="T90" fmla="*/ 2360 w 2514"/>
                <a:gd name="T91" fmla="*/ 207 h 3289"/>
                <a:gd name="T92" fmla="*/ 584 w 2514"/>
                <a:gd name="T93" fmla="*/ 891 h 3289"/>
                <a:gd name="T94" fmla="*/ 535 w 2514"/>
                <a:gd name="T95" fmla="*/ 938 h 3289"/>
                <a:gd name="T96" fmla="*/ 494 w 2514"/>
                <a:gd name="T97" fmla="*/ 1018 h 3289"/>
                <a:gd name="T98" fmla="*/ 489 w 2514"/>
                <a:gd name="T99" fmla="*/ 1109 h 3289"/>
                <a:gd name="T100" fmla="*/ 519 w 2514"/>
                <a:gd name="T101" fmla="*/ 1195 h 3289"/>
                <a:gd name="T102" fmla="*/ 430 w 2514"/>
                <a:gd name="T103" fmla="*/ 76 h 3289"/>
                <a:gd name="T104" fmla="*/ 452 w 2514"/>
                <a:gd name="T105" fmla="*/ 22 h 3289"/>
                <a:gd name="T106" fmla="*/ 506 w 2514"/>
                <a:gd name="T107" fmla="*/ 0 h 3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14" h="3289">
                  <a:moveTo>
                    <a:pt x="1855" y="1829"/>
                  </a:moveTo>
                  <a:lnTo>
                    <a:pt x="1838" y="1833"/>
                  </a:lnTo>
                  <a:lnTo>
                    <a:pt x="1822" y="1843"/>
                  </a:lnTo>
                  <a:lnTo>
                    <a:pt x="1809" y="1858"/>
                  </a:lnTo>
                  <a:lnTo>
                    <a:pt x="1797" y="1877"/>
                  </a:lnTo>
                  <a:lnTo>
                    <a:pt x="1788" y="1900"/>
                  </a:lnTo>
                  <a:lnTo>
                    <a:pt x="1781" y="1927"/>
                  </a:lnTo>
                  <a:lnTo>
                    <a:pt x="1693" y="1927"/>
                  </a:lnTo>
                  <a:lnTo>
                    <a:pt x="1693" y="1994"/>
                  </a:lnTo>
                  <a:lnTo>
                    <a:pt x="1780" y="1994"/>
                  </a:lnTo>
                  <a:lnTo>
                    <a:pt x="1786" y="2019"/>
                  </a:lnTo>
                  <a:lnTo>
                    <a:pt x="1793" y="2040"/>
                  </a:lnTo>
                  <a:lnTo>
                    <a:pt x="1802" y="2060"/>
                  </a:lnTo>
                  <a:lnTo>
                    <a:pt x="1813" y="2076"/>
                  </a:lnTo>
                  <a:lnTo>
                    <a:pt x="1825" y="2088"/>
                  </a:lnTo>
                  <a:lnTo>
                    <a:pt x="1840" y="2095"/>
                  </a:lnTo>
                  <a:lnTo>
                    <a:pt x="1855" y="2098"/>
                  </a:lnTo>
                  <a:lnTo>
                    <a:pt x="1870" y="2095"/>
                  </a:lnTo>
                  <a:lnTo>
                    <a:pt x="1885" y="2088"/>
                  </a:lnTo>
                  <a:lnTo>
                    <a:pt x="1898" y="2075"/>
                  </a:lnTo>
                  <a:lnTo>
                    <a:pt x="1909" y="2059"/>
                  </a:lnTo>
                  <a:lnTo>
                    <a:pt x="1919" y="2039"/>
                  </a:lnTo>
                  <a:lnTo>
                    <a:pt x="1926" y="2016"/>
                  </a:lnTo>
                  <a:lnTo>
                    <a:pt x="1930" y="1991"/>
                  </a:lnTo>
                  <a:lnTo>
                    <a:pt x="1932" y="1964"/>
                  </a:lnTo>
                  <a:lnTo>
                    <a:pt x="1930" y="1937"/>
                  </a:lnTo>
                  <a:lnTo>
                    <a:pt x="1926" y="1912"/>
                  </a:lnTo>
                  <a:lnTo>
                    <a:pt x="1919" y="1889"/>
                  </a:lnTo>
                  <a:lnTo>
                    <a:pt x="1909" y="1869"/>
                  </a:lnTo>
                  <a:lnTo>
                    <a:pt x="1898" y="1853"/>
                  </a:lnTo>
                  <a:lnTo>
                    <a:pt x="1885" y="1841"/>
                  </a:lnTo>
                  <a:lnTo>
                    <a:pt x="1870" y="1832"/>
                  </a:lnTo>
                  <a:lnTo>
                    <a:pt x="1855" y="1829"/>
                  </a:lnTo>
                  <a:close/>
                  <a:moveTo>
                    <a:pt x="430" y="1682"/>
                  </a:moveTo>
                  <a:lnTo>
                    <a:pt x="536" y="1682"/>
                  </a:lnTo>
                  <a:lnTo>
                    <a:pt x="517" y="1711"/>
                  </a:lnTo>
                  <a:lnTo>
                    <a:pt x="502" y="1741"/>
                  </a:lnTo>
                  <a:lnTo>
                    <a:pt x="493" y="1773"/>
                  </a:lnTo>
                  <a:lnTo>
                    <a:pt x="488" y="1805"/>
                  </a:lnTo>
                  <a:lnTo>
                    <a:pt x="487" y="1838"/>
                  </a:lnTo>
                  <a:lnTo>
                    <a:pt x="491" y="1870"/>
                  </a:lnTo>
                  <a:lnTo>
                    <a:pt x="500" y="1902"/>
                  </a:lnTo>
                  <a:lnTo>
                    <a:pt x="514" y="1933"/>
                  </a:lnTo>
                  <a:lnTo>
                    <a:pt x="532" y="1961"/>
                  </a:lnTo>
                  <a:lnTo>
                    <a:pt x="555" y="1988"/>
                  </a:lnTo>
                  <a:lnTo>
                    <a:pt x="569" y="2001"/>
                  </a:lnTo>
                  <a:lnTo>
                    <a:pt x="584" y="2012"/>
                  </a:lnTo>
                  <a:lnTo>
                    <a:pt x="584" y="2679"/>
                  </a:lnTo>
                  <a:lnTo>
                    <a:pt x="581" y="2699"/>
                  </a:lnTo>
                  <a:lnTo>
                    <a:pt x="574" y="2717"/>
                  </a:lnTo>
                  <a:lnTo>
                    <a:pt x="562" y="2732"/>
                  </a:lnTo>
                  <a:lnTo>
                    <a:pt x="546" y="2745"/>
                  </a:lnTo>
                  <a:lnTo>
                    <a:pt x="527" y="2752"/>
                  </a:lnTo>
                  <a:lnTo>
                    <a:pt x="506" y="2755"/>
                  </a:lnTo>
                  <a:lnTo>
                    <a:pt x="486" y="2752"/>
                  </a:lnTo>
                  <a:lnTo>
                    <a:pt x="468" y="2745"/>
                  </a:lnTo>
                  <a:lnTo>
                    <a:pt x="452" y="2732"/>
                  </a:lnTo>
                  <a:lnTo>
                    <a:pt x="440" y="2717"/>
                  </a:lnTo>
                  <a:lnTo>
                    <a:pt x="433" y="2699"/>
                  </a:lnTo>
                  <a:lnTo>
                    <a:pt x="430" y="2679"/>
                  </a:lnTo>
                  <a:lnTo>
                    <a:pt x="430" y="1682"/>
                  </a:lnTo>
                  <a:close/>
                  <a:moveTo>
                    <a:pt x="667" y="985"/>
                  </a:moveTo>
                  <a:lnTo>
                    <a:pt x="684" y="985"/>
                  </a:lnTo>
                  <a:lnTo>
                    <a:pt x="701" y="988"/>
                  </a:lnTo>
                  <a:lnTo>
                    <a:pt x="717" y="996"/>
                  </a:lnTo>
                  <a:lnTo>
                    <a:pt x="731" y="1008"/>
                  </a:lnTo>
                  <a:lnTo>
                    <a:pt x="1107" y="1380"/>
                  </a:lnTo>
                  <a:lnTo>
                    <a:pt x="1118" y="1394"/>
                  </a:lnTo>
                  <a:lnTo>
                    <a:pt x="1126" y="1410"/>
                  </a:lnTo>
                  <a:lnTo>
                    <a:pt x="1130" y="1427"/>
                  </a:lnTo>
                  <a:lnTo>
                    <a:pt x="1130" y="1444"/>
                  </a:lnTo>
                  <a:lnTo>
                    <a:pt x="1126" y="1460"/>
                  </a:lnTo>
                  <a:lnTo>
                    <a:pt x="1118" y="1476"/>
                  </a:lnTo>
                  <a:lnTo>
                    <a:pt x="1107" y="1491"/>
                  </a:lnTo>
                  <a:lnTo>
                    <a:pt x="731" y="1863"/>
                  </a:lnTo>
                  <a:lnTo>
                    <a:pt x="714" y="1876"/>
                  </a:lnTo>
                  <a:lnTo>
                    <a:pt x="696" y="1883"/>
                  </a:lnTo>
                  <a:lnTo>
                    <a:pt x="675" y="1886"/>
                  </a:lnTo>
                  <a:lnTo>
                    <a:pt x="660" y="1885"/>
                  </a:lnTo>
                  <a:lnTo>
                    <a:pt x="646" y="1880"/>
                  </a:lnTo>
                  <a:lnTo>
                    <a:pt x="632" y="1873"/>
                  </a:lnTo>
                  <a:lnTo>
                    <a:pt x="620" y="1863"/>
                  </a:lnTo>
                  <a:lnTo>
                    <a:pt x="609" y="1850"/>
                  </a:lnTo>
                  <a:lnTo>
                    <a:pt x="601" y="1833"/>
                  </a:lnTo>
                  <a:lnTo>
                    <a:pt x="598" y="1817"/>
                  </a:lnTo>
                  <a:lnTo>
                    <a:pt x="598" y="1800"/>
                  </a:lnTo>
                  <a:lnTo>
                    <a:pt x="601" y="1783"/>
                  </a:lnTo>
                  <a:lnTo>
                    <a:pt x="609" y="1767"/>
                  </a:lnTo>
                  <a:lnTo>
                    <a:pt x="620" y="1753"/>
                  </a:lnTo>
                  <a:lnTo>
                    <a:pt x="862" y="1513"/>
                  </a:lnTo>
                  <a:lnTo>
                    <a:pt x="79" y="1513"/>
                  </a:lnTo>
                  <a:lnTo>
                    <a:pt x="57" y="1511"/>
                  </a:lnTo>
                  <a:lnTo>
                    <a:pt x="39" y="1503"/>
                  </a:lnTo>
                  <a:lnTo>
                    <a:pt x="23" y="1491"/>
                  </a:lnTo>
                  <a:lnTo>
                    <a:pt x="10" y="1474"/>
                  </a:lnTo>
                  <a:lnTo>
                    <a:pt x="2" y="1456"/>
                  </a:lnTo>
                  <a:lnTo>
                    <a:pt x="0" y="1436"/>
                  </a:lnTo>
                  <a:lnTo>
                    <a:pt x="2" y="1414"/>
                  </a:lnTo>
                  <a:lnTo>
                    <a:pt x="10" y="1396"/>
                  </a:lnTo>
                  <a:lnTo>
                    <a:pt x="23" y="1380"/>
                  </a:lnTo>
                  <a:lnTo>
                    <a:pt x="39" y="1368"/>
                  </a:lnTo>
                  <a:lnTo>
                    <a:pt x="57" y="1361"/>
                  </a:lnTo>
                  <a:lnTo>
                    <a:pt x="79" y="1358"/>
                  </a:lnTo>
                  <a:lnTo>
                    <a:pt x="862" y="1358"/>
                  </a:lnTo>
                  <a:lnTo>
                    <a:pt x="620" y="1117"/>
                  </a:lnTo>
                  <a:lnTo>
                    <a:pt x="609" y="1103"/>
                  </a:lnTo>
                  <a:lnTo>
                    <a:pt x="601" y="1088"/>
                  </a:lnTo>
                  <a:lnTo>
                    <a:pt x="598" y="1071"/>
                  </a:lnTo>
                  <a:lnTo>
                    <a:pt x="598" y="1054"/>
                  </a:lnTo>
                  <a:lnTo>
                    <a:pt x="601" y="1037"/>
                  </a:lnTo>
                  <a:lnTo>
                    <a:pt x="609" y="1022"/>
                  </a:lnTo>
                  <a:lnTo>
                    <a:pt x="620" y="1008"/>
                  </a:lnTo>
                  <a:lnTo>
                    <a:pt x="634" y="996"/>
                  </a:lnTo>
                  <a:lnTo>
                    <a:pt x="650" y="988"/>
                  </a:lnTo>
                  <a:lnTo>
                    <a:pt x="667" y="985"/>
                  </a:lnTo>
                  <a:close/>
                  <a:moveTo>
                    <a:pt x="506" y="0"/>
                  </a:moveTo>
                  <a:lnTo>
                    <a:pt x="2436" y="0"/>
                  </a:lnTo>
                  <a:lnTo>
                    <a:pt x="2457" y="2"/>
                  </a:lnTo>
                  <a:lnTo>
                    <a:pt x="2475" y="10"/>
                  </a:lnTo>
                  <a:lnTo>
                    <a:pt x="2492" y="22"/>
                  </a:lnTo>
                  <a:lnTo>
                    <a:pt x="2503" y="38"/>
                  </a:lnTo>
                  <a:lnTo>
                    <a:pt x="2511" y="56"/>
                  </a:lnTo>
                  <a:lnTo>
                    <a:pt x="2514" y="76"/>
                  </a:lnTo>
                  <a:lnTo>
                    <a:pt x="2514" y="2679"/>
                  </a:lnTo>
                  <a:lnTo>
                    <a:pt x="2511" y="2699"/>
                  </a:lnTo>
                  <a:lnTo>
                    <a:pt x="2503" y="2717"/>
                  </a:lnTo>
                  <a:lnTo>
                    <a:pt x="2492" y="2732"/>
                  </a:lnTo>
                  <a:lnTo>
                    <a:pt x="2475" y="2745"/>
                  </a:lnTo>
                  <a:lnTo>
                    <a:pt x="2457" y="2752"/>
                  </a:lnTo>
                  <a:lnTo>
                    <a:pt x="2436" y="2755"/>
                  </a:lnTo>
                  <a:lnTo>
                    <a:pt x="2417" y="2753"/>
                  </a:lnTo>
                  <a:lnTo>
                    <a:pt x="2399" y="2746"/>
                  </a:lnTo>
                  <a:lnTo>
                    <a:pt x="2384" y="2734"/>
                  </a:lnTo>
                  <a:lnTo>
                    <a:pt x="2372" y="2719"/>
                  </a:lnTo>
                  <a:lnTo>
                    <a:pt x="2364" y="2703"/>
                  </a:lnTo>
                  <a:lnTo>
                    <a:pt x="1549" y="3289"/>
                  </a:lnTo>
                  <a:lnTo>
                    <a:pt x="1549" y="792"/>
                  </a:lnTo>
                  <a:lnTo>
                    <a:pt x="2360" y="207"/>
                  </a:lnTo>
                  <a:lnTo>
                    <a:pt x="2360" y="152"/>
                  </a:lnTo>
                  <a:lnTo>
                    <a:pt x="584" y="152"/>
                  </a:lnTo>
                  <a:lnTo>
                    <a:pt x="584" y="891"/>
                  </a:lnTo>
                  <a:lnTo>
                    <a:pt x="569" y="902"/>
                  </a:lnTo>
                  <a:lnTo>
                    <a:pt x="555" y="915"/>
                  </a:lnTo>
                  <a:lnTo>
                    <a:pt x="535" y="938"/>
                  </a:lnTo>
                  <a:lnTo>
                    <a:pt x="518" y="963"/>
                  </a:lnTo>
                  <a:lnTo>
                    <a:pt x="504" y="989"/>
                  </a:lnTo>
                  <a:lnTo>
                    <a:pt x="494" y="1018"/>
                  </a:lnTo>
                  <a:lnTo>
                    <a:pt x="489" y="1048"/>
                  </a:lnTo>
                  <a:lnTo>
                    <a:pt x="487" y="1079"/>
                  </a:lnTo>
                  <a:lnTo>
                    <a:pt x="489" y="1109"/>
                  </a:lnTo>
                  <a:lnTo>
                    <a:pt x="495" y="1139"/>
                  </a:lnTo>
                  <a:lnTo>
                    <a:pt x="504" y="1168"/>
                  </a:lnTo>
                  <a:lnTo>
                    <a:pt x="519" y="1195"/>
                  </a:lnTo>
                  <a:lnTo>
                    <a:pt x="536" y="1221"/>
                  </a:lnTo>
                  <a:lnTo>
                    <a:pt x="430" y="1221"/>
                  </a:lnTo>
                  <a:lnTo>
                    <a:pt x="430" y="76"/>
                  </a:lnTo>
                  <a:lnTo>
                    <a:pt x="433" y="56"/>
                  </a:lnTo>
                  <a:lnTo>
                    <a:pt x="440" y="38"/>
                  </a:lnTo>
                  <a:lnTo>
                    <a:pt x="452" y="22"/>
                  </a:lnTo>
                  <a:lnTo>
                    <a:pt x="468" y="10"/>
                  </a:lnTo>
                  <a:lnTo>
                    <a:pt x="486" y="2"/>
                  </a:lnTo>
                  <a:lnTo>
                    <a:pt x="506" y="0"/>
                  </a:lnTo>
                  <a:close/>
                </a:path>
              </a:pathLst>
            </a:custGeom>
            <a:solidFill>
              <a:srgbClr val="92D05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457200" eaLnBrk="0" fontAlgn="base" latinLnBrk="0" hangingPunct="0">
                <a:lnSpc>
                  <a:spcPct val="100000"/>
                </a:lnSpc>
                <a:spcBef>
                  <a:spcPct val="0"/>
                </a:spcBef>
                <a:spcAft>
                  <a:spcPct val="0"/>
                </a:spcAft>
                <a:buClrTx/>
                <a:buSzTx/>
                <a:buFontTx/>
                <a:buNone/>
                <a:tabLst/>
                <a:defRPr/>
              </a:pPr>
              <a:endParaRPr kumimoji="0" lang="en-IN" sz="1400" b="0" i="0" u="none" strike="noStrike" kern="0" cap="none" spc="0" normalizeH="0" baseline="0" noProof="0" dirty="0">
                <a:ln>
                  <a:noFill/>
                </a:ln>
                <a:solidFill>
                  <a:prstClr val="black"/>
                </a:solidFill>
                <a:effectLst/>
                <a:uLnTx/>
                <a:uFillTx/>
                <a:latin typeface="Calibri"/>
                <a:ea typeface="MS PGothic" pitchFamily="34" charset="-128"/>
              </a:endParaRPr>
            </a:p>
          </p:txBody>
        </p:sp>
        <p:sp>
          <p:nvSpPr>
            <p:cNvPr id="93" name="Content Placeholder 1">
              <a:extLst>
                <a:ext uri="{FF2B5EF4-FFF2-40B4-BE49-F238E27FC236}">
                  <a16:creationId xmlns:a16="http://schemas.microsoft.com/office/drawing/2014/main" xmlns="" id="{4FB8449E-01F5-4A32-AE0A-203700F91BA4}"/>
                </a:ext>
              </a:extLst>
            </p:cNvPr>
            <p:cNvSpPr txBox="1">
              <a:spLocks/>
            </p:cNvSpPr>
            <p:nvPr/>
          </p:nvSpPr>
          <p:spPr bwMode="gray">
            <a:xfrm>
              <a:off x="6159333" y="3826747"/>
              <a:ext cx="508563" cy="219136"/>
            </a:xfrm>
            <a:prstGeom prst="rect">
              <a:avLst/>
            </a:prstGeom>
            <a:ln>
              <a:noFill/>
            </a:ln>
          </p:spPr>
          <p:txBody>
            <a:bodyPr wrap="squar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ts val="200"/>
                </a:spcBef>
                <a:spcAft>
                  <a:spcPct val="0"/>
                </a:spcAft>
                <a:buClr>
                  <a:srgbClr val="2F82BF"/>
                </a:buClr>
                <a:buSzPct val="120000"/>
                <a:buFont typeface="Lucida Grande"/>
                <a:buNone/>
                <a:tabLst/>
                <a:defRPr/>
              </a:pPr>
              <a:r>
                <a:rPr kumimoji="0" lang="en-US" sz="1400" b="0" i="0" u="none" strike="noStrike" kern="1200" cap="none" spc="0" normalizeH="0" baseline="0" noProof="0" dirty="0">
                  <a:ln>
                    <a:noFill/>
                  </a:ln>
                  <a:solidFill>
                    <a:prstClr val="black"/>
                  </a:solidFill>
                  <a:effectLst/>
                  <a:uLnTx/>
                  <a:uFillTx/>
                  <a:latin typeface="Calibri"/>
                  <a:ea typeface="MS PGothic" pitchFamily="34" charset="-128"/>
                  <a:cs typeface="Calibri"/>
                </a:rPr>
                <a:t>UBS</a:t>
              </a:r>
            </a:p>
          </p:txBody>
        </p:sp>
        <p:sp>
          <p:nvSpPr>
            <p:cNvPr id="94" name="Rectangle 93">
              <a:extLst>
                <a:ext uri="{FF2B5EF4-FFF2-40B4-BE49-F238E27FC236}">
                  <a16:creationId xmlns:a16="http://schemas.microsoft.com/office/drawing/2014/main" xmlns="" id="{54EED390-084B-4B54-B0A5-A6C9E2BDDEBD}"/>
                </a:ext>
              </a:extLst>
            </p:cNvPr>
            <p:cNvSpPr/>
            <p:nvPr/>
          </p:nvSpPr>
          <p:spPr>
            <a:xfrm>
              <a:off x="4559513" y="3042538"/>
              <a:ext cx="3878983" cy="1495609"/>
            </a:xfrm>
            <a:prstGeom prst="rect">
              <a:avLst/>
            </a:prstGeom>
            <a:noFill/>
            <a:ln w="9525" cap="flat" cmpd="sng" algn="ctr">
              <a:solidFill>
                <a:srgbClr val="4BACC6"/>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95" name="Freeform 6">
              <a:extLst>
                <a:ext uri="{FF2B5EF4-FFF2-40B4-BE49-F238E27FC236}">
                  <a16:creationId xmlns:a16="http://schemas.microsoft.com/office/drawing/2014/main" xmlns="" id="{8E147102-D6D3-4BF5-BE49-FD1CFBE7953C}"/>
                </a:ext>
              </a:extLst>
            </p:cNvPr>
            <p:cNvSpPr>
              <a:spLocks noEditPoints="1"/>
            </p:cNvSpPr>
            <p:nvPr/>
          </p:nvSpPr>
          <p:spPr bwMode="auto">
            <a:xfrm>
              <a:off x="5840775" y="4700710"/>
              <a:ext cx="265203" cy="339866"/>
            </a:xfrm>
            <a:custGeom>
              <a:avLst/>
              <a:gdLst>
                <a:gd name="T0" fmla="*/ 1822 w 2514"/>
                <a:gd name="T1" fmla="*/ 1843 h 3289"/>
                <a:gd name="T2" fmla="*/ 1788 w 2514"/>
                <a:gd name="T3" fmla="*/ 1900 h 3289"/>
                <a:gd name="T4" fmla="*/ 1693 w 2514"/>
                <a:gd name="T5" fmla="*/ 1994 h 3289"/>
                <a:gd name="T6" fmla="*/ 1793 w 2514"/>
                <a:gd name="T7" fmla="*/ 2040 h 3289"/>
                <a:gd name="T8" fmla="*/ 1825 w 2514"/>
                <a:gd name="T9" fmla="*/ 2088 h 3289"/>
                <a:gd name="T10" fmla="*/ 1870 w 2514"/>
                <a:gd name="T11" fmla="*/ 2095 h 3289"/>
                <a:gd name="T12" fmla="*/ 1909 w 2514"/>
                <a:gd name="T13" fmla="*/ 2059 h 3289"/>
                <a:gd name="T14" fmla="*/ 1930 w 2514"/>
                <a:gd name="T15" fmla="*/ 1991 h 3289"/>
                <a:gd name="T16" fmla="*/ 1926 w 2514"/>
                <a:gd name="T17" fmla="*/ 1912 h 3289"/>
                <a:gd name="T18" fmla="*/ 1898 w 2514"/>
                <a:gd name="T19" fmla="*/ 1853 h 3289"/>
                <a:gd name="T20" fmla="*/ 1855 w 2514"/>
                <a:gd name="T21" fmla="*/ 1829 h 3289"/>
                <a:gd name="T22" fmla="*/ 517 w 2514"/>
                <a:gd name="T23" fmla="*/ 1711 h 3289"/>
                <a:gd name="T24" fmla="*/ 488 w 2514"/>
                <a:gd name="T25" fmla="*/ 1805 h 3289"/>
                <a:gd name="T26" fmla="*/ 500 w 2514"/>
                <a:gd name="T27" fmla="*/ 1902 h 3289"/>
                <a:gd name="T28" fmla="*/ 555 w 2514"/>
                <a:gd name="T29" fmla="*/ 1988 h 3289"/>
                <a:gd name="T30" fmla="*/ 584 w 2514"/>
                <a:gd name="T31" fmla="*/ 2679 h 3289"/>
                <a:gd name="T32" fmla="*/ 562 w 2514"/>
                <a:gd name="T33" fmla="*/ 2732 h 3289"/>
                <a:gd name="T34" fmla="*/ 506 w 2514"/>
                <a:gd name="T35" fmla="*/ 2755 h 3289"/>
                <a:gd name="T36" fmla="*/ 452 w 2514"/>
                <a:gd name="T37" fmla="*/ 2732 h 3289"/>
                <a:gd name="T38" fmla="*/ 430 w 2514"/>
                <a:gd name="T39" fmla="*/ 2679 h 3289"/>
                <a:gd name="T40" fmla="*/ 684 w 2514"/>
                <a:gd name="T41" fmla="*/ 985 h 3289"/>
                <a:gd name="T42" fmla="*/ 731 w 2514"/>
                <a:gd name="T43" fmla="*/ 1008 h 3289"/>
                <a:gd name="T44" fmla="*/ 1126 w 2514"/>
                <a:gd name="T45" fmla="*/ 1410 h 3289"/>
                <a:gd name="T46" fmla="*/ 1126 w 2514"/>
                <a:gd name="T47" fmla="*/ 1460 h 3289"/>
                <a:gd name="T48" fmla="*/ 731 w 2514"/>
                <a:gd name="T49" fmla="*/ 1863 h 3289"/>
                <a:gd name="T50" fmla="*/ 675 w 2514"/>
                <a:gd name="T51" fmla="*/ 1886 h 3289"/>
                <a:gd name="T52" fmla="*/ 632 w 2514"/>
                <a:gd name="T53" fmla="*/ 1873 h 3289"/>
                <a:gd name="T54" fmla="*/ 601 w 2514"/>
                <a:gd name="T55" fmla="*/ 1833 h 3289"/>
                <a:gd name="T56" fmla="*/ 601 w 2514"/>
                <a:gd name="T57" fmla="*/ 1783 h 3289"/>
                <a:gd name="T58" fmla="*/ 862 w 2514"/>
                <a:gd name="T59" fmla="*/ 1513 h 3289"/>
                <a:gd name="T60" fmla="*/ 39 w 2514"/>
                <a:gd name="T61" fmla="*/ 1503 h 3289"/>
                <a:gd name="T62" fmla="*/ 2 w 2514"/>
                <a:gd name="T63" fmla="*/ 1456 h 3289"/>
                <a:gd name="T64" fmla="*/ 10 w 2514"/>
                <a:gd name="T65" fmla="*/ 1396 h 3289"/>
                <a:gd name="T66" fmla="*/ 57 w 2514"/>
                <a:gd name="T67" fmla="*/ 1361 h 3289"/>
                <a:gd name="T68" fmla="*/ 620 w 2514"/>
                <a:gd name="T69" fmla="*/ 1117 h 3289"/>
                <a:gd name="T70" fmla="*/ 598 w 2514"/>
                <a:gd name="T71" fmla="*/ 1071 h 3289"/>
                <a:gd name="T72" fmla="*/ 609 w 2514"/>
                <a:gd name="T73" fmla="*/ 1022 h 3289"/>
                <a:gd name="T74" fmla="*/ 650 w 2514"/>
                <a:gd name="T75" fmla="*/ 988 h 3289"/>
                <a:gd name="T76" fmla="*/ 2436 w 2514"/>
                <a:gd name="T77" fmla="*/ 0 h 3289"/>
                <a:gd name="T78" fmla="*/ 2492 w 2514"/>
                <a:gd name="T79" fmla="*/ 22 h 3289"/>
                <a:gd name="T80" fmla="*/ 2514 w 2514"/>
                <a:gd name="T81" fmla="*/ 76 h 3289"/>
                <a:gd name="T82" fmla="*/ 2503 w 2514"/>
                <a:gd name="T83" fmla="*/ 2717 h 3289"/>
                <a:gd name="T84" fmla="*/ 2457 w 2514"/>
                <a:gd name="T85" fmla="*/ 2752 h 3289"/>
                <a:gd name="T86" fmla="*/ 2399 w 2514"/>
                <a:gd name="T87" fmla="*/ 2746 h 3289"/>
                <a:gd name="T88" fmla="*/ 2364 w 2514"/>
                <a:gd name="T89" fmla="*/ 2703 h 3289"/>
                <a:gd name="T90" fmla="*/ 2360 w 2514"/>
                <a:gd name="T91" fmla="*/ 207 h 3289"/>
                <a:gd name="T92" fmla="*/ 584 w 2514"/>
                <a:gd name="T93" fmla="*/ 891 h 3289"/>
                <a:gd name="T94" fmla="*/ 535 w 2514"/>
                <a:gd name="T95" fmla="*/ 938 h 3289"/>
                <a:gd name="T96" fmla="*/ 494 w 2514"/>
                <a:gd name="T97" fmla="*/ 1018 h 3289"/>
                <a:gd name="T98" fmla="*/ 489 w 2514"/>
                <a:gd name="T99" fmla="*/ 1109 h 3289"/>
                <a:gd name="T100" fmla="*/ 519 w 2514"/>
                <a:gd name="T101" fmla="*/ 1195 h 3289"/>
                <a:gd name="T102" fmla="*/ 430 w 2514"/>
                <a:gd name="T103" fmla="*/ 76 h 3289"/>
                <a:gd name="T104" fmla="*/ 452 w 2514"/>
                <a:gd name="T105" fmla="*/ 22 h 3289"/>
                <a:gd name="T106" fmla="*/ 506 w 2514"/>
                <a:gd name="T107" fmla="*/ 0 h 3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14" h="3289">
                  <a:moveTo>
                    <a:pt x="1855" y="1829"/>
                  </a:moveTo>
                  <a:lnTo>
                    <a:pt x="1838" y="1833"/>
                  </a:lnTo>
                  <a:lnTo>
                    <a:pt x="1822" y="1843"/>
                  </a:lnTo>
                  <a:lnTo>
                    <a:pt x="1809" y="1858"/>
                  </a:lnTo>
                  <a:lnTo>
                    <a:pt x="1797" y="1877"/>
                  </a:lnTo>
                  <a:lnTo>
                    <a:pt x="1788" y="1900"/>
                  </a:lnTo>
                  <a:lnTo>
                    <a:pt x="1781" y="1927"/>
                  </a:lnTo>
                  <a:lnTo>
                    <a:pt x="1693" y="1927"/>
                  </a:lnTo>
                  <a:lnTo>
                    <a:pt x="1693" y="1994"/>
                  </a:lnTo>
                  <a:lnTo>
                    <a:pt x="1780" y="1994"/>
                  </a:lnTo>
                  <a:lnTo>
                    <a:pt x="1786" y="2019"/>
                  </a:lnTo>
                  <a:lnTo>
                    <a:pt x="1793" y="2040"/>
                  </a:lnTo>
                  <a:lnTo>
                    <a:pt x="1802" y="2060"/>
                  </a:lnTo>
                  <a:lnTo>
                    <a:pt x="1813" y="2076"/>
                  </a:lnTo>
                  <a:lnTo>
                    <a:pt x="1825" y="2088"/>
                  </a:lnTo>
                  <a:lnTo>
                    <a:pt x="1840" y="2095"/>
                  </a:lnTo>
                  <a:lnTo>
                    <a:pt x="1855" y="2098"/>
                  </a:lnTo>
                  <a:lnTo>
                    <a:pt x="1870" y="2095"/>
                  </a:lnTo>
                  <a:lnTo>
                    <a:pt x="1885" y="2088"/>
                  </a:lnTo>
                  <a:lnTo>
                    <a:pt x="1898" y="2075"/>
                  </a:lnTo>
                  <a:lnTo>
                    <a:pt x="1909" y="2059"/>
                  </a:lnTo>
                  <a:lnTo>
                    <a:pt x="1919" y="2039"/>
                  </a:lnTo>
                  <a:lnTo>
                    <a:pt x="1926" y="2016"/>
                  </a:lnTo>
                  <a:lnTo>
                    <a:pt x="1930" y="1991"/>
                  </a:lnTo>
                  <a:lnTo>
                    <a:pt x="1932" y="1964"/>
                  </a:lnTo>
                  <a:lnTo>
                    <a:pt x="1930" y="1937"/>
                  </a:lnTo>
                  <a:lnTo>
                    <a:pt x="1926" y="1912"/>
                  </a:lnTo>
                  <a:lnTo>
                    <a:pt x="1919" y="1889"/>
                  </a:lnTo>
                  <a:lnTo>
                    <a:pt x="1909" y="1869"/>
                  </a:lnTo>
                  <a:lnTo>
                    <a:pt x="1898" y="1853"/>
                  </a:lnTo>
                  <a:lnTo>
                    <a:pt x="1885" y="1841"/>
                  </a:lnTo>
                  <a:lnTo>
                    <a:pt x="1870" y="1832"/>
                  </a:lnTo>
                  <a:lnTo>
                    <a:pt x="1855" y="1829"/>
                  </a:lnTo>
                  <a:close/>
                  <a:moveTo>
                    <a:pt x="430" y="1682"/>
                  </a:moveTo>
                  <a:lnTo>
                    <a:pt x="536" y="1682"/>
                  </a:lnTo>
                  <a:lnTo>
                    <a:pt x="517" y="1711"/>
                  </a:lnTo>
                  <a:lnTo>
                    <a:pt x="502" y="1741"/>
                  </a:lnTo>
                  <a:lnTo>
                    <a:pt x="493" y="1773"/>
                  </a:lnTo>
                  <a:lnTo>
                    <a:pt x="488" y="1805"/>
                  </a:lnTo>
                  <a:lnTo>
                    <a:pt x="487" y="1838"/>
                  </a:lnTo>
                  <a:lnTo>
                    <a:pt x="491" y="1870"/>
                  </a:lnTo>
                  <a:lnTo>
                    <a:pt x="500" y="1902"/>
                  </a:lnTo>
                  <a:lnTo>
                    <a:pt x="514" y="1933"/>
                  </a:lnTo>
                  <a:lnTo>
                    <a:pt x="532" y="1961"/>
                  </a:lnTo>
                  <a:lnTo>
                    <a:pt x="555" y="1988"/>
                  </a:lnTo>
                  <a:lnTo>
                    <a:pt x="569" y="2001"/>
                  </a:lnTo>
                  <a:lnTo>
                    <a:pt x="584" y="2012"/>
                  </a:lnTo>
                  <a:lnTo>
                    <a:pt x="584" y="2679"/>
                  </a:lnTo>
                  <a:lnTo>
                    <a:pt x="581" y="2699"/>
                  </a:lnTo>
                  <a:lnTo>
                    <a:pt x="574" y="2717"/>
                  </a:lnTo>
                  <a:lnTo>
                    <a:pt x="562" y="2732"/>
                  </a:lnTo>
                  <a:lnTo>
                    <a:pt x="546" y="2745"/>
                  </a:lnTo>
                  <a:lnTo>
                    <a:pt x="527" y="2752"/>
                  </a:lnTo>
                  <a:lnTo>
                    <a:pt x="506" y="2755"/>
                  </a:lnTo>
                  <a:lnTo>
                    <a:pt x="486" y="2752"/>
                  </a:lnTo>
                  <a:lnTo>
                    <a:pt x="468" y="2745"/>
                  </a:lnTo>
                  <a:lnTo>
                    <a:pt x="452" y="2732"/>
                  </a:lnTo>
                  <a:lnTo>
                    <a:pt x="440" y="2717"/>
                  </a:lnTo>
                  <a:lnTo>
                    <a:pt x="433" y="2699"/>
                  </a:lnTo>
                  <a:lnTo>
                    <a:pt x="430" y="2679"/>
                  </a:lnTo>
                  <a:lnTo>
                    <a:pt x="430" y="1682"/>
                  </a:lnTo>
                  <a:close/>
                  <a:moveTo>
                    <a:pt x="667" y="985"/>
                  </a:moveTo>
                  <a:lnTo>
                    <a:pt x="684" y="985"/>
                  </a:lnTo>
                  <a:lnTo>
                    <a:pt x="701" y="988"/>
                  </a:lnTo>
                  <a:lnTo>
                    <a:pt x="717" y="996"/>
                  </a:lnTo>
                  <a:lnTo>
                    <a:pt x="731" y="1008"/>
                  </a:lnTo>
                  <a:lnTo>
                    <a:pt x="1107" y="1380"/>
                  </a:lnTo>
                  <a:lnTo>
                    <a:pt x="1118" y="1394"/>
                  </a:lnTo>
                  <a:lnTo>
                    <a:pt x="1126" y="1410"/>
                  </a:lnTo>
                  <a:lnTo>
                    <a:pt x="1130" y="1427"/>
                  </a:lnTo>
                  <a:lnTo>
                    <a:pt x="1130" y="1444"/>
                  </a:lnTo>
                  <a:lnTo>
                    <a:pt x="1126" y="1460"/>
                  </a:lnTo>
                  <a:lnTo>
                    <a:pt x="1118" y="1476"/>
                  </a:lnTo>
                  <a:lnTo>
                    <a:pt x="1107" y="1491"/>
                  </a:lnTo>
                  <a:lnTo>
                    <a:pt x="731" y="1863"/>
                  </a:lnTo>
                  <a:lnTo>
                    <a:pt x="714" y="1876"/>
                  </a:lnTo>
                  <a:lnTo>
                    <a:pt x="696" y="1883"/>
                  </a:lnTo>
                  <a:lnTo>
                    <a:pt x="675" y="1886"/>
                  </a:lnTo>
                  <a:lnTo>
                    <a:pt x="660" y="1885"/>
                  </a:lnTo>
                  <a:lnTo>
                    <a:pt x="646" y="1880"/>
                  </a:lnTo>
                  <a:lnTo>
                    <a:pt x="632" y="1873"/>
                  </a:lnTo>
                  <a:lnTo>
                    <a:pt x="620" y="1863"/>
                  </a:lnTo>
                  <a:lnTo>
                    <a:pt x="609" y="1850"/>
                  </a:lnTo>
                  <a:lnTo>
                    <a:pt x="601" y="1833"/>
                  </a:lnTo>
                  <a:lnTo>
                    <a:pt x="598" y="1817"/>
                  </a:lnTo>
                  <a:lnTo>
                    <a:pt x="598" y="1800"/>
                  </a:lnTo>
                  <a:lnTo>
                    <a:pt x="601" y="1783"/>
                  </a:lnTo>
                  <a:lnTo>
                    <a:pt x="609" y="1767"/>
                  </a:lnTo>
                  <a:lnTo>
                    <a:pt x="620" y="1753"/>
                  </a:lnTo>
                  <a:lnTo>
                    <a:pt x="862" y="1513"/>
                  </a:lnTo>
                  <a:lnTo>
                    <a:pt x="79" y="1513"/>
                  </a:lnTo>
                  <a:lnTo>
                    <a:pt x="57" y="1511"/>
                  </a:lnTo>
                  <a:lnTo>
                    <a:pt x="39" y="1503"/>
                  </a:lnTo>
                  <a:lnTo>
                    <a:pt x="23" y="1491"/>
                  </a:lnTo>
                  <a:lnTo>
                    <a:pt x="10" y="1474"/>
                  </a:lnTo>
                  <a:lnTo>
                    <a:pt x="2" y="1456"/>
                  </a:lnTo>
                  <a:lnTo>
                    <a:pt x="0" y="1436"/>
                  </a:lnTo>
                  <a:lnTo>
                    <a:pt x="2" y="1414"/>
                  </a:lnTo>
                  <a:lnTo>
                    <a:pt x="10" y="1396"/>
                  </a:lnTo>
                  <a:lnTo>
                    <a:pt x="23" y="1380"/>
                  </a:lnTo>
                  <a:lnTo>
                    <a:pt x="39" y="1368"/>
                  </a:lnTo>
                  <a:lnTo>
                    <a:pt x="57" y="1361"/>
                  </a:lnTo>
                  <a:lnTo>
                    <a:pt x="79" y="1358"/>
                  </a:lnTo>
                  <a:lnTo>
                    <a:pt x="862" y="1358"/>
                  </a:lnTo>
                  <a:lnTo>
                    <a:pt x="620" y="1117"/>
                  </a:lnTo>
                  <a:lnTo>
                    <a:pt x="609" y="1103"/>
                  </a:lnTo>
                  <a:lnTo>
                    <a:pt x="601" y="1088"/>
                  </a:lnTo>
                  <a:lnTo>
                    <a:pt x="598" y="1071"/>
                  </a:lnTo>
                  <a:lnTo>
                    <a:pt x="598" y="1054"/>
                  </a:lnTo>
                  <a:lnTo>
                    <a:pt x="601" y="1037"/>
                  </a:lnTo>
                  <a:lnTo>
                    <a:pt x="609" y="1022"/>
                  </a:lnTo>
                  <a:lnTo>
                    <a:pt x="620" y="1008"/>
                  </a:lnTo>
                  <a:lnTo>
                    <a:pt x="634" y="996"/>
                  </a:lnTo>
                  <a:lnTo>
                    <a:pt x="650" y="988"/>
                  </a:lnTo>
                  <a:lnTo>
                    <a:pt x="667" y="985"/>
                  </a:lnTo>
                  <a:close/>
                  <a:moveTo>
                    <a:pt x="506" y="0"/>
                  </a:moveTo>
                  <a:lnTo>
                    <a:pt x="2436" y="0"/>
                  </a:lnTo>
                  <a:lnTo>
                    <a:pt x="2457" y="2"/>
                  </a:lnTo>
                  <a:lnTo>
                    <a:pt x="2475" y="10"/>
                  </a:lnTo>
                  <a:lnTo>
                    <a:pt x="2492" y="22"/>
                  </a:lnTo>
                  <a:lnTo>
                    <a:pt x="2503" y="38"/>
                  </a:lnTo>
                  <a:lnTo>
                    <a:pt x="2511" y="56"/>
                  </a:lnTo>
                  <a:lnTo>
                    <a:pt x="2514" y="76"/>
                  </a:lnTo>
                  <a:lnTo>
                    <a:pt x="2514" y="2679"/>
                  </a:lnTo>
                  <a:lnTo>
                    <a:pt x="2511" y="2699"/>
                  </a:lnTo>
                  <a:lnTo>
                    <a:pt x="2503" y="2717"/>
                  </a:lnTo>
                  <a:lnTo>
                    <a:pt x="2492" y="2732"/>
                  </a:lnTo>
                  <a:lnTo>
                    <a:pt x="2475" y="2745"/>
                  </a:lnTo>
                  <a:lnTo>
                    <a:pt x="2457" y="2752"/>
                  </a:lnTo>
                  <a:lnTo>
                    <a:pt x="2436" y="2755"/>
                  </a:lnTo>
                  <a:lnTo>
                    <a:pt x="2417" y="2753"/>
                  </a:lnTo>
                  <a:lnTo>
                    <a:pt x="2399" y="2746"/>
                  </a:lnTo>
                  <a:lnTo>
                    <a:pt x="2384" y="2734"/>
                  </a:lnTo>
                  <a:lnTo>
                    <a:pt x="2372" y="2719"/>
                  </a:lnTo>
                  <a:lnTo>
                    <a:pt x="2364" y="2703"/>
                  </a:lnTo>
                  <a:lnTo>
                    <a:pt x="1549" y="3289"/>
                  </a:lnTo>
                  <a:lnTo>
                    <a:pt x="1549" y="792"/>
                  </a:lnTo>
                  <a:lnTo>
                    <a:pt x="2360" y="207"/>
                  </a:lnTo>
                  <a:lnTo>
                    <a:pt x="2360" y="152"/>
                  </a:lnTo>
                  <a:lnTo>
                    <a:pt x="584" y="152"/>
                  </a:lnTo>
                  <a:lnTo>
                    <a:pt x="584" y="891"/>
                  </a:lnTo>
                  <a:lnTo>
                    <a:pt x="569" y="902"/>
                  </a:lnTo>
                  <a:lnTo>
                    <a:pt x="555" y="915"/>
                  </a:lnTo>
                  <a:lnTo>
                    <a:pt x="535" y="938"/>
                  </a:lnTo>
                  <a:lnTo>
                    <a:pt x="518" y="963"/>
                  </a:lnTo>
                  <a:lnTo>
                    <a:pt x="504" y="989"/>
                  </a:lnTo>
                  <a:lnTo>
                    <a:pt x="494" y="1018"/>
                  </a:lnTo>
                  <a:lnTo>
                    <a:pt x="489" y="1048"/>
                  </a:lnTo>
                  <a:lnTo>
                    <a:pt x="487" y="1079"/>
                  </a:lnTo>
                  <a:lnTo>
                    <a:pt x="489" y="1109"/>
                  </a:lnTo>
                  <a:lnTo>
                    <a:pt x="495" y="1139"/>
                  </a:lnTo>
                  <a:lnTo>
                    <a:pt x="504" y="1168"/>
                  </a:lnTo>
                  <a:lnTo>
                    <a:pt x="519" y="1195"/>
                  </a:lnTo>
                  <a:lnTo>
                    <a:pt x="536" y="1221"/>
                  </a:lnTo>
                  <a:lnTo>
                    <a:pt x="430" y="1221"/>
                  </a:lnTo>
                  <a:lnTo>
                    <a:pt x="430" y="76"/>
                  </a:lnTo>
                  <a:lnTo>
                    <a:pt x="433" y="56"/>
                  </a:lnTo>
                  <a:lnTo>
                    <a:pt x="440" y="38"/>
                  </a:lnTo>
                  <a:lnTo>
                    <a:pt x="452" y="22"/>
                  </a:lnTo>
                  <a:lnTo>
                    <a:pt x="468" y="10"/>
                  </a:lnTo>
                  <a:lnTo>
                    <a:pt x="486" y="2"/>
                  </a:lnTo>
                  <a:lnTo>
                    <a:pt x="506" y="0"/>
                  </a:lnTo>
                  <a:close/>
                </a:path>
              </a:pathLst>
            </a:custGeom>
            <a:solidFill>
              <a:srgbClr val="92D05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457200" eaLnBrk="0" fontAlgn="base" latinLnBrk="0" hangingPunct="0">
                <a:lnSpc>
                  <a:spcPct val="100000"/>
                </a:lnSpc>
                <a:spcBef>
                  <a:spcPct val="0"/>
                </a:spcBef>
                <a:spcAft>
                  <a:spcPct val="0"/>
                </a:spcAft>
                <a:buClrTx/>
                <a:buSzTx/>
                <a:buFontTx/>
                <a:buNone/>
                <a:tabLst/>
                <a:defRPr/>
              </a:pPr>
              <a:endParaRPr kumimoji="0" lang="en-IN" sz="1400" b="0" i="0" u="none" strike="noStrike" kern="0" cap="none" spc="0" normalizeH="0" baseline="0" noProof="0" dirty="0">
                <a:ln>
                  <a:noFill/>
                </a:ln>
                <a:solidFill>
                  <a:prstClr val="black"/>
                </a:solidFill>
                <a:effectLst/>
                <a:uLnTx/>
                <a:uFillTx/>
                <a:latin typeface="Calibri"/>
                <a:ea typeface="MS PGothic" pitchFamily="34" charset="-128"/>
              </a:endParaRPr>
            </a:p>
          </p:txBody>
        </p:sp>
        <p:pic>
          <p:nvPicPr>
            <p:cNvPr id="96" name="Picture 95">
              <a:extLst>
                <a:ext uri="{FF2B5EF4-FFF2-40B4-BE49-F238E27FC236}">
                  <a16:creationId xmlns:a16="http://schemas.microsoft.com/office/drawing/2014/main" xmlns="" id="{8036BD4E-A9DE-4684-BE09-4B6F6616A74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1037" r="9932" b="11517"/>
            <a:stretch/>
          </p:blipFill>
          <p:spPr>
            <a:xfrm>
              <a:off x="5498707" y="2166540"/>
              <a:ext cx="684136" cy="623398"/>
            </a:xfrm>
            <a:prstGeom prst="rect">
              <a:avLst/>
            </a:prstGeom>
          </p:spPr>
        </p:pic>
        <p:pic>
          <p:nvPicPr>
            <p:cNvPr id="97" name="Picture 96">
              <a:extLst>
                <a:ext uri="{FF2B5EF4-FFF2-40B4-BE49-F238E27FC236}">
                  <a16:creationId xmlns:a16="http://schemas.microsoft.com/office/drawing/2014/main" xmlns="" id="{CE3BF9F0-65EB-4CEC-BEAA-2602B39E09B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02426" y="2101985"/>
              <a:ext cx="597989" cy="597989"/>
            </a:xfrm>
            <a:prstGeom prst="rect">
              <a:avLst/>
            </a:prstGeom>
          </p:spPr>
        </p:pic>
        <p:sp>
          <p:nvSpPr>
            <p:cNvPr id="99" name="Content Placeholder 1">
              <a:extLst>
                <a:ext uri="{FF2B5EF4-FFF2-40B4-BE49-F238E27FC236}">
                  <a16:creationId xmlns:a16="http://schemas.microsoft.com/office/drawing/2014/main" xmlns="" id="{FC51C01C-8BC6-4689-BF72-89F08F0B3D23}"/>
                </a:ext>
              </a:extLst>
            </p:cNvPr>
            <p:cNvSpPr txBox="1">
              <a:spLocks/>
            </p:cNvSpPr>
            <p:nvPr/>
          </p:nvSpPr>
          <p:spPr bwMode="gray">
            <a:xfrm>
              <a:off x="5769441" y="2740916"/>
              <a:ext cx="142668" cy="215444"/>
            </a:xfrm>
            <a:prstGeom prst="rect">
              <a:avLst/>
            </a:prstGeom>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ts val="200"/>
                </a:spcBef>
                <a:spcAft>
                  <a:spcPct val="0"/>
                </a:spcAft>
                <a:buClr>
                  <a:srgbClr val="2F82BF"/>
                </a:buClr>
                <a:buSzPct val="120000"/>
                <a:buFont typeface="Lucida Grande"/>
                <a:buNone/>
                <a:tabLst/>
                <a:defRPr/>
              </a:pPr>
              <a:r>
                <a:rPr kumimoji="0" lang="en-US" sz="1400" b="0" i="0" u="none" strike="noStrike" kern="1200" cap="none" spc="0" normalizeH="0" baseline="0" noProof="0" dirty="0">
                  <a:ln>
                    <a:noFill/>
                  </a:ln>
                  <a:solidFill>
                    <a:prstClr val="black"/>
                  </a:solidFill>
                  <a:effectLst/>
                  <a:uLnTx/>
                  <a:uFillTx/>
                  <a:latin typeface="Calibri"/>
                  <a:ea typeface="MS PGothic" pitchFamily="34" charset="-128"/>
                  <a:cs typeface="Calibri"/>
                </a:rPr>
                <a:t>IB</a:t>
              </a:r>
            </a:p>
          </p:txBody>
        </p:sp>
        <p:sp>
          <p:nvSpPr>
            <p:cNvPr id="100" name="Content Placeholder 1">
              <a:extLst>
                <a:ext uri="{FF2B5EF4-FFF2-40B4-BE49-F238E27FC236}">
                  <a16:creationId xmlns:a16="http://schemas.microsoft.com/office/drawing/2014/main" xmlns="" id="{1E780DEF-77AA-408A-B13C-816151D27F82}"/>
                </a:ext>
              </a:extLst>
            </p:cNvPr>
            <p:cNvSpPr txBox="1">
              <a:spLocks/>
            </p:cNvSpPr>
            <p:nvPr/>
          </p:nvSpPr>
          <p:spPr bwMode="gray">
            <a:xfrm>
              <a:off x="7093711" y="2718321"/>
              <a:ext cx="251672" cy="215444"/>
            </a:xfrm>
            <a:prstGeom prst="rect">
              <a:avLst/>
            </a:prstGeom>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ts val="200"/>
                </a:spcBef>
                <a:spcAft>
                  <a:spcPct val="0"/>
                </a:spcAft>
                <a:buClr>
                  <a:srgbClr val="2F82BF"/>
                </a:buClr>
                <a:buSzPct val="120000"/>
                <a:buFont typeface="Lucida Grande"/>
                <a:buNone/>
                <a:tabLst/>
                <a:defRPr/>
              </a:pPr>
              <a:r>
                <a:rPr kumimoji="0" lang="en-US" sz="1400" b="0" i="0" u="none" strike="noStrike" kern="1200" cap="none" spc="0" normalizeH="0" baseline="0" noProof="0" dirty="0">
                  <a:ln>
                    <a:noFill/>
                  </a:ln>
                  <a:solidFill>
                    <a:prstClr val="black"/>
                  </a:solidFill>
                  <a:effectLst/>
                  <a:uLnTx/>
                  <a:uFillTx/>
                  <a:latin typeface="Calibri"/>
                  <a:ea typeface="MS PGothic" pitchFamily="34" charset="-128"/>
                  <a:cs typeface="Calibri"/>
                </a:rPr>
                <a:t>MB</a:t>
              </a:r>
            </a:p>
          </p:txBody>
        </p:sp>
        <p:pic>
          <p:nvPicPr>
            <p:cNvPr id="102" name="Picture 101">
              <a:extLst>
                <a:ext uri="{FF2B5EF4-FFF2-40B4-BE49-F238E27FC236}">
                  <a16:creationId xmlns:a16="http://schemas.microsoft.com/office/drawing/2014/main" xmlns="" id="{A5304C6C-4F50-4424-9CDA-973DFE1B93F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38823" y="3238213"/>
              <a:ext cx="504000" cy="504000"/>
            </a:xfrm>
            <a:prstGeom prst="rect">
              <a:avLst/>
            </a:prstGeom>
          </p:spPr>
        </p:pic>
        <p:pic>
          <p:nvPicPr>
            <p:cNvPr id="103" name="Picture 102">
              <a:extLst>
                <a:ext uri="{FF2B5EF4-FFF2-40B4-BE49-F238E27FC236}">
                  <a16:creationId xmlns:a16="http://schemas.microsoft.com/office/drawing/2014/main" xmlns="" id="{13707670-16C4-498C-993F-82D6CB3C27B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714810" y="3256581"/>
              <a:ext cx="504000" cy="504000"/>
            </a:xfrm>
            <a:prstGeom prst="rect">
              <a:avLst/>
            </a:prstGeom>
          </p:spPr>
        </p:pic>
        <p:pic>
          <p:nvPicPr>
            <p:cNvPr id="104" name="Picture 103">
              <a:extLst>
                <a:ext uri="{FF2B5EF4-FFF2-40B4-BE49-F238E27FC236}">
                  <a16:creationId xmlns:a16="http://schemas.microsoft.com/office/drawing/2014/main" xmlns="" id="{36BE4C50-A378-4F8A-BA46-90FD388F2AE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87647" y="3265705"/>
              <a:ext cx="500521" cy="504000"/>
            </a:xfrm>
            <a:prstGeom prst="rect">
              <a:avLst/>
            </a:prstGeom>
          </p:spPr>
        </p:pic>
        <p:sp>
          <p:nvSpPr>
            <p:cNvPr id="105" name="Content Placeholder 1">
              <a:extLst>
                <a:ext uri="{FF2B5EF4-FFF2-40B4-BE49-F238E27FC236}">
                  <a16:creationId xmlns:a16="http://schemas.microsoft.com/office/drawing/2014/main" xmlns="" id="{0EABB33A-7698-4FB6-845A-50B3F05D0472}"/>
                </a:ext>
              </a:extLst>
            </p:cNvPr>
            <p:cNvSpPr txBox="1">
              <a:spLocks/>
            </p:cNvSpPr>
            <p:nvPr/>
          </p:nvSpPr>
          <p:spPr bwMode="gray">
            <a:xfrm>
              <a:off x="6716386" y="3824795"/>
              <a:ext cx="508563" cy="219136"/>
            </a:xfrm>
            <a:prstGeom prst="rect">
              <a:avLst/>
            </a:prstGeom>
            <a:ln>
              <a:noFill/>
            </a:ln>
          </p:spPr>
          <p:txBody>
            <a:bodyPr wrap="squar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ts val="200"/>
                </a:spcBef>
                <a:spcAft>
                  <a:spcPct val="0"/>
                </a:spcAft>
                <a:buClr>
                  <a:srgbClr val="2F82BF"/>
                </a:buClr>
                <a:buSzPct val="120000"/>
                <a:buFont typeface="Lucida Grande"/>
                <a:buNone/>
                <a:tabLst/>
                <a:defRPr/>
              </a:pPr>
              <a:r>
                <a:rPr kumimoji="0" lang="en-US" sz="1400" b="0" i="0" u="none" strike="noStrike" kern="1200" cap="none" spc="0" normalizeH="0" baseline="0" noProof="0" dirty="0">
                  <a:ln>
                    <a:noFill/>
                  </a:ln>
                  <a:solidFill>
                    <a:prstClr val="black"/>
                  </a:solidFill>
                  <a:effectLst/>
                  <a:uLnTx/>
                  <a:uFillTx/>
                  <a:latin typeface="Calibri"/>
                  <a:ea typeface="MS PGothic" pitchFamily="34" charset="-128"/>
                  <a:cs typeface="Calibri"/>
                </a:rPr>
                <a:t>Cortex</a:t>
              </a:r>
            </a:p>
          </p:txBody>
        </p:sp>
        <p:sp>
          <p:nvSpPr>
            <p:cNvPr id="106" name="Content Placeholder 1">
              <a:extLst>
                <a:ext uri="{FF2B5EF4-FFF2-40B4-BE49-F238E27FC236}">
                  <a16:creationId xmlns:a16="http://schemas.microsoft.com/office/drawing/2014/main" xmlns="" id="{E65D4651-DD8D-4786-8FC8-E0D49979B446}"/>
                </a:ext>
              </a:extLst>
            </p:cNvPr>
            <p:cNvSpPr txBox="1">
              <a:spLocks/>
            </p:cNvSpPr>
            <p:nvPr/>
          </p:nvSpPr>
          <p:spPr bwMode="gray">
            <a:xfrm>
              <a:off x="7156601" y="3813835"/>
              <a:ext cx="653786" cy="215444"/>
            </a:xfrm>
            <a:prstGeom prst="rect">
              <a:avLst/>
            </a:prstGeom>
            <a:ln>
              <a:noFill/>
            </a:ln>
          </p:spPr>
          <p:txBody>
            <a:bodyPr wrap="squar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ts val="200"/>
                </a:spcBef>
                <a:spcAft>
                  <a:spcPct val="0"/>
                </a:spcAft>
                <a:buClr>
                  <a:srgbClr val="2F82BF"/>
                </a:buClr>
                <a:buSzPct val="120000"/>
                <a:buFont typeface="Lucida Grande"/>
                <a:buNone/>
                <a:tabLst/>
                <a:defRPr/>
              </a:pPr>
              <a:r>
                <a:rPr kumimoji="0" lang="en-US" sz="1400" b="0" i="0" u="none" strike="noStrike" kern="1200" cap="none" spc="0" normalizeH="0" baseline="0" noProof="0" dirty="0">
                  <a:ln>
                    <a:noFill/>
                  </a:ln>
                  <a:solidFill>
                    <a:prstClr val="black"/>
                  </a:solidFill>
                  <a:effectLst/>
                  <a:uLnTx/>
                  <a:uFillTx/>
                  <a:latin typeface="Calibri"/>
                  <a:ea typeface="MS PGothic" pitchFamily="34" charset="-128"/>
                  <a:cs typeface="Calibri"/>
                </a:rPr>
                <a:t>AFS</a:t>
              </a:r>
            </a:p>
          </p:txBody>
        </p:sp>
        <p:grpSp>
          <p:nvGrpSpPr>
            <p:cNvPr id="107" name="Group 106">
              <a:extLst>
                <a:ext uri="{FF2B5EF4-FFF2-40B4-BE49-F238E27FC236}">
                  <a16:creationId xmlns:a16="http://schemas.microsoft.com/office/drawing/2014/main" xmlns="" id="{2C6AA253-FA8E-48C3-8833-B05CDEA3968F}"/>
                </a:ext>
              </a:extLst>
            </p:cNvPr>
            <p:cNvGrpSpPr/>
            <p:nvPr/>
          </p:nvGrpSpPr>
          <p:grpSpPr>
            <a:xfrm>
              <a:off x="810259" y="3334472"/>
              <a:ext cx="2573264" cy="1031257"/>
              <a:chOff x="720683" y="1541852"/>
              <a:chExt cx="2533297" cy="509955"/>
            </a:xfrm>
          </p:grpSpPr>
          <p:sp>
            <p:nvSpPr>
              <p:cNvPr id="113" name="Rectangle 112">
                <a:extLst>
                  <a:ext uri="{FF2B5EF4-FFF2-40B4-BE49-F238E27FC236}">
                    <a16:creationId xmlns:a16="http://schemas.microsoft.com/office/drawing/2014/main" xmlns="" id="{87A7705E-D6C1-4587-BEFF-E79403BC60D9}"/>
                  </a:ext>
                </a:extLst>
              </p:cNvPr>
              <p:cNvSpPr/>
              <p:nvPr/>
            </p:nvSpPr>
            <p:spPr>
              <a:xfrm>
                <a:off x="720683" y="1541852"/>
                <a:ext cx="2533297" cy="185140"/>
              </a:xfrm>
              <a:prstGeom prst="rect">
                <a:avLst/>
              </a:prstGeom>
              <a:solidFill>
                <a:srgbClr val="234E8F"/>
              </a:solidFill>
              <a:ln w="9525" cap="flat" cmpd="sng" algn="ctr">
                <a:noFill/>
                <a:prstDash val="solid"/>
              </a:ln>
              <a:effectLst/>
            </p:spPr>
            <p:txBody>
              <a:bodyPr lIns="0" tIns="0" rIns="0" bIns="0" rtlCol="0" anchor="ctr" anchorCtr="0">
                <a:noAutofit/>
              </a:bodyP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1300" b="1" i="0" u="none" strike="noStrike" kern="0" cap="none" spc="0" normalizeH="0" baseline="0" noProof="0" dirty="0">
                    <a:ln>
                      <a:noFill/>
                    </a:ln>
                    <a:solidFill>
                      <a:prstClr val="white"/>
                    </a:solidFill>
                    <a:effectLst/>
                    <a:uLnTx/>
                    <a:uFillTx/>
                    <a:latin typeface="Calibri"/>
                    <a:ea typeface="+mn-ea"/>
                    <a:cs typeface="Arial" panose="020B0604020202020204" pitchFamily="34" charset="0"/>
                  </a:rPr>
                  <a:t>Performance Testing Factors</a:t>
                </a:r>
              </a:p>
            </p:txBody>
          </p:sp>
          <p:sp>
            <p:nvSpPr>
              <p:cNvPr id="114" name="Rectangle 113">
                <a:extLst>
                  <a:ext uri="{FF2B5EF4-FFF2-40B4-BE49-F238E27FC236}">
                    <a16:creationId xmlns:a16="http://schemas.microsoft.com/office/drawing/2014/main" xmlns="" id="{6AF533D4-5932-4E13-AD09-1F3C79DA6EC3}"/>
                  </a:ext>
                </a:extLst>
              </p:cNvPr>
              <p:cNvSpPr/>
              <p:nvPr/>
            </p:nvSpPr>
            <p:spPr>
              <a:xfrm>
                <a:off x="720683" y="1722403"/>
                <a:ext cx="2533297" cy="329404"/>
              </a:xfrm>
              <a:prstGeom prst="rect">
                <a:avLst/>
              </a:prstGeom>
              <a:solidFill>
                <a:srgbClr val="234E8F">
                  <a:lumMod val="20000"/>
                  <a:lumOff val="80000"/>
                </a:srgbClr>
              </a:solidFill>
              <a:ln w="9525" cap="flat" cmpd="sng" algn="ctr">
                <a:noFill/>
                <a:prstDash val="solid"/>
              </a:ln>
              <a:effectLst/>
            </p:spPr>
            <p:txBody>
              <a:bodyPr lIns="72000" tIns="0" rIns="0" bIns="0" rtlCol="0" anchor="ctr" anchorCtr="0">
                <a:noAutofit/>
              </a:bodyPr>
              <a:lstStyle/>
              <a:p>
                <a:pPr marL="285750" marR="0" lvl="0" indent="-285750" defTabSz="457200" eaLnBrk="0" fontAlgn="base" latinLnBrk="0" hangingPunct="0">
                  <a:lnSpc>
                    <a:spcPct val="100000"/>
                  </a:lnSpc>
                  <a:spcBef>
                    <a:spcPct val="0"/>
                  </a:spcBef>
                  <a:spcAft>
                    <a:spcPct val="0"/>
                  </a:spcAft>
                  <a:buClr>
                    <a:srgbClr val="6C99D6">
                      <a:lumMod val="50000"/>
                    </a:srgbClr>
                  </a:buClr>
                  <a:buSzTx/>
                  <a:buFont typeface="Wingdings" panose="05000000000000000000" pitchFamily="2" charset="2"/>
                  <a:buChar char="§"/>
                  <a:tabLst/>
                  <a:defRPr/>
                </a:pPr>
                <a:r>
                  <a:rPr kumimoji="0" lang="en-IN" sz="12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Load and Volume</a:t>
                </a:r>
              </a:p>
              <a:p>
                <a:pPr marL="285750" marR="0" lvl="0" indent="-285750" defTabSz="457200" eaLnBrk="0" fontAlgn="base" latinLnBrk="0" hangingPunct="0">
                  <a:lnSpc>
                    <a:spcPct val="100000"/>
                  </a:lnSpc>
                  <a:spcBef>
                    <a:spcPct val="0"/>
                  </a:spcBef>
                  <a:spcAft>
                    <a:spcPct val="0"/>
                  </a:spcAft>
                  <a:buClr>
                    <a:srgbClr val="6C99D6">
                      <a:lumMod val="50000"/>
                    </a:srgbClr>
                  </a:buClr>
                  <a:buSzTx/>
                  <a:buFont typeface="Wingdings" panose="05000000000000000000" pitchFamily="2" charset="2"/>
                  <a:buChar char="§"/>
                  <a:tabLst/>
                  <a:defRPr/>
                </a:pPr>
                <a:r>
                  <a:rPr kumimoji="0" lang="en-IN" sz="12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Breakpoint/Stress</a:t>
                </a:r>
              </a:p>
              <a:p>
                <a:pPr marL="285750" marR="0" lvl="0" indent="-285750" defTabSz="457200" eaLnBrk="0" fontAlgn="base" latinLnBrk="0" hangingPunct="0">
                  <a:lnSpc>
                    <a:spcPct val="100000"/>
                  </a:lnSpc>
                  <a:spcBef>
                    <a:spcPct val="0"/>
                  </a:spcBef>
                  <a:spcAft>
                    <a:spcPct val="0"/>
                  </a:spcAft>
                  <a:buClr>
                    <a:srgbClr val="6C99D6">
                      <a:lumMod val="50000"/>
                    </a:srgbClr>
                  </a:buClr>
                  <a:buSzTx/>
                  <a:buFont typeface="Wingdings" panose="05000000000000000000" pitchFamily="2" charset="2"/>
                  <a:buChar char="§"/>
                  <a:tabLst/>
                  <a:defRPr/>
                </a:pPr>
                <a:r>
                  <a:rPr kumimoji="0" lang="en-IN" sz="12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Endurance</a:t>
                </a:r>
                <a:endParaRPr kumimoji="0" lang="en-US" sz="1200" b="0" i="0" u="none" strike="noStrike" kern="0" cap="none" spc="0" normalizeH="0" baseline="0" noProof="0" dirty="0">
                  <a:ln>
                    <a:noFill/>
                  </a:ln>
                  <a:solidFill>
                    <a:prstClr val="black"/>
                  </a:solidFill>
                  <a:effectLst/>
                  <a:uLnTx/>
                  <a:uFillTx/>
                  <a:latin typeface="Calibri"/>
                  <a:ea typeface="+mn-ea"/>
                  <a:cs typeface="Arial" panose="020B0604020202020204" pitchFamily="34" charset="0"/>
                </a:endParaRPr>
              </a:p>
            </p:txBody>
          </p:sp>
        </p:grpSp>
        <p:grpSp>
          <p:nvGrpSpPr>
            <p:cNvPr id="108" name="Group 107">
              <a:extLst>
                <a:ext uri="{FF2B5EF4-FFF2-40B4-BE49-F238E27FC236}">
                  <a16:creationId xmlns:a16="http://schemas.microsoft.com/office/drawing/2014/main" xmlns="" id="{8252BDDE-B083-46CF-B89D-5C2514A2644F}"/>
                </a:ext>
              </a:extLst>
            </p:cNvPr>
            <p:cNvGrpSpPr/>
            <p:nvPr/>
          </p:nvGrpSpPr>
          <p:grpSpPr>
            <a:xfrm>
              <a:off x="818626" y="4421865"/>
              <a:ext cx="2573264" cy="747351"/>
              <a:chOff x="720683" y="1541852"/>
              <a:chExt cx="2533297" cy="369564"/>
            </a:xfrm>
          </p:grpSpPr>
          <p:sp>
            <p:nvSpPr>
              <p:cNvPr id="111" name="Rectangle 110">
                <a:extLst>
                  <a:ext uri="{FF2B5EF4-FFF2-40B4-BE49-F238E27FC236}">
                    <a16:creationId xmlns:a16="http://schemas.microsoft.com/office/drawing/2014/main" xmlns="" id="{77044875-24C6-4AEA-B26A-70162CCDE20C}"/>
                  </a:ext>
                </a:extLst>
              </p:cNvPr>
              <p:cNvSpPr/>
              <p:nvPr/>
            </p:nvSpPr>
            <p:spPr>
              <a:xfrm>
                <a:off x="720683" y="1541852"/>
                <a:ext cx="2533297" cy="185140"/>
              </a:xfrm>
              <a:prstGeom prst="rect">
                <a:avLst/>
              </a:prstGeom>
              <a:solidFill>
                <a:srgbClr val="234E8F"/>
              </a:solidFill>
              <a:ln w="9525" cap="flat" cmpd="sng" algn="ctr">
                <a:noFill/>
                <a:prstDash val="solid"/>
              </a:ln>
              <a:effectLst/>
            </p:spPr>
            <p:txBody>
              <a:bodyPr lIns="0" tIns="0" rIns="0" bIns="0" rtlCol="0" anchor="ctr" anchorCtr="0">
                <a:noAutofit/>
              </a:bodyP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1300" b="1" i="0" u="none" strike="noStrike" kern="0" cap="none" spc="0" normalizeH="0" baseline="0" noProof="0" dirty="0">
                    <a:ln>
                      <a:noFill/>
                    </a:ln>
                    <a:solidFill>
                      <a:prstClr val="white"/>
                    </a:solidFill>
                    <a:effectLst/>
                    <a:uLnTx/>
                    <a:uFillTx/>
                    <a:latin typeface="Calibri"/>
                    <a:ea typeface="+mn-ea"/>
                    <a:cs typeface="Arial" panose="020B0604020202020204" pitchFamily="34" charset="0"/>
                  </a:rPr>
                  <a:t>Performance Testing  Tool</a:t>
                </a:r>
              </a:p>
            </p:txBody>
          </p:sp>
          <p:sp>
            <p:nvSpPr>
              <p:cNvPr id="112" name="Rectangle 111">
                <a:extLst>
                  <a:ext uri="{FF2B5EF4-FFF2-40B4-BE49-F238E27FC236}">
                    <a16:creationId xmlns:a16="http://schemas.microsoft.com/office/drawing/2014/main" xmlns="" id="{581ADA39-1E46-40F1-8DEF-BE1D6F911460}"/>
                  </a:ext>
                </a:extLst>
              </p:cNvPr>
              <p:cNvSpPr/>
              <p:nvPr/>
            </p:nvSpPr>
            <p:spPr>
              <a:xfrm>
                <a:off x="720683" y="1722403"/>
                <a:ext cx="2533297" cy="189013"/>
              </a:xfrm>
              <a:prstGeom prst="rect">
                <a:avLst/>
              </a:prstGeom>
              <a:solidFill>
                <a:srgbClr val="234E8F">
                  <a:lumMod val="20000"/>
                  <a:lumOff val="80000"/>
                </a:srgbClr>
              </a:solidFill>
              <a:ln w="9525" cap="flat" cmpd="sng" algn="ctr">
                <a:noFill/>
                <a:prstDash val="solid"/>
              </a:ln>
              <a:effectLst/>
            </p:spPr>
            <p:txBody>
              <a:bodyPr lIns="72000" tIns="0" rIns="0" bIns="0" rtlCol="0" anchor="ctr" anchorCtr="0">
                <a:noAutofit/>
              </a:bodyPr>
              <a:lstStyle/>
              <a:p>
                <a:pPr marL="285750" marR="0" lvl="0" indent="-285750" defTabSz="457200" eaLnBrk="0" fontAlgn="base" latinLnBrk="0" hangingPunct="0">
                  <a:lnSpc>
                    <a:spcPct val="100000"/>
                  </a:lnSpc>
                  <a:spcBef>
                    <a:spcPct val="0"/>
                  </a:spcBef>
                  <a:spcAft>
                    <a:spcPct val="0"/>
                  </a:spcAft>
                  <a:buClr>
                    <a:srgbClr val="6C99D6">
                      <a:lumMod val="50000"/>
                    </a:srgbClr>
                  </a:buClr>
                  <a:buSzTx/>
                  <a:buFont typeface="Wingdings" panose="05000000000000000000" pitchFamily="2" charset="2"/>
                  <a:buChar char="§"/>
                  <a:tabLst/>
                  <a:defRPr/>
                </a:pPr>
                <a:r>
                  <a:rPr kumimoji="0" lang="en-IN" sz="12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Jmeter - Open source</a:t>
                </a:r>
              </a:p>
            </p:txBody>
          </p:sp>
        </p:grpSp>
        <p:sp>
          <p:nvSpPr>
            <p:cNvPr id="109" name="Rectangle 108">
              <a:extLst>
                <a:ext uri="{FF2B5EF4-FFF2-40B4-BE49-F238E27FC236}">
                  <a16:creationId xmlns:a16="http://schemas.microsoft.com/office/drawing/2014/main" xmlns="" id="{165BC02A-1C42-49EB-BEA1-5814D1B60F47}"/>
                </a:ext>
              </a:extLst>
            </p:cNvPr>
            <p:cNvSpPr/>
            <p:nvPr/>
          </p:nvSpPr>
          <p:spPr>
            <a:xfrm>
              <a:off x="3976861" y="1461000"/>
              <a:ext cx="4707752" cy="421177"/>
            </a:xfrm>
            <a:prstGeom prst="rect">
              <a:avLst/>
            </a:prstGeom>
            <a:solidFill>
              <a:srgbClr val="234E8F"/>
            </a:solidFill>
            <a:ln w="9525" cap="flat" cmpd="sng" algn="ctr">
              <a:noFill/>
              <a:prstDash val="solid"/>
            </a:ln>
            <a:effectLst/>
          </p:spPr>
          <p:txBody>
            <a:bodyPr lIns="0" tIns="0" rIns="0" bIns="0" rtlCol="0" anchor="ctr" anchorCtr="0">
              <a:noAutofit/>
            </a:bodyP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1300" b="1" i="0" u="none" strike="noStrike" kern="0" cap="none" spc="0" normalizeH="0" baseline="0" noProof="0" dirty="0">
                  <a:ln>
                    <a:noFill/>
                  </a:ln>
                  <a:solidFill>
                    <a:prstClr val="white"/>
                  </a:solidFill>
                  <a:effectLst/>
                  <a:uLnTx/>
                  <a:uFillTx/>
                  <a:latin typeface="Calibri"/>
                  <a:ea typeface="+mn-ea"/>
                  <a:cs typeface="Arial" panose="020B0604020202020204" pitchFamily="34" charset="0"/>
                </a:rPr>
                <a:t>Channels &amp; Target Systems</a:t>
              </a:r>
            </a:p>
          </p:txBody>
        </p:sp>
        <p:sp>
          <p:nvSpPr>
            <p:cNvPr id="110" name="Rounded Rectangle 1">
              <a:extLst>
                <a:ext uri="{FF2B5EF4-FFF2-40B4-BE49-F238E27FC236}">
                  <a16:creationId xmlns:a16="http://schemas.microsoft.com/office/drawing/2014/main" xmlns="" id="{84272BBD-213A-480A-8019-84C1ECA5CB61}"/>
                </a:ext>
              </a:extLst>
            </p:cNvPr>
            <p:cNvSpPr/>
            <p:nvPr/>
          </p:nvSpPr>
          <p:spPr>
            <a:xfrm>
              <a:off x="6216782" y="4112443"/>
              <a:ext cx="2041683" cy="270013"/>
            </a:xfrm>
            <a:prstGeom prst="roundRect">
              <a:avLst/>
            </a:prstGeom>
            <a:gradFill rotWithShape="1">
              <a:gsLst>
                <a:gs pos="0">
                  <a:srgbClr val="5E5E5E">
                    <a:tint val="100000"/>
                    <a:shade val="100000"/>
                    <a:satMod val="130000"/>
                  </a:srgbClr>
                </a:gs>
                <a:gs pos="100000">
                  <a:srgbClr val="5E5E5E">
                    <a:tint val="50000"/>
                    <a:shade val="100000"/>
                    <a:satMod val="350000"/>
                  </a:srgbClr>
                </a:gs>
              </a:gsLst>
              <a:lin ang="16200000" scaled="0"/>
            </a:gradFill>
            <a:ln w="9525" cap="flat" cmpd="sng" algn="ctr">
              <a:solidFill>
                <a:srgbClr val="5E5E5E">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1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Other Retail Back End Systems</a:t>
              </a:r>
            </a:p>
          </p:txBody>
        </p:sp>
      </p:grpSp>
      <p:sp>
        <p:nvSpPr>
          <p:cNvPr id="153" name="Rectangle 152">
            <a:extLst>
              <a:ext uri="{FF2B5EF4-FFF2-40B4-BE49-F238E27FC236}">
                <a16:creationId xmlns:a16="http://schemas.microsoft.com/office/drawing/2014/main" xmlns="" id="{993D46FC-30AC-4515-8677-63DC8D11AAD3}"/>
              </a:ext>
            </a:extLst>
          </p:cNvPr>
          <p:cNvSpPr/>
          <p:nvPr/>
        </p:nvSpPr>
        <p:spPr>
          <a:xfrm>
            <a:off x="5294827" y="3213853"/>
            <a:ext cx="838361" cy="911473"/>
          </a:xfrm>
          <a:prstGeom prst="rect">
            <a:avLst/>
          </a:prstGeom>
          <a:solidFill>
            <a:sysClr val="window" lastClr="FFFFFF">
              <a:lumMod val="95000"/>
            </a:sysClr>
          </a:solidFill>
          <a:ln w="9525" cap="flat" cmpd="sng" algn="ctr">
            <a:solidFill>
              <a:sysClr val="window" lastClr="FFFFFF">
                <a:lumMod val="9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154" name="Content Placeholder 1">
            <a:extLst>
              <a:ext uri="{FF2B5EF4-FFF2-40B4-BE49-F238E27FC236}">
                <a16:creationId xmlns:a16="http://schemas.microsoft.com/office/drawing/2014/main" xmlns="" id="{FFF17742-A1F7-428F-B071-929429B89421}"/>
              </a:ext>
            </a:extLst>
          </p:cNvPr>
          <p:cNvSpPr txBox="1">
            <a:spLocks/>
          </p:cNvSpPr>
          <p:nvPr/>
        </p:nvSpPr>
        <p:spPr bwMode="gray">
          <a:xfrm>
            <a:off x="5283107" y="3698578"/>
            <a:ext cx="853548" cy="369332"/>
          </a:xfrm>
          <a:prstGeom prst="rect">
            <a:avLst/>
          </a:prstGeom>
        </p:spPr>
        <p:txBody>
          <a:bodyPr wrap="squar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ts val="200"/>
              </a:spcBef>
              <a:spcAft>
                <a:spcPct val="0"/>
              </a:spcAft>
              <a:buClr>
                <a:srgbClr val="2F82BF"/>
              </a:buClr>
              <a:buSzPct val="120000"/>
              <a:buFont typeface="Lucida Grande"/>
              <a:buNone/>
              <a:tabLst/>
              <a:defRPr/>
            </a:pPr>
            <a:r>
              <a:rPr kumimoji="0" lang="en-US" sz="1200" b="0" i="0" u="none" strike="noStrike" kern="1200" cap="none" spc="0" normalizeH="0" baseline="0" noProof="0" dirty="0">
                <a:ln>
                  <a:noFill/>
                </a:ln>
                <a:solidFill>
                  <a:prstClr val="black"/>
                </a:solidFill>
                <a:effectLst/>
                <a:uLnTx/>
                <a:uFillTx/>
                <a:latin typeface="Calibri"/>
                <a:ea typeface="MS PGothic" pitchFamily="34" charset="-128"/>
                <a:cs typeface="Calibri"/>
              </a:rPr>
              <a:t>System Integrator</a:t>
            </a:r>
          </a:p>
        </p:txBody>
      </p:sp>
      <p:sp>
        <p:nvSpPr>
          <p:cNvPr id="155" name="Freeform 41">
            <a:extLst>
              <a:ext uri="{FF2B5EF4-FFF2-40B4-BE49-F238E27FC236}">
                <a16:creationId xmlns:a16="http://schemas.microsoft.com/office/drawing/2014/main" xmlns="" id="{687303F1-CEC0-4743-9222-A7E713E07743}"/>
              </a:ext>
            </a:extLst>
          </p:cNvPr>
          <p:cNvSpPr>
            <a:spLocks noEditPoints="1"/>
          </p:cNvSpPr>
          <p:nvPr/>
        </p:nvSpPr>
        <p:spPr bwMode="auto">
          <a:xfrm>
            <a:off x="5567079" y="3315217"/>
            <a:ext cx="259236" cy="395379"/>
          </a:xfrm>
          <a:custGeom>
            <a:avLst/>
            <a:gdLst>
              <a:gd name="T0" fmla="*/ 809 w 3209"/>
              <a:gd name="T1" fmla="*/ 1707 h 3262"/>
              <a:gd name="T2" fmla="*/ 724 w 3209"/>
              <a:gd name="T3" fmla="*/ 1728 h 3262"/>
              <a:gd name="T4" fmla="*/ 649 w 3209"/>
              <a:gd name="T5" fmla="*/ 1769 h 3262"/>
              <a:gd name="T6" fmla="*/ 586 w 3209"/>
              <a:gd name="T7" fmla="*/ 1826 h 3262"/>
              <a:gd name="T8" fmla="*/ 536 w 3209"/>
              <a:gd name="T9" fmla="*/ 1896 h 3262"/>
              <a:gd name="T10" fmla="*/ 506 w 3209"/>
              <a:gd name="T11" fmla="*/ 1977 h 3262"/>
              <a:gd name="T12" fmla="*/ 494 w 3209"/>
              <a:gd name="T13" fmla="*/ 2066 h 3262"/>
              <a:gd name="T14" fmla="*/ 506 w 3209"/>
              <a:gd name="T15" fmla="*/ 2155 h 3262"/>
              <a:gd name="T16" fmla="*/ 536 w 3209"/>
              <a:gd name="T17" fmla="*/ 2236 h 3262"/>
              <a:gd name="T18" fmla="*/ 586 w 3209"/>
              <a:gd name="T19" fmla="*/ 2306 h 3262"/>
              <a:gd name="T20" fmla="*/ 649 w 3209"/>
              <a:gd name="T21" fmla="*/ 2363 h 3262"/>
              <a:gd name="T22" fmla="*/ 724 w 3209"/>
              <a:gd name="T23" fmla="*/ 2404 h 3262"/>
              <a:gd name="T24" fmla="*/ 809 w 3209"/>
              <a:gd name="T25" fmla="*/ 2425 h 3262"/>
              <a:gd name="T26" fmla="*/ 899 w 3209"/>
              <a:gd name="T27" fmla="*/ 2425 h 3262"/>
              <a:gd name="T28" fmla="*/ 985 w 3209"/>
              <a:gd name="T29" fmla="*/ 2404 h 3262"/>
              <a:gd name="T30" fmla="*/ 1060 w 3209"/>
              <a:gd name="T31" fmla="*/ 2363 h 3262"/>
              <a:gd name="T32" fmla="*/ 1124 w 3209"/>
              <a:gd name="T33" fmla="*/ 2306 h 3262"/>
              <a:gd name="T34" fmla="*/ 1172 w 3209"/>
              <a:gd name="T35" fmla="*/ 2236 h 3262"/>
              <a:gd name="T36" fmla="*/ 1204 w 3209"/>
              <a:gd name="T37" fmla="*/ 2155 h 3262"/>
              <a:gd name="T38" fmla="*/ 1214 w 3209"/>
              <a:gd name="T39" fmla="*/ 2066 h 3262"/>
              <a:gd name="T40" fmla="*/ 1204 w 3209"/>
              <a:gd name="T41" fmla="*/ 1977 h 3262"/>
              <a:gd name="T42" fmla="*/ 1172 w 3209"/>
              <a:gd name="T43" fmla="*/ 1896 h 3262"/>
              <a:gd name="T44" fmla="*/ 1124 w 3209"/>
              <a:gd name="T45" fmla="*/ 1826 h 3262"/>
              <a:gd name="T46" fmla="*/ 1060 w 3209"/>
              <a:gd name="T47" fmla="*/ 1769 h 3262"/>
              <a:gd name="T48" fmla="*/ 985 w 3209"/>
              <a:gd name="T49" fmla="*/ 1728 h 3262"/>
              <a:gd name="T50" fmla="*/ 899 w 3209"/>
              <a:gd name="T51" fmla="*/ 1707 h 3262"/>
              <a:gd name="T52" fmla="*/ 245 w 3209"/>
              <a:gd name="T53" fmla="*/ 761 h 3262"/>
              <a:gd name="T54" fmla="*/ 219 w 3209"/>
              <a:gd name="T55" fmla="*/ 771 h 3262"/>
              <a:gd name="T56" fmla="*/ 210 w 3209"/>
              <a:gd name="T57" fmla="*/ 796 h 3262"/>
              <a:gd name="T58" fmla="*/ 212 w 3209"/>
              <a:gd name="T59" fmla="*/ 1078 h 3262"/>
              <a:gd name="T60" fmla="*/ 231 w 3209"/>
              <a:gd name="T61" fmla="*/ 1098 h 3262"/>
              <a:gd name="T62" fmla="*/ 1410 w 3209"/>
              <a:gd name="T63" fmla="*/ 1100 h 3262"/>
              <a:gd name="T64" fmla="*/ 1435 w 3209"/>
              <a:gd name="T65" fmla="*/ 1090 h 3262"/>
              <a:gd name="T66" fmla="*/ 1445 w 3209"/>
              <a:gd name="T67" fmla="*/ 1065 h 3262"/>
              <a:gd name="T68" fmla="*/ 1442 w 3209"/>
              <a:gd name="T69" fmla="*/ 783 h 3262"/>
              <a:gd name="T70" fmla="*/ 1424 w 3209"/>
              <a:gd name="T71" fmla="*/ 764 h 3262"/>
              <a:gd name="T72" fmla="*/ 245 w 3209"/>
              <a:gd name="T73" fmla="*/ 761 h 3262"/>
              <a:gd name="T74" fmla="*/ 210 w 3209"/>
              <a:gd name="T75" fmla="*/ 664 h 3262"/>
              <a:gd name="T76" fmla="*/ 1445 w 3209"/>
              <a:gd name="T77" fmla="*/ 325 h 3262"/>
              <a:gd name="T78" fmla="*/ 1728 w 3209"/>
              <a:gd name="T79" fmla="*/ 86 h 3262"/>
              <a:gd name="T80" fmla="*/ 3139 w 3209"/>
              <a:gd name="T81" fmla="*/ 2913 h 3262"/>
              <a:gd name="T82" fmla="*/ 1728 w 3209"/>
              <a:gd name="T83" fmla="*/ 86 h 3262"/>
              <a:gd name="T84" fmla="*/ 1706 w 3209"/>
              <a:gd name="T85" fmla="*/ 2 h 3262"/>
              <a:gd name="T86" fmla="*/ 3199 w 3209"/>
              <a:gd name="T87" fmla="*/ 591 h 3262"/>
              <a:gd name="T88" fmla="*/ 3209 w 3209"/>
              <a:gd name="T89" fmla="*/ 615 h 3262"/>
              <a:gd name="T90" fmla="*/ 3207 w 3209"/>
              <a:gd name="T91" fmla="*/ 2955 h 3262"/>
              <a:gd name="T92" fmla="*/ 3193 w 3209"/>
              <a:gd name="T93" fmla="*/ 2972 h 3262"/>
              <a:gd name="T94" fmla="*/ 1699 w 3209"/>
              <a:gd name="T95" fmla="*/ 3261 h 3262"/>
              <a:gd name="T96" fmla="*/ 1693 w 3209"/>
              <a:gd name="T97" fmla="*/ 3262 h 3262"/>
              <a:gd name="T98" fmla="*/ 1682 w 3209"/>
              <a:gd name="T99" fmla="*/ 3260 h 3262"/>
              <a:gd name="T100" fmla="*/ 1677 w 3209"/>
              <a:gd name="T101" fmla="*/ 3261 h 3262"/>
              <a:gd name="T102" fmla="*/ 35 w 3209"/>
              <a:gd name="T103" fmla="*/ 3261 h 3262"/>
              <a:gd name="T104" fmla="*/ 10 w 3209"/>
              <a:gd name="T105" fmla="*/ 3250 h 3262"/>
              <a:gd name="T106" fmla="*/ 0 w 3209"/>
              <a:gd name="T107" fmla="*/ 3226 h 3262"/>
              <a:gd name="T108" fmla="*/ 3 w 3209"/>
              <a:gd name="T109" fmla="*/ 23 h 3262"/>
              <a:gd name="T110" fmla="*/ 22 w 3209"/>
              <a:gd name="T111" fmla="*/ 4 h 3262"/>
              <a:gd name="T112" fmla="*/ 1674 w 3209"/>
              <a:gd name="T113" fmla="*/ 2 h 3262"/>
              <a:gd name="T114" fmla="*/ 1679 w 3209"/>
              <a:gd name="T115" fmla="*/ 2 h 3262"/>
              <a:gd name="T116" fmla="*/ 1693 w 3209"/>
              <a:gd name="T117" fmla="*/ 0 h 3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9" h="3262">
                <a:moveTo>
                  <a:pt x="854" y="1704"/>
                </a:moveTo>
                <a:lnTo>
                  <a:pt x="809" y="1707"/>
                </a:lnTo>
                <a:lnTo>
                  <a:pt x="766" y="1715"/>
                </a:lnTo>
                <a:lnTo>
                  <a:pt x="724" y="1728"/>
                </a:lnTo>
                <a:lnTo>
                  <a:pt x="685" y="1746"/>
                </a:lnTo>
                <a:lnTo>
                  <a:pt x="649" y="1769"/>
                </a:lnTo>
                <a:lnTo>
                  <a:pt x="615" y="1795"/>
                </a:lnTo>
                <a:lnTo>
                  <a:pt x="586" y="1826"/>
                </a:lnTo>
                <a:lnTo>
                  <a:pt x="559" y="1859"/>
                </a:lnTo>
                <a:lnTo>
                  <a:pt x="536" y="1896"/>
                </a:lnTo>
                <a:lnTo>
                  <a:pt x="519" y="1935"/>
                </a:lnTo>
                <a:lnTo>
                  <a:pt x="506" y="1977"/>
                </a:lnTo>
                <a:lnTo>
                  <a:pt x="497" y="2021"/>
                </a:lnTo>
                <a:lnTo>
                  <a:pt x="494" y="2066"/>
                </a:lnTo>
                <a:lnTo>
                  <a:pt x="497" y="2111"/>
                </a:lnTo>
                <a:lnTo>
                  <a:pt x="506" y="2155"/>
                </a:lnTo>
                <a:lnTo>
                  <a:pt x="519" y="2197"/>
                </a:lnTo>
                <a:lnTo>
                  <a:pt x="536" y="2236"/>
                </a:lnTo>
                <a:lnTo>
                  <a:pt x="559" y="2273"/>
                </a:lnTo>
                <a:lnTo>
                  <a:pt x="586" y="2306"/>
                </a:lnTo>
                <a:lnTo>
                  <a:pt x="615" y="2337"/>
                </a:lnTo>
                <a:lnTo>
                  <a:pt x="649" y="2363"/>
                </a:lnTo>
                <a:lnTo>
                  <a:pt x="685" y="2386"/>
                </a:lnTo>
                <a:lnTo>
                  <a:pt x="724" y="2404"/>
                </a:lnTo>
                <a:lnTo>
                  <a:pt x="766" y="2416"/>
                </a:lnTo>
                <a:lnTo>
                  <a:pt x="809" y="2425"/>
                </a:lnTo>
                <a:lnTo>
                  <a:pt x="854" y="2428"/>
                </a:lnTo>
                <a:lnTo>
                  <a:pt x="899" y="2425"/>
                </a:lnTo>
                <a:lnTo>
                  <a:pt x="944" y="2416"/>
                </a:lnTo>
                <a:lnTo>
                  <a:pt x="985" y="2404"/>
                </a:lnTo>
                <a:lnTo>
                  <a:pt x="1024" y="2386"/>
                </a:lnTo>
                <a:lnTo>
                  <a:pt x="1060" y="2363"/>
                </a:lnTo>
                <a:lnTo>
                  <a:pt x="1093" y="2337"/>
                </a:lnTo>
                <a:lnTo>
                  <a:pt x="1124" y="2306"/>
                </a:lnTo>
                <a:lnTo>
                  <a:pt x="1151" y="2273"/>
                </a:lnTo>
                <a:lnTo>
                  <a:pt x="1172" y="2236"/>
                </a:lnTo>
                <a:lnTo>
                  <a:pt x="1191" y="2197"/>
                </a:lnTo>
                <a:lnTo>
                  <a:pt x="1204" y="2155"/>
                </a:lnTo>
                <a:lnTo>
                  <a:pt x="1212" y="2111"/>
                </a:lnTo>
                <a:lnTo>
                  <a:pt x="1214" y="2066"/>
                </a:lnTo>
                <a:lnTo>
                  <a:pt x="1212" y="2021"/>
                </a:lnTo>
                <a:lnTo>
                  <a:pt x="1204" y="1977"/>
                </a:lnTo>
                <a:lnTo>
                  <a:pt x="1191" y="1935"/>
                </a:lnTo>
                <a:lnTo>
                  <a:pt x="1172" y="1896"/>
                </a:lnTo>
                <a:lnTo>
                  <a:pt x="1151" y="1859"/>
                </a:lnTo>
                <a:lnTo>
                  <a:pt x="1124" y="1826"/>
                </a:lnTo>
                <a:lnTo>
                  <a:pt x="1093" y="1795"/>
                </a:lnTo>
                <a:lnTo>
                  <a:pt x="1060" y="1769"/>
                </a:lnTo>
                <a:lnTo>
                  <a:pt x="1024" y="1746"/>
                </a:lnTo>
                <a:lnTo>
                  <a:pt x="985" y="1728"/>
                </a:lnTo>
                <a:lnTo>
                  <a:pt x="944" y="1715"/>
                </a:lnTo>
                <a:lnTo>
                  <a:pt x="899" y="1707"/>
                </a:lnTo>
                <a:lnTo>
                  <a:pt x="854" y="1704"/>
                </a:lnTo>
                <a:close/>
                <a:moveTo>
                  <a:pt x="245" y="761"/>
                </a:moveTo>
                <a:lnTo>
                  <a:pt x="231" y="764"/>
                </a:lnTo>
                <a:lnTo>
                  <a:pt x="219" y="771"/>
                </a:lnTo>
                <a:lnTo>
                  <a:pt x="212" y="783"/>
                </a:lnTo>
                <a:lnTo>
                  <a:pt x="210" y="796"/>
                </a:lnTo>
                <a:lnTo>
                  <a:pt x="210" y="1065"/>
                </a:lnTo>
                <a:lnTo>
                  <a:pt x="212" y="1078"/>
                </a:lnTo>
                <a:lnTo>
                  <a:pt x="219" y="1090"/>
                </a:lnTo>
                <a:lnTo>
                  <a:pt x="231" y="1098"/>
                </a:lnTo>
                <a:lnTo>
                  <a:pt x="245" y="1100"/>
                </a:lnTo>
                <a:lnTo>
                  <a:pt x="1410" y="1100"/>
                </a:lnTo>
                <a:lnTo>
                  <a:pt x="1424" y="1098"/>
                </a:lnTo>
                <a:lnTo>
                  <a:pt x="1435" y="1090"/>
                </a:lnTo>
                <a:lnTo>
                  <a:pt x="1442" y="1079"/>
                </a:lnTo>
                <a:lnTo>
                  <a:pt x="1445" y="1065"/>
                </a:lnTo>
                <a:lnTo>
                  <a:pt x="1445" y="796"/>
                </a:lnTo>
                <a:lnTo>
                  <a:pt x="1442" y="783"/>
                </a:lnTo>
                <a:lnTo>
                  <a:pt x="1435" y="771"/>
                </a:lnTo>
                <a:lnTo>
                  <a:pt x="1424" y="764"/>
                </a:lnTo>
                <a:lnTo>
                  <a:pt x="1410" y="761"/>
                </a:lnTo>
                <a:lnTo>
                  <a:pt x="245" y="761"/>
                </a:lnTo>
                <a:close/>
                <a:moveTo>
                  <a:pt x="210" y="325"/>
                </a:moveTo>
                <a:lnTo>
                  <a:pt x="210" y="664"/>
                </a:lnTo>
                <a:lnTo>
                  <a:pt x="1445" y="664"/>
                </a:lnTo>
                <a:lnTo>
                  <a:pt x="1445" y="325"/>
                </a:lnTo>
                <a:lnTo>
                  <a:pt x="210" y="325"/>
                </a:lnTo>
                <a:close/>
                <a:moveTo>
                  <a:pt x="1728" y="86"/>
                </a:moveTo>
                <a:lnTo>
                  <a:pt x="1728" y="3185"/>
                </a:lnTo>
                <a:lnTo>
                  <a:pt x="3139" y="2913"/>
                </a:lnTo>
                <a:lnTo>
                  <a:pt x="3139" y="640"/>
                </a:lnTo>
                <a:lnTo>
                  <a:pt x="1728" y="86"/>
                </a:lnTo>
                <a:close/>
                <a:moveTo>
                  <a:pt x="1693" y="0"/>
                </a:moveTo>
                <a:lnTo>
                  <a:pt x="1706" y="2"/>
                </a:lnTo>
                <a:lnTo>
                  <a:pt x="3188" y="584"/>
                </a:lnTo>
                <a:lnTo>
                  <a:pt x="3199" y="591"/>
                </a:lnTo>
                <a:lnTo>
                  <a:pt x="3207" y="602"/>
                </a:lnTo>
                <a:lnTo>
                  <a:pt x="3209" y="615"/>
                </a:lnTo>
                <a:lnTo>
                  <a:pt x="3209" y="2942"/>
                </a:lnTo>
                <a:lnTo>
                  <a:pt x="3207" y="2955"/>
                </a:lnTo>
                <a:lnTo>
                  <a:pt x="3201" y="2965"/>
                </a:lnTo>
                <a:lnTo>
                  <a:pt x="3193" y="2972"/>
                </a:lnTo>
                <a:lnTo>
                  <a:pt x="3182" y="2977"/>
                </a:lnTo>
                <a:lnTo>
                  <a:pt x="1699" y="3261"/>
                </a:lnTo>
                <a:lnTo>
                  <a:pt x="1696" y="3262"/>
                </a:lnTo>
                <a:lnTo>
                  <a:pt x="1693" y="3262"/>
                </a:lnTo>
                <a:lnTo>
                  <a:pt x="1687" y="3261"/>
                </a:lnTo>
                <a:lnTo>
                  <a:pt x="1682" y="3260"/>
                </a:lnTo>
                <a:lnTo>
                  <a:pt x="1679" y="3260"/>
                </a:lnTo>
                <a:lnTo>
                  <a:pt x="1677" y="3261"/>
                </a:lnTo>
                <a:lnTo>
                  <a:pt x="1674" y="3261"/>
                </a:lnTo>
                <a:lnTo>
                  <a:pt x="35" y="3261"/>
                </a:lnTo>
                <a:lnTo>
                  <a:pt x="22" y="3259"/>
                </a:lnTo>
                <a:lnTo>
                  <a:pt x="10" y="3250"/>
                </a:lnTo>
                <a:lnTo>
                  <a:pt x="3" y="3240"/>
                </a:lnTo>
                <a:lnTo>
                  <a:pt x="0" y="3226"/>
                </a:lnTo>
                <a:lnTo>
                  <a:pt x="0" y="37"/>
                </a:lnTo>
                <a:lnTo>
                  <a:pt x="3" y="23"/>
                </a:lnTo>
                <a:lnTo>
                  <a:pt x="10" y="12"/>
                </a:lnTo>
                <a:lnTo>
                  <a:pt x="22" y="4"/>
                </a:lnTo>
                <a:lnTo>
                  <a:pt x="35" y="2"/>
                </a:lnTo>
                <a:lnTo>
                  <a:pt x="1674" y="2"/>
                </a:lnTo>
                <a:lnTo>
                  <a:pt x="1677" y="2"/>
                </a:lnTo>
                <a:lnTo>
                  <a:pt x="1679" y="2"/>
                </a:lnTo>
                <a:lnTo>
                  <a:pt x="1681" y="3"/>
                </a:lnTo>
                <a:lnTo>
                  <a:pt x="1693" y="0"/>
                </a:lnTo>
                <a:close/>
              </a:path>
            </a:pathLst>
          </a:custGeom>
          <a:solidFill>
            <a:sysClr val="windowText" lastClr="000000">
              <a:lumMod val="65000"/>
              <a:lumOff val="35000"/>
            </a:sys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457200" eaLnBrk="0" fontAlgn="base" latinLnBrk="0" hangingPunct="0">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prstClr val="black"/>
              </a:solidFill>
              <a:effectLst/>
              <a:uLnTx/>
              <a:uFillTx/>
              <a:latin typeface="Calibri"/>
              <a:ea typeface="MS PGothic" pitchFamily="34" charset="-128"/>
            </a:endParaRPr>
          </a:p>
        </p:txBody>
      </p:sp>
      <p:sp>
        <p:nvSpPr>
          <p:cNvPr id="156" name="Content Placeholder 1">
            <a:extLst>
              <a:ext uri="{FF2B5EF4-FFF2-40B4-BE49-F238E27FC236}">
                <a16:creationId xmlns:a16="http://schemas.microsoft.com/office/drawing/2014/main" xmlns="" id="{759F7813-6076-4578-9EF9-B5AEE9079E11}"/>
              </a:ext>
            </a:extLst>
          </p:cNvPr>
          <p:cNvSpPr txBox="1">
            <a:spLocks/>
          </p:cNvSpPr>
          <p:nvPr/>
        </p:nvSpPr>
        <p:spPr bwMode="gray">
          <a:xfrm>
            <a:off x="7811461" y="3668094"/>
            <a:ext cx="508563" cy="219136"/>
          </a:xfrm>
          <a:prstGeom prst="rect">
            <a:avLst/>
          </a:prstGeom>
          <a:ln>
            <a:noFill/>
          </a:ln>
        </p:spPr>
        <p:txBody>
          <a:bodyPr wrap="squar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ts val="200"/>
              </a:spcBef>
              <a:spcAft>
                <a:spcPct val="0"/>
              </a:spcAft>
              <a:buClr>
                <a:srgbClr val="2F82BF"/>
              </a:buClr>
              <a:buSzPct val="120000"/>
              <a:buFont typeface="Lucida Grande"/>
              <a:buNone/>
              <a:tabLst/>
              <a:defRPr/>
            </a:pPr>
            <a:r>
              <a:rPr kumimoji="0" lang="en-US" sz="1400" b="0" i="0" u="none" strike="noStrike" kern="1200" cap="none" spc="0" normalizeH="0" baseline="0" noProof="0" dirty="0">
                <a:ln>
                  <a:noFill/>
                </a:ln>
                <a:solidFill>
                  <a:prstClr val="black"/>
                </a:solidFill>
                <a:effectLst/>
                <a:uLnTx/>
                <a:uFillTx/>
                <a:latin typeface="Calibri"/>
                <a:ea typeface="MS PGothic" pitchFamily="34" charset="-128"/>
                <a:cs typeface="Calibri"/>
              </a:rPr>
              <a:t>CRM</a:t>
            </a:r>
          </a:p>
        </p:txBody>
      </p:sp>
      <p:pic>
        <p:nvPicPr>
          <p:cNvPr id="157" name="Picture 156">
            <a:extLst>
              <a:ext uri="{FF2B5EF4-FFF2-40B4-BE49-F238E27FC236}">
                <a16:creationId xmlns:a16="http://schemas.microsoft.com/office/drawing/2014/main" xmlns="" id="{6246C75C-BEDE-4D22-8E5B-8F5FCE594DB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839775" y="3107052"/>
            <a:ext cx="500521" cy="504000"/>
          </a:xfrm>
          <a:prstGeom prst="rect">
            <a:avLst/>
          </a:prstGeom>
        </p:spPr>
      </p:pic>
    </p:spTree>
    <p:extLst>
      <p:ext uri="{BB962C8B-B14F-4D97-AF65-F5344CB8AC3E}">
        <p14:creationId xmlns:p14="http://schemas.microsoft.com/office/powerpoint/2010/main" val="14362616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IN" dirty="0"/>
              <a:t>Performance Testing Approach</a:t>
            </a:r>
          </a:p>
        </p:txBody>
      </p:sp>
      <p:sp>
        <p:nvSpPr>
          <p:cNvPr id="4" name="Rounded Rectangle 3"/>
          <p:cNvSpPr/>
          <p:nvPr/>
        </p:nvSpPr>
        <p:spPr>
          <a:xfrm>
            <a:off x="2094041" y="2261614"/>
            <a:ext cx="9801680" cy="2928950"/>
          </a:xfrm>
          <a:prstGeom prst="roundRect">
            <a:avLst>
              <a:gd name="adj" fmla="val 5121"/>
            </a:avLst>
          </a:prstGeom>
          <a:noFill/>
          <a:ln w="6350" cap="flat">
            <a:solidFill>
              <a:srgbClr val="92D050"/>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400" dirty="0">
              <a:latin typeface="Calibri" panose="020F0502020204030204" pitchFamily="34" charset="0"/>
              <a:cs typeface="Calibri" panose="020F0502020204030204" pitchFamily="34" charset="0"/>
            </a:endParaRPr>
          </a:p>
        </p:txBody>
      </p:sp>
      <p:grpSp>
        <p:nvGrpSpPr>
          <p:cNvPr id="5" name="Group 4"/>
          <p:cNvGrpSpPr/>
          <p:nvPr/>
        </p:nvGrpSpPr>
        <p:grpSpPr>
          <a:xfrm>
            <a:off x="2498278" y="2928080"/>
            <a:ext cx="1531166" cy="1640616"/>
            <a:chOff x="1510639" y="2793610"/>
            <a:chExt cx="1786991" cy="1640616"/>
          </a:xfrm>
        </p:grpSpPr>
        <p:sp>
          <p:nvSpPr>
            <p:cNvPr id="6" name="Rectangle 5"/>
            <p:cNvSpPr/>
            <p:nvPr/>
          </p:nvSpPr>
          <p:spPr>
            <a:xfrm>
              <a:off x="1510639" y="2793610"/>
              <a:ext cx="1786991" cy="1640616"/>
            </a:xfrm>
            <a:prstGeom prst="rect">
              <a:avLst/>
            </a:prstGeom>
            <a:solidFill>
              <a:schemeClr val="accent1">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Calibri" panose="020F0502020204030204" pitchFamily="34" charset="0"/>
                <a:cs typeface="Calibri" panose="020F0502020204030204" pitchFamily="34" charset="0"/>
              </a:endParaRPr>
            </a:p>
          </p:txBody>
        </p:sp>
        <p:sp>
          <p:nvSpPr>
            <p:cNvPr id="7" name="Content Placeholder 1"/>
            <p:cNvSpPr txBox="1">
              <a:spLocks/>
            </p:cNvSpPr>
            <p:nvPr/>
          </p:nvSpPr>
          <p:spPr bwMode="gray">
            <a:xfrm>
              <a:off x="1740781" y="2844910"/>
              <a:ext cx="1326719" cy="215444"/>
            </a:xfrm>
            <a:prstGeom prst="rect">
              <a:avLst/>
            </a:prstGeom>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400" b="1" dirty="0">
                  <a:latin typeface="Calibri" panose="020F0502020204030204" pitchFamily="34" charset="0"/>
                  <a:cs typeface="Calibri" panose="020F0502020204030204" pitchFamily="34" charset="0"/>
                </a:rPr>
                <a:t>Kony MF &amp; VBL</a:t>
              </a:r>
            </a:p>
          </p:txBody>
        </p:sp>
        <p:grpSp>
          <p:nvGrpSpPr>
            <p:cNvPr id="8" name="Group 7"/>
            <p:cNvGrpSpPr/>
            <p:nvPr/>
          </p:nvGrpSpPr>
          <p:grpSpPr>
            <a:xfrm>
              <a:off x="2021578" y="3343250"/>
              <a:ext cx="567144" cy="542698"/>
              <a:chOff x="1603375" y="4411663"/>
              <a:chExt cx="1473201" cy="1409700"/>
            </a:xfrm>
            <a:solidFill>
              <a:schemeClr val="tx1">
                <a:lumMod val="65000"/>
                <a:lumOff val="35000"/>
              </a:schemeClr>
            </a:solidFill>
          </p:grpSpPr>
          <p:sp>
            <p:nvSpPr>
              <p:cNvPr id="9" name="Freeform 29"/>
              <p:cNvSpPr>
                <a:spLocks noEditPoints="1"/>
              </p:cNvSpPr>
              <p:nvPr/>
            </p:nvSpPr>
            <p:spPr bwMode="auto">
              <a:xfrm>
                <a:off x="2401889" y="4411663"/>
                <a:ext cx="674687" cy="1349374"/>
              </a:xfrm>
              <a:custGeom>
                <a:avLst/>
                <a:gdLst>
                  <a:gd name="T0" fmla="*/ 1394 w 1701"/>
                  <a:gd name="T1" fmla="*/ 2001 h 3401"/>
                  <a:gd name="T2" fmla="*/ 1351 w 1701"/>
                  <a:gd name="T3" fmla="*/ 2022 h 3401"/>
                  <a:gd name="T4" fmla="*/ 1322 w 1701"/>
                  <a:gd name="T5" fmla="*/ 2058 h 3401"/>
                  <a:gd name="T6" fmla="*/ 1311 w 1701"/>
                  <a:gd name="T7" fmla="*/ 2105 h 3401"/>
                  <a:gd name="T8" fmla="*/ 1322 w 1701"/>
                  <a:gd name="T9" fmla="*/ 2152 h 3401"/>
                  <a:gd name="T10" fmla="*/ 1351 w 1701"/>
                  <a:gd name="T11" fmla="*/ 2187 h 3401"/>
                  <a:gd name="T12" fmla="*/ 1394 w 1701"/>
                  <a:gd name="T13" fmla="*/ 2207 h 3401"/>
                  <a:gd name="T14" fmla="*/ 1441 w 1701"/>
                  <a:gd name="T15" fmla="*/ 2207 h 3401"/>
                  <a:gd name="T16" fmla="*/ 1484 w 1701"/>
                  <a:gd name="T17" fmla="*/ 2187 h 3401"/>
                  <a:gd name="T18" fmla="*/ 1513 w 1701"/>
                  <a:gd name="T19" fmla="*/ 2152 h 3401"/>
                  <a:gd name="T20" fmla="*/ 1523 w 1701"/>
                  <a:gd name="T21" fmla="*/ 2105 h 3401"/>
                  <a:gd name="T22" fmla="*/ 1513 w 1701"/>
                  <a:gd name="T23" fmla="*/ 2058 h 3401"/>
                  <a:gd name="T24" fmla="*/ 1484 w 1701"/>
                  <a:gd name="T25" fmla="*/ 2022 h 3401"/>
                  <a:gd name="T26" fmla="*/ 1441 w 1701"/>
                  <a:gd name="T27" fmla="*/ 2001 h 3401"/>
                  <a:gd name="T28" fmla="*/ 1 w 1701"/>
                  <a:gd name="T29" fmla="*/ 0 h 3401"/>
                  <a:gd name="T30" fmla="*/ 1701 w 1701"/>
                  <a:gd name="T31" fmla="*/ 340 h 3401"/>
                  <a:gd name="T32" fmla="*/ 0 w 1701"/>
                  <a:gd name="T33" fmla="*/ 3401 h 3401"/>
                  <a:gd name="T34" fmla="*/ 1505 w 1701"/>
                  <a:gd name="T35" fmla="*/ 1810 h 3401"/>
                  <a:gd name="T36" fmla="*/ 1520 w 1701"/>
                  <a:gd name="T37" fmla="*/ 1811 h 3401"/>
                  <a:gd name="T38" fmla="*/ 1572 w 1701"/>
                  <a:gd name="T39" fmla="*/ 1799 h 3401"/>
                  <a:gd name="T40" fmla="*/ 1615 w 1701"/>
                  <a:gd name="T41" fmla="*/ 1770 h 3401"/>
                  <a:gd name="T42" fmla="*/ 1641 w 1701"/>
                  <a:gd name="T43" fmla="*/ 1724 h 3401"/>
                  <a:gd name="T44" fmla="*/ 1648 w 1701"/>
                  <a:gd name="T45" fmla="*/ 1672 h 3401"/>
                  <a:gd name="T46" fmla="*/ 1634 w 1701"/>
                  <a:gd name="T47" fmla="*/ 1624 h 3401"/>
                  <a:gd name="T48" fmla="*/ 1603 w 1701"/>
                  <a:gd name="T49" fmla="*/ 1586 h 3401"/>
                  <a:gd name="T50" fmla="*/ 1561 w 1701"/>
                  <a:gd name="T51" fmla="*/ 1561 h 3401"/>
                  <a:gd name="T52" fmla="*/ 16 w 1701"/>
                  <a:gd name="T53" fmla="*/ 1378 h 3401"/>
                  <a:gd name="T54" fmla="*/ 8 w 1701"/>
                  <a:gd name="T55" fmla="*/ 1378 h 3401"/>
                  <a:gd name="T56" fmla="*/ 0 w 1701"/>
                  <a:gd name="T57" fmla="*/ 1379 h 3401"/>
                  <a:gd name="T58" fmla="*/ 1502 w 1701"/>
                  <a:gd name="T59" fmla="*/ 1469 h 3401"/>
                  <a:gd name="T60" fmla="*/ 1520 w 1701"/>
                  <a:gd name="T61" fmla="*/ 1470 h 3401"/>
                  <a:gd name="T62" fmla="*/ 1571 w 1701"/>
                  <a:gd name="T63" fmla="*/ 1460 h 3401"/>
                  <a:gd name="T64" fmla="*/ 1612 w 1701"/>
                  <a:gd name="T65" fmla="*/ 1430 h 3401"/>
                  <a:gd name="T66" fmla="*/ 1640 w 1701"/>
                  <a:gd name="T67" fmla="*/ 1387 h 3401"/>
                  <a:gd name="T68" fmla="*/ 1648 w 1701"/>
                  <a:gd name="T69" fmla="*/ 1336 h 3401"/>
                  <a:gd name="T70" fmla="*/ 1635 w 1701"/>
                  <a:gd name="T71" fmla="*/ 1288 h 3401"/>
                  <a:gd name="T72" fmla="*/ 1605 w 1701"/>
                  <a:gd name="T73" fmla="*/ 1248 h 3401"/>
                  <a:gd name="T74" fmla="*/ 1563 w 1701"/>
                  <a:gd name="T75" fmla="*/ 1223 h 3401"/>
                  <a:gd name="T76" fmla="*/ 19 w 1701"/>
                  <a:gd name="T77" fmla="*/ 996 h 3401"/>
                  <a:gd name="T78" fmla="*/ 0 w 1701"/>
                  <a:gd name="T79" fmla="*/ 996 h 3401"/>
                  <a:gd name="T80" fmla="*/ 1499 w 1701"/>
                  <a:gd name="T81" fmla="*/ 1128 h 3401"/>
                  <a:gd name="T82" fmla="*/ 1520 w 1701"/>
                  <a:gd name="T83" fmla="*/ 1131 h 3401"/>
                  <a:gd name="T84" fmla="*/ 1570 w 1701"/>
                  <a:gd name="T85" fmla="*/ 1119 h 3401"/>
                  <a:gd name="T86" fmla="*/ 1611 w 1701"/>
                  <a:gd name="T87" fmla="*/ 1092 h 3401"/>
                  <a:gd name="T88" fmla="*/ 1640 w 1701"/>
                  <a:gd name="T89" fmla="*/ 1049 h 3401"/>
                  <a:gd name="T90" fmla="*/ 1648 w 1701"/>
                  <a:gd name="T91" fmla="*/ 997 h 3401"/>
                  <a:gd name="T92" fmla="*/ 1636 w 1701"/>
                  <a:gd name="T93" fmla="*/ 949 h 3401"/>
                  <a:gd name="T94" fmla="*/ 1608 w 1701"/>
                  <a:gd name="T95" fmla="*/ 910 h 3401"/>
                  <a:gd name="T96" fmla="*/ 1566 w 1701"/>
                  <a:gd name="T97" fmla="*/ 883 h 3401"/>
                  <a:gd name="T98" fmla="*/ 22 w 1701"/>
                  <a:gd name="T99" fmla="*/ 629 h 3401"/>
                  <a:gd name="T100" fmla="*/ 1 w 1701"/>
                  <a:gd name="T101" fmla="*/ 630 h 3401"/>
                  <a:gd name="T102" fmla="*/ 1495 w 1701"/>
                  <a:gd name="T103" fmla="*/ 788 h 3401"/>
                  <a:gd name="T104" fmla="*/ 1520 w 1701"/>
                  <a:gd name="T105" fmla="*/ 790 h 3401"/>
                  <a:gd name="T106" fmla="*/ 1569 w 1701"/>
                  <a:gd name="T107" fmla="*/ 781 h 3401"/>
                  <a:gd name="T108" fmla="*/ 1610 w 1701"/>
                  <a:gd name="T109" fmla="*/ 753 h 3401"/>
                  <a:gd name="T110" fmla="*/ 1638 w 1701"/>
                  <a:gd name="T111" fmla="*/ 712 h 3401"/>
                  <a:gd name="T112" fmla="*/ 1648 w 1701"/>
                  <a:gd name="T113" fmla="*/ 661 h 3401"/>
                  <a:gd name="T114" fmla="*/ 1638 w 1701"/>
                  <a:gd name="T115" fmla="*/ 613 h 3401"/>
                  <a:gd name="T116" fmla="*/ 1611 w 1701"/>
                  <a:gd name="T117" fmla="*/ 572 h 3401"/>
                  <a:gd name="T118" fmla="*/ 1570 w 1701"/>
                  <a:gd name="T119" fmla="*/ 545 h 3401"/>
                  <a:gd name="T120" fmla="*/ 26 w 1701"/>
                  <a:gd name="T121" fmla="*/ 234 h 3401"/>
                  <a:gd name="T122" fmla="*/ 1 w 1701"/>
                  <a:gd name="T123" fmla="*/ 234 h 3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1" h="3401">
                    <a:moveTo>
                      <a:pt x="1417" y="1998"/>
                    </a:moveTo>
                    <a:lnTo>
                      <a:pt x="1394" y="2001"/>
                    </a:lnTo>
                    <a:lnTo>
                      <a:pt x="1371" y="2009"/>
                    </a:lnTo>
                    <a:lnTo>
                      <a:pt x="1351" y="2022"/>
                    </a:lnTo>
                    <a:lnTo>
                      <a:pt x="1334" y="2038"/>
                    </a:lnTo>
                    <a:lnTo>
                      <a:pt x="1322" y="2058"/>
                    </a:lnTo>
                    <a:lnTo>
                      <a:pt x="1314" y="2080"/>
                    </a:lnTo>
                    <a:lnTo>
                      <a:pt x="1311" y="2105"/>
                    </a:lnTo>
                    <a:lnTo>
                      <a:pt x="1314" y="2129"/>
                    </a:lnTo>
                    <a:lnTo>
                      <a:pt x="1322" y="2152"/>
                    </a:lnTo>
                    <a:lnTo>
                      <a:pt x="1334" y="2171"/>
                    </a:lnTo>
                    <a:lnTo>
                      <a:pt x="1351" y="2187"/>
                    </a:lnTo>
                    <a:lnTo>
                      <a:pt x="1371" y="2199"/>
                    </a:lnTo>
                    <a:lnTo>
                      <a:pt x="1394" y="2207"/>
                    </a:lnTo>
                    <a:lnTo>
                      <a:pt x="1417" y="2211"/>
                    </a:lnTo>
                    <a:lnTo>
                      <a:pt x="1441" y="2207"/>
                    </a:lnTo>
                    <a:lnTo>
                      <a:pt x="1464" y="2199"/>
                    </a:lnTo>
                    <a:lnTo>
                      <a:pt x="1484" y="2187"/>
                    </a:lnTo>
                    <a:lnTo>
                      <a:pt x="1501" y="2171"/>
                    </a:lnTo>
                    <a:lnTo>
                      <a:pt x="1513" y="2152"/>
                    </a:lnTo>
                    <a:lnTo>
                      <a:pt x="1521" y="2129"/>
                    </a:lnTo>
                    <a:lnTo>
                      <a:pt x="1523" y="2105"/>
                    </a:lnTo>
                    <a:lnTo>
                      <a:pt x="1521" y="2080"/>
                    </a:lnTo>
                    <a:lnTo>
                      <a:pt x="1513" y="2058"/>
                    </a:lnTo>
                    <a:lnTo>
                      <a:pt x="1501" y="2038"/>
                    </a:lnTo>
                    <a:lnTo>
                      <a:pt x="1484" y="2022"/>
                    </a:lnTo>
                    <a:lnTo>
                      <a:pt x="1464" y="2009"/>
                    </a:lnTo>
                    <a:lnTo>
                      <a:pt x="1441" y="2001"/>
                    </a:lnTo>
                    <a:lnTo>
                      <a:pt x="1417" y="1998"/>
                    </a:lnTo>
                    <a:close/>
                    <a:moveTo>
                      <a:pt x="1" y="0"/>
                    </a:moveTo>
                    <a:lnTo>
                      <a:pt x="1" y="0"/>
                    </a:lnTo>
                    <a:lnTo>
                      <a:pt x="1701" y="340"/>
                    </a:lnTo>
                    <a:lnTo>
                      <a:pt x="1701" y="3401"/>
                    </a:lnTo>
                    <a:lnTo>
                      <a:pt x="0" y="3401"/>
                    </a:lnTo>
                    <a:lnTo>
                      <a:pt x="0" y="1633"/>
                    </a:lnTo>
                    <a:lnTo>
                      <a:pt x="1505" y="1810"/>
                    </a:lnTo>
                    <a:lnTo>
                      <a:pt x="1513" y="1810"/>
                    </a:lnTo>
                    <a:lnTo>
                      <a:pt x="1520" y="1811"/>
                    </a:lnTo>
                    <a:lnTo>
                      <a:pt x="1547" y="1807"/>
                    </a:lnTo>
                    <a:lnTo>
                      <a:pt x="1572" y="1799"/>
                    </a:lnTo>
                    <a:lnTo>
                      <a:pt x="1595" y="1787"/>
                    </a:lnTo>
                    <a:lnTo>
                      <a:pt x="1615" y="1770"/>
                    </a:lnTo>
                    <a:lnTo>
                      <a:pt x="1629" y="1748"/>
                    </a:lnTo>
                    <a:lnTo>
                      <a:pt x="1641" y="1724"/>
                    </a:lnTo>
                    <a:lnTo>
                      <a:pt x="1646" y="1698"/>
                    </a:lnTo>
                    <a:lnTo>
                      <a:pt x="1648" y="1672"/>
                    </a:lnTo>
                    <a:lnTo>
                      <a:pt x="1643" y="1648"/>
                    </a:lnTo>
                    <a:lnTo>
                      <a:pt x="1634" y="1624"/>
                    </a:lnTo>
                    <a:lnTo>
                      <a:pt x="1620" y="1603"/>
                    </a:lnTo>
                    <a:lnTo>
                      <a:pt x="1603" y="1586"/>
                    </a:lnTo>
                    <a:lnTo>
                      <a:pt x="1584" y="1572"/>
                    </a:lnTo>
                    <a:lnTo>
                      <a:pt x="1561" y="1561"/>
                    </a:lnTo>
                    <a:lnTo>
                      <a:pt x="1535" y="1556"/>
                    </a:lnTo>
                    <a:lnTo>
                      <a:pt x="16" y="1378"/>
                    </a:lnTo>
                    <a:lnTo>
                      <a:pt x="11" y="1378"/>
                    </a:lnTo>
                    <a:lnTo>
                      <a:pt x="8" y="1378"/>
                    </a:lnTo>
                    <a:lnTo>
                      <a:pt x="5" y="1379"/>
                    </a:lnTo>
                    <a:lnTo>
                      <a:pt x="0" y="1379"/>
                    </a:lnTo>
                    <a:lnTo>
                      <a:pt x="0" y="1250"/>
                    </a:lnTo>
                    <a:lnTo>
                      <a:pt x="1502" y="1469"/>
                    </a:lnTo>
                    <a:lnTo>
                      <a:pt x="1511" y="1470"/>
                    </a:lnTo>
                    <a:lnTo>
                      <a:pt x="1520" y="1470"/>
                    </a:lnTo>
                    <a:lnTo>
                      <a:pt x="1546" y="1467"/>
                    </a:lnTo>
                    <a:lnTo>
                      <a:pt x="1571" y="1460"/>
                    </a:lnTo>
                    <a:lnTo>
                      <a:pt x="1593" y="1447"/>
                    </a:lnTo>
                    <a:lnTo>
                      <a:pt x="1612" y="1430"/>
                    </a:lnTo>
                    <a:lnTo>
                      <a:pt x="1628" y="1410"/>
                    </a:lnTo>
                    <a:lnTo>
                      <a:pt x="1640" y="1387"/>
                    </a:lnTo>
                    <a:lnTo>
                      <a:pt x="1646" y="1361"/>
                    </a:lnTo>
                    <a:lnTo>
                      <a:pt x="1648" y="1336"/>
                    </a:lnTo>
                    <a:lnTo>
                      <a:pt x="1643" y="1311"/>
                    </a:lnTo>
                    <a:lnTo>
                      <a:pt x="1635" y="1288"/>
                    </a:lnTo>
                    <a:lnTo>
                      <a:pt x="1621" y="1266"/>
                    </a:lnTo>
                    <a:lnTo>
                      <a:pt x="1605" y="1248"/>
                    </a:lnTo>
                    <a:lnTo>
                      <a:pt x="1586" y="1233"/>
                    </a:lnTo>
                    <a:lnTo>
                      <a:pt x="1563" y="1223"/>
                    </a:lnTo>
                    <a:lnTo>
                      <a:pt x="1538" y="1217"/>
                    </a:lnTo>
                    <a:lnTo>
                      <a:pt x="19" y="996"/>
                    </a:lnTo>
                    <a:lnTo>
                      <a:pt x="10" y="995"/>
                    </a:lnTo>
                    <a:lnTo>
                      <a:pt x="0" y="996"/>
                    </a:lnTo>
                    <a:lnTo>
                      <a:pt x="0" y="883"/>
                    </a:lnTo>
                    <a:lnTo>
                      <a:pt x="1499" y="1128"/>
                    </a:lnTo>
                    <a:lnTo>
                      <a:pt x="1511" y="1129"/>
                    </a:lnTo>
                    <a:lnTo>
                      <a:pt x="1520" y="1131"/>
                    </a:lnTo>
                    <a:lnTo>
                      <a:pt x="1546" y="1127"/>
                    </a:lnTo>
                    <a:lnTo>
                      <a:pt x="1570" y="1119"/>
                    </a:lnTo>
                    <a:lnTo>
                      <a:pt x="1593" y="1108"/>
                    </a:lnTo>
                    <a:lnTo>
                      <a:pt x="1611" y="1092"/>
                    </a:lnTo>
                    <a:lnTo>
                      <a:pt x="1627" y="1071"/>
                    </a:lnTo>
                    <a:lnTo>
                      <a:pt x="1640" y="1049"/>
                    </a:lnTo>
                    <a:lnTo>
                      <a:pt x="1646" y="1024"/>
                    </a:lnTo>
                    <a:lnTo>
                      <a:pt x="1648" y="997"/>
                    </a:lnTo>
                    <a:lnTo>
                      <a:pt x="1644" y="972"/>
                    </a:lnTo>
                    <a:lnTo>
                      <a:pt x="1636" y="949"/>
                    </a:lnTo>
                    <a:lnTo>
                      <a:pt x="1624" y="928"/>
                    </a:lnTo>
                    <a:lnTo>
                      <a:pt x="1608" y="910"/>
                    </a:lnTo>
                    <a:lnTo>
                      <a:pt x="1588" y="895"/>
                    </a:lnTo>
                    <a:lnTo>
                      <a:pt x="1566" y="883"/>
                    </a:lnTo>
                    <a:lnTo>
                      <a:pt x="1540" y="877"/>
                    </a:lnTo>
                    <a:lnTo>
                      <a:pt x="22" y="629"/>
                    </a:lnTo>
                    <a:lnTo>
                      <a:pt x="11" y="629"/>
                    </a:lnTo>
                    <a:lnTo>
                      <a:pt x="1" y="630"/>
                    </a:lnTo>
                    <a:lnTo>
                      <a:pt x="1" y="489"/>
                    </a:lnTo>
                    <a:lnTo>
                      <a:pt x="1495" y="788"/>
                    </a:lnTo>
                    <a:lnTo>
                      <a:pt x="1507" y="789"/>
                    </a:lnTo>
                    <a:lnTo>
                      <a:pt x="1520" y="790"/>
                    </a:lnTo>
                    <a:lnTo>
                      <a:pt x="1545" y="788"/>
                    </a:lnTo>
                    <a:lnTo>
                      <a:pt x="1569" y="781"/>
                    </a:lnTo>
                    <a:lnTo>
                      <a:pt x="1591" y="768"/>
                    </a:lnTo>
                    <a:lnTo>
                      <a:pt x="1610" y="753"/>
                    </a:lnTo>
                    <a:lnTo>
                      <a:pt x="1626" y="734"/>
                    </a:lnTo>
                    <a:lnTo>
                      <a:pt x="1638" y="712"/>
                    </a:lnTo>
                    <a:lnTo>
                      <a:pt x="1645" y="687"/>
                    </a:lnTo>
                    <a:lnTo>
                      <a:pt x="1648" y="661"/>
                    </a:lnTo>
                    <a:lnTo>
                      <a:pt x="1645" y="637"/>
                    </a:lnTo>
                    <a:lnTo>
                      <a:pt x="1638" y="613"/>
                    </a:lnTo>
                    <a:lnTo>
                      <a:pt x="1626" y="592"/>
                    </a:lnTo>
                    <a:lnTo>
                      <a:pt x="1611" y="572"/>
                    </a:lnTo>
                    <a:lnTo>
                      <a:pt x="1592" y="558"/>
                    </a:lnTo>
                    <a:lnTo>
                      <a:pt x="1570" y="545"/>
                    </a:lnTo>
                    <a:lnTo>
                      <a:pt x="1545" y="538"/>
                    </a:lnTo>
                    <a:lnTo>
                      <a:pt x="26" y="234"/>
                    </a:lnTo>
                    <a:lnTo>
                      <a:pt x="14" y="233"/>
                    </a:lnTo>
                    <a:lnTo>
                      <a:pt x="1" y="234"/>
                    </a:lnTo>
                    <a:lnTo>
                      <a:pt x="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0" name="Freeform 30"/>
              <p:cNvSpPr>
                <a:spLocks/>
              </p:cNvSpPr>
              <p:nvPr/>
            </p:nvSpPr>
            <p:spPr bwMode="auto">
              <a:xfrm>
                <a:off x="1828799" y="4411663"/>
                <a:ext cx="539749" cy="1349376"/>
              </a:xfrm>
              <a:custGeom>
                <a:avLst/>
                <a:gdLst>
                  <a:gd name="T0" fmla="*/ 1361 w 1361"/>
                  <a:gd name="T1" fmla="*/ 0 h 3401"/>
                  <a:gd name="T2" fmla="*/ 1361 w 1361"/>
                  <a:gd name="T3" fmla="*/ 0 h 3401"/>
                  <a:gd name="T4" fmla="*/ 1361 w 1361"/>
                  <a:gd name="T5" fmla="*/ 3401 h 3401"/>
                  <a:gd name="T6" fmla="*/ 904 w 1361"/>
                  <a:gd name="T7" fmla="*/ 3401 h 3401"/>
                  <a:gd name="T8" fmla="*/ 915 w 1361"/>
                  <a:gd name="T9" fmla="*/ 3365 h 3401"/>
                  <a:gd name="T10" fmla="*/ 923 w 1361"/>
                  <a:gd name="T11" fmla="*/ 3329 h 3401"/>
                  <a:gd name="T12" fmla="*/ 925 w 1361"/>
                  <a:gd name="T13" fmla="*/ 3289 h 3401"/>
                  <a:gd name="T14" fmla="*/ 925 w 1361"/>
                  <a:gd name="T15" fmla="*/ 2234 h 3401"/>
                  <a:gd name="T16" fmla="*/ 923 w 1361"/>
                  <a:gd name="T17" fmla="*/ 2190 h 3401"/>
                  <a:gd name="T18" fmla="*/ 913 w 1361"/>
                  <a:gd name="T19" fmla="*/ 2148 h 3401"/>
                  <a:gd name="T20" fmla="*/ 898 w 1361"/>
                  <a:gd name="T21" fmla="*/ 2109 h 3401"/>
                  <a:gd name="T22" fmla="*/ 878 w 1361"/>
                  <a:gd name="T23" fmla="*/ 2073 h 3401"/>
                  <a:gd name="T24" fmla="*/ 853 w 1361"/>
                  <a:gd name="T25" fmla="*/ 2039 h 3401"/>
                  <a:gd name="T26" fmla="*/ 822 w 1361"/>
                  <a:gd name="T27" fmla="*/ 2007 h 3401"/>
                  <a:gd name="T28" fmla="*/ 788 w 1361"/>
                  <a:gd name="T29" fmla="*/ 1977 h 3401"/>
                  <a:gd name="T30" fmla="*/ 748 w 1361"/>
                  <a:gd name="T31" fmla="*/ 1950 h 3401"/>
                  <a:gd name="T32" fmla="*/ 706 w 1361"/>
                  <a:gd name="T33" fmla="*/ 1925 h 3401"/>
                  <a:gd name="T34" fmla="*/ 660 w 1361"/>
                  <a:gd name="T35" fmla="*/ 1903 h 3401"/>
                  <a:gd name="T36" fmla="*/ 611 w 1361"/>
                  <a:gd name="T37" fmla="*/ 1883 h 3401"/>
                  <a:gd name="T38" fmla="*/ 560 w 1361"/>
                  <a:gd name="T39" fmla="*/ 1864 h 3401"/>
                  <a:gd name="T40" fmla="*/ 506 w 1361"/>
                  <a:gd name="T41" fmla="*/ 1848 h 3401"/>
                  <a:gd name="T42" fmla="*/ 450 w 1361"/>
                  <a:gd name="T43" fmla="*/ 1835 h 3401"/>
                  <a:gd name="T44" fmla="*/ 392 w 1361"/>
                  <a:gd name="T45" fmla="*/ 1822 h 3401"/>
                  <a:gd name="T46" fmla="*/ 334 w 1361"/>
                  <a:gd name="T47" fmla="*/ 1813 h 3401"/>
                  <a:gd name="T48" fmla="*/ 275 w 1361"/>
                  <a:gd name="T49" fmla="*/ 1806 h 3401"/>
                  <a:gd name="T50" fmla="*/ 214 w 1361"/>
                  <a:gd name="T51" fmla="*/ 1801 h 3401"/>
                  <a:gd name="T52" fmla="*/ 154 w 1361"/>
                  <a:gd name="T53" fmla="*/ 1797 h 3401"/>
                  <a:gd name="T54" fmla="*/ 94 w 1361"/>
                  <a:gd name="T55" fmla="*/ 1796 h 3401"/>
                  <a:gd name="T56" fmla="*/ 0 w 1361"/>
                  <a:gd name="T57" fmla="*/ 1799 h 3401"/>
                  <a:gd name="T58" fmla="*/ 0 w 1361"/>
                  <a:gd name="T59" fmla="*/ 681 h 3401"/>
                  <a:gd name="T60" fmla="*/ 1361 w 1361"/>
                  <a:gd name="T61" fmla="*/ 0 h 3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61" h="3401">
                    <a:moveTo>
                      <a:pt x="1361" y="0"/>
                    </a:moveTo>
                    <a:lnTo>
                      <a:pt x="1361" y="0"/>
                    </a:lnTo>
                    <a:lnTo>
                      <a:pt x="1361" y="3401"/>
                    </a:lnTo>
                    <a:lnTo>
                      <a:pt x="904" y="3401"/>
                    </a:lnTo>
                    <a:lnTo>
                      <a:pt x="915" y="3365"/>
                    </a:lnTo>
                    <a:lnTo>
                      <a:pt x="923" y="3329"/>
                    </a:lnTo>
                    <a:lnTo>
                      <a:pt x="925" y="3289"/>
                    </a:lnTo>
                    <a:lnTo>
                      <a:pt x="925" y="2234"/>
                    </a:lnTo>
                    <a:lnTo>
                      <a:pt x="923" y="2190"/>
                    </a:lnTo>
                    <a:lnTo>
                      <a:pt x="913" y="2148"/>
                    </a:lnTo>
                    <a:lnTo>
                      <a:pt x="898" y="2109"/>
                    </a:lnTo>
                    <a:lnTo>
                      <a:pt x="878" y="2073"/>
                    </a:lnTo>
                    <a:lnTo>
                      <a:pt x="853" y="2039"/>
                    </a:lnTo>
                    <a:lnTo>
                      <a:pt x="822" y="2007"/>
                    </a:lnTo>
                    <a:lnTo>
                      <a:pt x="788" y="1977"/>
                    </a:lnTo>
                    <a:lnTo>
                      <a:pt x="748" y="1950"/>
                    </a:lnTo>
                    <a:lnTo>
                      <a:pt x="706" y="1925"/>
                    </a:lnTo>
                    <a:lnTo>
                      <a:pt x="660" y="1903"/>
                    </a:lnTo>
                    <a:lnTo>
                      <a:pt x="611" y="1883"/>
                    </a:lnTo>
                    <a:lnTo>
                      <a:pt x="560" y="1864"/>
                    </a:lnTo>
                    <a:lnTo>
                      <a:pt x="506" y="1848"/>
                    </a:lnTo>
                    <a:lnTo>
                      <a:pt x="450" y="1835"/>
                    </a:lnTo>
                    <a:lnTo>
                      <a:pt x="392" y="1822"/>
                    </a:lnTo>
                    <a:lnTo>
                      <a:pt x="334" y="1813"/>
                    </a:lnTo>
                    <a:lnTo>
                      <a:pt x="275" y="1806"/>
                    </a:lnTo>
                    <a:lnTo>
                      <a:pt x="214" y="1801"/>
                    </a:lnTo>
                    <a:lnTo>
                      <a:pt x="154" y="1797"/>
                    </a:lnTo>
                    <a:lnTo>
                      <a:pt x="94" y="1796"/>
                    </a:lnTo>
                    <a:lnTo>
                      <a:pt x="0" y="1799"/>
                    </a:lnTo>
                    <a:lnTo>
                      <a:pt x="0" y="681"/>
                    </a:lnTo>
                    <a:lnTo>
                      <a:pt x="136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1" name="Freeform 31"/>
              <p:cNvSpPr>
                <a:spLocks/>
              </p:cNvSpPr>
              <p:nvPr/>
            </p:nvSpPr>
            <p:spPr bwMode="auto">
              <a:xfrm>
                <a:off x="1603375" y="5454649"/>
                <a:ext cx="523874" cy="209549"/>
              </a:xfrm>
              <a:custGeom>
                <a:avLst/>
                <a:gdLst>
                  <a:gd name="T0" fmla="*/ 0 w 1319"/>
                  <a:gd name="T1" fmla="*/ 0 h 527"/>
                  <a:gd name="T2" fmla="*/ 3 w 1319"/>
                  <a:gd name="T3" fmla="*/ 28 h 527"/>
                  <a:gd name="T4" fmla="*/ 15 w 1319"/>
                  <a:gd name="T5" fmla="*/ 57 h 527"/>
                  <a:gd name="T6" fmla="*/ 33 w 1319"/>
                  <a:gd name="T7" fmla="*/ 83 h 527"/>
                  <a:gd name="T8" fmla="*/ 58 w 1319"/>
                  <a:gd name="T9" fmla="*/ 109 h 527"/>
                  <a:gd name="T10" fmla="*/ 90 w 1319"/>
                  <a:gd name="T11" fmla="*/ 133 h 527"/>
                  <a:gd name="T12" fmla="*/ 128 w 1319"/>
                  <a:gd name="T13" fmla="*/ 156 h 527"/>
                  <a:gd name="T14" fmla="*/ 170 w 1319"/>
                  <a:gd name="T15" fmla="*/ 177 h 527"/>
                  <a:gd name="T16" fmla="*/ 218 w 1319"/>
                  <a:gd name="T17" fmla="*/ 196 h 527"/>
                  <a:gd name="T18" fmla="*/ 270 w 1319"/>
                  <a:gd name="T19" fmla="*/ 213 h 527"/>
                  <a:gd name="T20" fmla="*/ 327 w 1319"/>
                  <a:gd name="T21" fmla="*/ 228 h 527"/>
                  <a:gd name="T22" fmla="*/ 387 w 1319"/>
                  <a:gd name="T23" fmla="*/ 240 h 527"/>
                  <a:gd name="T24" fmla="*/ 451 w 1319"/>
                  <a:gd name="T25" fmla="*/ 251 h 527"/>
                  <a:gd name="T26" fmla="*/ 518 w 1319"/>
                  <a:gd name="T27" fmla="*/ 259 h 527"/>
                  <a:gd name="T28" fmla="*/ 588 w 1319"/>
                  <a:gd name="T29" fmla="*/ 263 h 527"/>
                  <a:gd name="T30" fmla="*/ 660 w 1319"/>
                  <a:gd name="T31" fmla="*/ 264 h 527"/>
                  <a:gd name="T32" fmla="*/ 731 w 1319"/>
                  <a:gd name="T33" fmla="*/ 263 h 527"/>
                  <a:gd name="T34" fmla="*/ 801 w 1319"/>
                  <a:gd name="T35" fmla="*/ 259 h 527"/>
                  <a:gd name="T36" fmla="*/ 868 w 1319"/>
                  <a:gd name="T37" fmla="*/ 251 h 527"/>
                  <a:gd name="T38" fmla="*/ 932 w 1319"/>
                  <a:gd name="T39" fmla="*/ 240 h 527"/>
                  <a:gd name="T40" fmla="*/ 992 w 1319"/>
                  <a:gd name="T41" fmla="*/ 228 h 527"/>
                  <a:gd name="T42" fmla="*/ 1049 w 1319"/>
                  <a:gd name="T43" fmla="*/ 213 h 527"/>
                  <a:gd name="T44" fmla="*/ 1102 w 1319"/>
                  <a:gd name="T45" fmla="*/ 196 h 527"/>
                  <a:gd name="T46" fmla="*/ 1150 w 1319"/>
                  <a:gd name="T47" fmla="*/ 177 h 527"/>
                  <a:gd name="T48" fmla="*/ 1192 w 1319"/>
                  <a:gd name="T49" fmla="*/ 156 h 527"/>
                  <a:gd name="T50" fmla="*/ 1229 w 1319"/>
                  <a:gd name="T51" fmla="*/ 133 h 527"/>
                  <a:gd name="T52" fmla="*/ 1260 w 1319"/>
                  <a:gd name="T53" fmla="*/ 109 h 527"/>
                  <a:gd name="T54" fmla="*/ 1285 w 1319"/>
                  <a:gd name="T55" fmla="*/ 83 h 527"/>
                  <a:gd name="T56" fmla="*/ 1303 w 1319"/>
                  <a:gd name="T57" fmla="*/ 57 h 527"/>
                  <a:gd name="T58" fmla="*/ 1315 w 1319"/>
                  <a:gd name="T59" fmla="*/ 28 h 527"/>
                  <a:gd name="T60" fmla="*/ 1319 w 1319"/>
                  <a:gd name="T61" fmla="*/ 0 h 527"/>
                  <a:gd name="T62" fmla="*/ 1319 w 1319"/>
                  <a:gd name="T63" fmla="*/ 264 h 527"/>
                  <a:gd name="T64" fmla="*/ 1315 w 1319"/>
                  <a:gd name="T65" fmla="*/ 293 h 527"/>
                  <a:gd name="T66" fmla="*/ 1303 w 1319"/>
                  <a:gd name="T67" fmla="*/ 321 h 527"/>
                  <a:gd name="T68" fmla="*/ 1285 w 1319"/>
                  <a:gd name="T69" fmla="*/ 347 h 527"/>
                  <a:gd name="T70" fmla="*/ 1260 w 1319"/>
                  <a:gd name="T71" fmla="*/ 374 h 527"/>
                  <a:gd name="T72" fmla="*/ 1229 w 1319"/>
                  <a:gd name="T73" fmla="*/ 398 h 527"/>
                  <a:gd name="T74" fmla="*/ 1192 w 1319"/>
                  <a:gd name="T75" fmla="*/ 420 h 527"/>
                  <a:gd name="T76" fmla="*/ 1150 w 1319"/>
                  <a:gd name="T77" fmla="*/ 441 h 527"/>
                  <a:gd name="T78" fmla="*/ 1102 w 1319"/>
                  <a:gd name="T79" fmla="*/ 460 h 527"/>
                  <a:gd name="T80" fmla="*/ 1049 w 1319"/>
                  <a:gd name="T81" fmla="*/ 477 h 527"/>
                  <a:gd name="T82" fmla="*/ 992 w 1319"/>
                  <a:gd name="T83" fmla="*/ 492 h 527"/>
                  <a:gd name="T84" fmla="*/ 932 w 1319"/>
                  <a:gd name="T85" fmla="*/ 505 h 527"/>
                  <a:gd name="T86" fmla="*/ 868 w 1319"/>
                  <a:gd name="T87" fmla="*/ 515 h 527"/>
                  <a:gd name="T88" fmla="*/ 801 w 1319"/>
                  <a:gd name="T89" fmla="*/ 522 h 527"/>
                  <a:gd name="T90" fmla="*/ 731 w 1319"/>
                  <a:gd name="T91" fmla="*/ 526 h 527"/>
                  <a:gd name="T92" fmla="*/ 660 w 1319"/>
                  <a:gd name="T93" fmla="*/ 527 h 527"/>
                  <a:gd name="T94" fmla="*/ 588 w 1319"/>
                  <a:gd name="T95" fmla="*/ 526 h 527"/>
                  <a:gd name="T96" fmla="*/ 518 w 1319"/>
                  <a:gd name="T97" fmla="*/ 522 h 527"/>
                  <a:gd name="T98" fmla="*/ 451 w 1319"/>
                  <a:gd name="T99" fmla="*/ 515 h 527"/>
                  <a:gd name="T100" fmla="*/ 387 w 1319"/>
                  <a:gd name="T101" fmla="*/ 505 h 527"/>
                  <a:gd name="T102" fmla="*/ 327 w 1319"/>
                  <a:gd name="T103" fmla="*/ 492 h 527"/>
                  <a:gd name="T104" fmla="*/ 270 w 1319"/>
                  <a:gd name="T105" fmla="*/ 477 h 527"/>
                  <a:gd name="T106" fmla="*/ 218 w 1319"/>
                  <a:gd name="T107" fmla="*/ 460 h 527"/>
                  <a:gd name="T108" fmla="*/ 170 w 1319"/>
                  <a:gd name="T109" fmla="*/ 441 h 527"/>
                  <a:gd name="T110" fmla="*/ 128 w 1319"/>
                  <a:gd name="T111" fmla="*/ 420 h 527"/>
                  <a:gd name="T112" fmla="*/ 90 w 1319"/>
                  <a:gd name="T113" fmla="*/ 398 h 527"/>
                  <a:gd name="T114" fmla="*/ 58 w 1319"/>
                  <a:gd name="T115" fmla="*/ 374 h 527"/>
                  <a:gd name="T116" fmla="*/ 33 w 1319"/>
                  <a:gd name="T117" fmla="*/ 347 h 527"/>
                  <a:gd name="T118" fmla="*/ 15 w 1319"/>
                  <a:gd name="T119" fmla="*/ 321 h 527"/>
                  <a:gd name="T120" fmla="*/ 3 w 1319"/>
                  <a:gd name="T121" fmla="*/ 293 h 527"/>
                  <a:gd name="T122" fmla="*/ 0 w 1319"/>
                  <a:gd name="T123" fmla="*/ 264 h 527"/>
                  <a:gd name="T124" fmla="*/ 0 w 1319"/>
                  <a:gd name="T125" fmla="*/ 0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9" h="527">
                    <a:moveTo>
                      <a:pt x="0" y="0"/>
                    </a:moveTo>
                    <a:lnTo>
                      <a:pt x="3" y="28"/>
                    </a:lnTo>
                    <a:lnTo>
                      <a:pt x="15" y="57"/>
                    </a:lnTo>
                    <a:lnTo>
                      <a:pt x="33" y="83"/>
                    </a:lnTo>
                    <a:lnTo>
                      <a:pt x="58" y="109"/>
                    </a:lnTo>
                    <a:lnTo>
                      <a:pt x="90" y="133"/>
                    </a:lnTo>
                    <a:lnTo>
                      <a:pt x="128" y="156"/>
                    </a:lnTo>
                    <a:lnTo>
                      <a:pt x="170" y="177"/>
                    </a:lnTo>
                    <a:lnTo>
                      <a:pt x="218" y="196"/>
                    </a:lnTo>
                    <a:lnTo>
                      <a:pt x="270" y="213"/>
                    </a:lnTo>
                    <a:lnTo>
                      <a:pt x="327" y="228"/>
                    </a:lnTo>
                    <a:lnTo>
                      <a:pt x="387" y="240"/>
                    </a:lnTo>
                    <a:lnTo>
                      <a:pt x="451" y="251"/>
                    </a:lnTo>
                    <a:lnTo>
                      <a:pt x="518" y="259"/>
                    </a:lnTo>
                    <a:lnTo>
                      <a:pt x="588" y="263"/>
                    </a:lnTo>
                    <a:lnTo>
                      <a:pt x="660" y="264"/>
                    </a:lnTo>
                    <a:lnTo>
                      <a:pt x="731" y="263"/>
                    </a:lnTo>
                    <a:lnTo>
                      <a:pt x="801" y="259"/>
                    </a:lnTo>
                    <a:lnTo>
                      <a:pt x="868" y="251"/>
                    </a:lnTo>
                    <a:lnTo>
                      <a:pt x="932" y="240"/>
                    </a:lnTo>
                    <a:lnTo>
                      <a:pt x="992" y="228"/>
                    </a:lnTo>
                    <a:lnTo>
                      <a:pt x="1049" y="213"/>
                    </a:lnTo>
                    <a:lnTo>
                      <a:pt x="1102" y="196"/>
                    </a:lnTo>
                    <a:lnTo>
                      <a:pt x="1150" y="177"/>
                    </a:lnTo>
                    <a:lnTo>
                      <a:pt x="1192" y="156"/>
                    </a:lnTo>
                    <a:lnTo>
                      <a:pt x="1229" y="133"/>
                    </a:lnTo>
                    <a:lnTo>
                      <a:pt x="1260" y="109"/>
                    </a:lnTo>
                    <a:lnTo>
                      <a:pt x="1285" y="83"/>
                    </a:lnTo>
                    <a:lnTo>
                      <a:pt x="1303" y="57"/>
                    </a:lnTo>
                    <a:lnTo>
                      <a:pt x="1315" y="28"/>
                    </a:lnTo>
                    <a:lnTo>
                      <a:pt x="1319" y="0"/>
                    </a:lnTo>
                    <a:lnTo>
                      <a:pt x="1319" y="264"/>
                    </a:lnTo>
                    <a:lnTo>
                      <a:pt x="1315" y="293"/>
                    </a:lnTo>
                    <a:lnTo>
                      <a:pt x="1303" y="321"/>
                    </a:lnTo>
                    <a:lnTo>
                      <a:pt x="1285" y="347"/>
                    </a:lnTo>
                    <a:lnTo>
                      <a:pt x="1260" y="374"/>
                    </a:lnTo>
                    <a:lnTo>
                      <a:pt x="1229" y="398"/>
                    </a:lnTo>
                    <a:lnTo>
                      <a:pt x="1192" y="420"/>
                    </a:lnTo>
                    <a:lnTo>
                      <a:pt x="1150" y="441"/>
                    </a:lnTo>
                    <a:lnTo>
                      <a:pt x="1102" y="460"/>
                    </a:lnTo>
                    <a:lnTo>
                      <a:pt x="1049" y="477"/>
                    </a:lnTo>
                    <a:lnTo>
                      <a:pt x="992" y="492"/>
                    </a:lnTo>
                    <a:lnTo>
                      <a:pt x="932" y="505"/>
                    </a:lnTo>
                    <a:lnTo>
                      <a:pt x="868" y="515"/>
                    </a:lnTo>
                    <a:lnTo>
                      <a:pt x="801" y="522"/>
                    </a:lnTo>
                    <a:lnTo>
                      <a:pt x="731" y="526"/>
                    </a:lnTo>
                    <a:lnTo>
                      <a:pt x="660" y="527"/>
                    </a:lnTo>
                    <a:lnTo>
                      <a:pt x="588" y="526"/>
                    </a:lnTo>
                    <a:lnTo>
                      <a:pt x="518" y="522"/>
                    </a:lnTo>
                    <a:lnTo>
                      <a:pt x="451" y="515"/>
                    </a:lnTo>
                    <a:lnTo>
                      <a:pt x="387" y="505"/>
                    </a:lnTo>
                    <a:lnTo>
                      <a:pt x="327" y="492"/>
                    </a:lnTo>
                    <a:lnTo>
                      <a:pt x="270" y="477"/>
                    </a:lnTo>
                    <a:lnTo>
                      <a:pt x="218" y="460"/>
                    </a:lnTo>
                    <a:lnTo>
                      <a:pt x="170" y="441"/>
                    </a:lnTo>
                    <a:lnTo>
                      <a:pt x="128" y="420"/>
                    </a:lnTo>
                    <a:lnTo>
                      <a:pt x="90" y="398"/>
                    </a:lnTo>
                    <a:lnTo>
                      <a:pt x="58" y="374"/>
                    </a:lnTo>
                    <a:lnTo>
                      <a:pt x="33" y="347"/>
                    </a:lnTo>
                    <a:lnTo>
                      <a:pt x="15" y="321"/>
                    </a:lnTo>
                    <a:lnTo>
                      <a:pt x="3" y="293"/>
                    </a:lnTo>
                    <a:lnTo>
                      <a:pt x="0" y="26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2" name="Freeform 32"/>
              <p:cNvSpPr>
                <a:spLocks/>
              </p:cNvSpPr>
              <p:nvPr/>
            </p:nvSpPr>
            <p:spPr bwMode="auto">
              <a:xfrm>
                <a:off x="1603375" y="5611813"/>
                <a:ext cx="523875" cy="209550"/>
              </a:xfrm>
              <a:custGeom>
                <a:avLst/>
                <a:gdLst>
                  <a:gd name="T0" fmla="*/ 0 w 1319"/>
                  <a:gd name="T1" fmla="*/ 0 h 528"/>
                  <a:gd name="T2" fmla="*/ 3 w 1319"/>
                  <a:gd name="T3" fmla="*/ 29 h 528"/>
                  <a:gd name="T4" fmla="*/ 15 w 1319"/>
                  <a:gd name="T5" fmla="*/ 57 h 528"/>
                  <a:gd name="T6" fmla="*/ 33 w 1319"/>
                  <a:gd name="T7" fmla="*/ 84 h 528"/>
                  <a:gd name="T8" fmla="*/ 58 w 1319"/>
                  <a:gd name="T9" fmla="*/ 110 h 528"/>
                  <a:gd name="T10" fmla="*/ 90 w 1319"/>
                  <a:gd name="T11" fmla="*/ 134 h 528"/>
                  <a:gd name="T12" fmla="*/ 128 w 1319"/>
                  <a:gd name="T13" fmla="*/ 157 h 528"/>
                  <a:gd name="T14" fmla="*/ 170 w 1319"/>
                  <a:gd name="T15" fmla="*/ 177 h 528"/>
                  <a:gd name="T16" fmla="*/ 218 w 1319"/>
                  <a:gd name="T17" fmla="*/ 196 h 528"/>
                  <a:gd name="T18" fmla="*/ 270 w 1319"/>
                  <a:gd name="T19" fmla="*/ 214 h 528"/>
                  <a:gd name="T20" fmla="*/ 327 w 1319"/>
                  <a:gd name="T21" fmla="*/ 228 h 528"/>
                  <a:gd name="T22" fmla="*/ 387 w 1319"/>
                  <a:gd name="T23" fmla="*/ 241 h 528"/>
                  <a:gd name="T24" fmla="*/ 451 w 1319"/>
                  <a:gd name="T25" fmla="*/ 251 h 528"/>
                  <a:gd name="T26" fmla="*/ 518 w 1319"/>
                  <a:gd name="T27" fmla="*/ 258 h 528"/>
                  <a:gd name="T28" fmla="*/ 588 w 1319"/>
                  <a:gd name="T29" fmla="*/ 262 h 528"/>
                  <a:gd name="T30" fmla="*/ 660 w 1319"/>
                  <a:gd name="T31" fmla="*/ 264 h 528"/>
                  <a:gd name="T32" fmla="*/ 731 w 1319"/>
                  <a:gd name="T33" fmla="*/ 262 h 528"/>
                  <a:gd name="T34" fmla="*/ 801 w 1319"/>
                  <a:gd name="T35" fmla="*/ 258 h 528"/>
                  <a:gd name="T36" fmla="*/ 868 w 1319"/>
                  <a:gd name="T37" fmla="*/ 251 h 528"/>
                  <a:gd name="T38" fmla="*/ 932 w 1319"/>
                  <a:gd name="T39" fmla="*/ 241 h 528"/>
                  <a:gd name="T40" fmla="*/ 992 w 1319"/>
                  <a:gd name="T41" fmla="*/ 228 h 528"/>
                  <a:gd name="T42" fmla="*/ 1049 w 1319"/>
                  <a:gd name="T43" fmla="*/ 214 h 528"/>
                  <a:gd name="T44" fmla="*/ 1102 w 1319"/>
                  <a:gd name="T45" fmla="*/ 196 h 528"/>
                  <a:gd name="T46" fmla="*/ 1150 w 1319"/>
                  <a:gd name="T47" fmla="*/ 177 h 528"/>
                  <a:gd name="T48" fmla="*/ 1192 w 1319"/>
                  <a:gd name="T49" fmla="*/ 157 h 528"/>
                  <a:gd name="T50" fmla="*/ 1229 w 1319"/>
                  <a:gd name="T51" fmla="*/ 134 h 528"/>
                  <a:gd name="T52" fmla="*/ 1260 w 1319"/>
                  <a:gd name="T53" fmla="*/ 110 h 528"/>
                  <a:gd name="T54" fmla="*/ 1285 w 1319"/>
                  <a:gd name="T55" fmla="*/ 84 h 528"/>
                  <a:gd name="T56" fmla="*/ 1303 w 1319"/>
                  <a:gd name="T57" fmla="*/ 57 h 528"/>
                  <a:gd name="T58" fmla="*/ 1315 w 1319"/>
                  <a:gd name="T59" fmla="*/ 29 h 528"/>
                  <a:gd name="T60" fmla="*/ 1319 w 1319"/>
                  <a:gd name="T61" fmla="*/ 0 h 528"/>
                  <a:gd name="T62" fmla="*/ 1319 w 1319"/>
                  <a:gd name="T63" fmla="*/ 264 h 528"/>
                  <a:gd name="T64" fmla="*/ 1315 w 1319"/>
                  <a:gd name="T65" fmla="*/ 293 h 528"/>
                  <a:gd name="T66" fmla="*/ 1303 w 1319"/>
                  <a:gd name="T67" fmla="*/ 321 h 528"/>
                  <a:gd name="T68" fmla="*/ 1285 w 1319"/>
                  <a:gd name="T69" fmla="*/ 348 h 528"/>
                  <a:gd name="T70" fmla="*/ 1260 w 1319"/>
                  <a:gd name="T71" fmla="*/ 373 h 528"/>
                  <a:gd name="T72" fmla="*/ 1229 w 1319"/>
                  <a:gd name="T73" fmla="*/ 397 h 528"/>
                  <a:gd name="T74" fmla="*/ 1192 w 1319"/>
                  <a:gd name="T75" fmla="*/ 420 h 528"/>
                  <a:gd name="T76" fmla="*/ 1150 w 1319"/>
                  <a:gd name="T77" fmla="*/ 440 h 528"/>
                  <a:gd name="T78" fmla="*/ 1102 w 1319"/>
                  <a:gd name="T79" fmla="*/ 460 h 528"/>
                  <a:gd name="T80" fmla="*/ 1049 w 1319"/>
                  <a:gd name="T81" fmla="*/ 477 h 528"/>
                  <a:gd name="T82" fmla="*/ 992 w 1319"/>
                  <a:gd name="T83" fmla="*/ 492 h 528"/>
                  <a:gd name="T84" fmla="*/ 932 w 1319"/>
                  <a:gd name="T85" fmla="*/ 504 h 528"/>
                  <a:gd name="T86" fmla="*/ 868 w 1319"/>
                  <a:gd name="T87" fmla="*/ 514 h 528"/>
                  <a:gd name="T88" fmla="*/ 801 w 1319"/>
                  <a:gd name="T89" fmla="*/ 522 h 528"/>
                  <a:gd name="T90" fmla="*/ 731 w 1319"/>
                  <a:gd name="T91" fmla="*/ 526 h 528"/>
                  <a:gd name="T92" fmla="*/ 660 w 1319"/>
                  <a:gd name="T93" fmla="*/ 528 h 528"/>
                  <a:gd name="T94" fmla="*/ 588 w 1319"/>
                  <a:gd name="T95" fmla="*/ 526 h 528"/>
                  <a:gd name="T96" fmla="*/ 518 w 1319"/>
                  <a:gd name="T97" fmla="*/ 522 h 528"/>
                  <a:gd name="T98" fmla="*/ 451 w 1319"/>
                  <a:gd name="T99" fmla="*/ 514 h 528"/>
                  <a:gd name="T100" fmla="*/ 387 w 1319"/>
                  <a:gd name="T101" fmla="*/ 504 h 528"/>
                  <a:gd name="T102" fmla="*/ 327 w 1319"/>
                  <a:gd name="T103" fmla="*/ 492 h 528"/>
                  <a:gd name="T104" fmla="*/ 270 w 1319"/>
                  <a:gd name="T105" fmla="*/ 477 h 528"/>
                  <a:gd name="T106" fmla="*/ 218 w 1319"/>
                  <a:gd name="T107" fmla="*/ 460 h 528"/>
                  <a:gd name="T108" fmla="*/ 170 w 1319"/>
                  <a:gd name="T109" fmla="*/ 440 h 528"/>
                  <a:gd name="T110" fmla="*/ 128 w 1319"/>
                  <a:gd name="T111" fmla="*/ 420 h 528"/>
                  <a:gd name="T112" fmla="*/ 90 w 1319"/>
                  <a:gd name="T113" fmla="*/ 397 h 528"/>
                  <a:gd name="T114" fmla="*/ 58 w 1319"/>
                  <a:gd name="T115" fmla="*/ 373 h 528"/>
                  <a:gd name="T116" fmla="*/ 33 w 1319"/>
                  <a:gd name="T117" fmla="*/ 348 h 528"/>
                  <a:gd name="T118" fmla="*/ 15 w 1319"/>
                  <a:gd name="T119" fmla="*/ 321 h 528"/>
                  <a:gd name="T120" fmla="*/ 3 w 1319"/>
                  <a:gd name="T121" fmla="*/ 293 h 528"/>
                  <a:gd name="T122" fmla="*/ 0 w 1319"/>
                  <a:gd name="T123" fmla="*/ 264 h 528"/>
                  <a:gd name="T124" fmla="*/ 0 w 1319"/>
                  <a:gd name="T125"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9" h="528">
                    <a:moveTo>
                      <a:pt x="0" y="0"/>
                    </a:moveTo>
                    <a:lnTo>
                      <a:pt x="3" y="29"/>
                    </a:lnTo>
                    <a:lnTo>
                      <a:pt x="15" y="57"/>
                    </a:lnTo>
                    <a:lnTo>
                      <a:pt x="33" y="84"/>
                    </a:lnTo>
                    <a:lnTo>
                      <a:pt x="58" y="110"/>
                    </a:lnTo>
                    <a:lnTo>
                      <a:pt x="90" y="134"/>
                    </a:lnTo>
                    <a:lnTo>
                      <a:pt x="128" y="157"/>
                    </a:lnTo>
                    <a:lnTo>
                      <a:pt x="170" y="177"/>
                    </a:lnTo>
                    <a:lnTo>
                      <a:pt x="218" y="196"/>
                    </a:lnTo>
                    <a:lnTo>
                      <a:pt x="270" y="214"/>
                    </a:lnTo>
                    <a:lnTo>
                      <a:pt x="327" y="228"/>
                    </a:lnTo>
                    <a:lnTo>
                      <a:pt x="387" y="241"/>
                    </a:lnTo>
                    <a:lnTo>
                      <a:pt x="451" y="251"/>
                    </a:lnTo>
                    <a:lnTo>
                      <a:pt x="518" y="258"/>
                    </a:lnTo>
                    <a:lnTo>
                      <a:pt x="588" y="262"/>
                    </a:lnTo>
                    <a:lnTo>
                      <a:pt x="660" y="264"/>
                    </a:lnTo>
                    <a:lnTo>
                      <a:pt x="731" y="262"/>
                    </a:lnTo>
                    <a:lnTo>
                      <a:pt x="801" y="258"/>
                    </a:lnTo>
                    <a:lnTo>
                      <a:pt x="868" y="251"/>
                    </a:lnTo>
                    <a:lnTo>
                      <a:pt x="932" y="241"/>
                    </a:lnTo>
                    <a:lnTo>
                      <a:pt x="992" y="228"/>
                    </a:lnTo>
                    <a:lnTo>
                      <a:pt x="1049" y="214"/>
                    </a:lnTo>
                    <a:lnTo>
                      <a:pt x="1102" y="196"/>
                    </a:lnTo>
                    <a:lnTo>
                      <a:pt x="1150" y="177"/>
                    </a:lnTo>
                    <a:lnTo>
                      <a:pt x="1192" y="157"/>
                    </a:lnTo>
                    <a:lnTo>
                      <a:pt x="1229" y="134"/>
                    </a:lnTo>
                    <a:lnTo>
                      <a:pt x="1260" y="110"/>
                    </a:lnTo>
                    <a:lnTo>
                      <a:pt x="1285" y="84"/>
                    </a:lnTo>
                    <a:lnTo>
                      <a:pt x="1303" y="57"/>
                    </a:lnTo>
                    <a:lnTo>
                      <a:pt x="1315" y="29"/>
                    </a:lnTo>
                    <a:lnTo>
                      <a:pt x="1319" y="0"/>
                    </a:lnTo>
                    <a:lnTo>
                      <a:pt x="1319" y="264"/>
                    </a:lnTo>
                    <a:lnTo>
                      <a:pt x="1315" y="293"/>
                    </a:lnTo>
                    <a:lnTo>
                      <a:pt x="1303" y="321"/>
                    </a:lnTo>
                    <a:lnTo>
                      <a:pt x="1285" y="348"/>
                    </a:lnTo>
                    <a:lnTo>
                      <a:pt x="1260" y="373"/>
                    </a:lnTo>
                    <a:lnTo>
                      <a:pt x="1229" y="397"/>
                    </a:lnTo>
                    <a:lnTo>
                      <a:pt x="1192" y="420"/>
                    </a:lnTo>
                    <a:lnTo>
                      <a:pt x="1150" y="440"/>
                    </a:lnTo>
                    <a:lnTo>
                      <a:pt x="1102" y="460"/>
                    </a:lnTo>
                    <a:lnTo>
                      <a:pt x="1049" y="477"/>
                    </a:lnTo>
                    <a:lnTo>
                      <a:pt x="992" y="492"/>
                    </a:lnTo>
                    <a:lnTo>
                      <a:pt x="932" y="504"/>
                    </a:lnTo>
                    <a:lnTo>
                      <a:pt x="868" y="514"/>
                    </a:lnTo>
                    <a:lnTo>
                      <a:pt x="801" y="522"/>
                    </a:lnTo>
                    <a:lnTo>
                      <a:pt x="731" y="526"/>
                    </a:lnTo>
                    <a:lnTo>
                      <a:pt x="660" y="528"/>
                    </a:lnTo>
                    <a:lnTo>
                      <a:pt x="588" y="526"/>
                    </a:lnTo>
                    <a:lnTo>
                      <a:pt x="518" y="522"/>
                    </a:lnTo>
                    <a:lnTo>
                      <a:pt x="451" y="514"/>
                    </a:lnTo>
                    <a:lnTo>
                      <a:pt x="387" y="504"/>
                    </a:lnTo>
                    <a:lnTo>
                      <a:pt x="327" y="492"/>
                    </a:lnTo>
                    <a:lnTo>
                      <a:pt x="270" y="477"/>
                    </a:lnTo>
                    <a:lnTo>
                      <a:pt x="218" y="460"/>
                    </a:lnTo>
                    <a:lnTo>
                      <a:pt x="170" y="440"/>
                    </a:lnTo>
                    <a:lnTo>
                      <a:pt x="128" y="420"/>
                    </a:lnTo>
                    <a:lnTo>
                      <a:pt x="90" y="397"/>
                    </a:lnTo>
                    <a:lnTo>
                      <a:pt x="58" y="373"/>
                    </a:lnTo>
                    <a:lnTo>
                      <a:pt x="33" y="348"/>
                    </a:lnTo>
                    <a:lnTo>
                      <a:pt x="15" y="321"/>
                    </a:lnTo>
                    <a:lnTo>
                      <a:pt x="3" y="293"/>
                    </a:lnTo>
                    <a:lnTo>
                      <a:pt x="0" y="26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3" name="Freeform 33"/>
              <p:cNvSpPr>
                <a:spLocks noEditPoints="1"/>
              </p:cNvSpPr>
              <p:nvPr/>
            </p:nvSpPr>
            <p:spPr bwMode="auto">
              <a:xfrm>
                <a:off x="1603375" y="5192713"/>
                <a:ext cx="523875" cy="314325"/>
              </a:xfrm>
              <a:custGeom>
                <a:avLst/>
                <a:gdLst>
                  <a:gd name="T0" fmla="*/ 585 w 1319"/>
                  <a:gd name="T1" fmla="*/ 69 h 792"/>
                  <a:gd name="T2" fmla="*/ 446 w 1319"/>
                  <a:gd name="T3" fmla="*/ 81 h 792"/>
                  <a:gd name="T4" fmla="*/ 326 w 1319"/>
                  <a:gd name="T5" fmla="*/ 105 h 792"/>
                  <a:gd name="T6" fmla="*/ 227 w 1319"/>
                  <a:gd name="T7" fmla="*/ 136 h 792"/>
                  <a:gd name="T8" fmla="*/ 149 w 1319"/>
                  <a:gd name="T9" fmla="*/ 171 h 792"/>
                  <a:gd name="T10" fmla="*/ 97 w 1319"/>
                  <a:gd name="T11" fmla="*/ 209 h 792"/>
                  <a:gd name="T12" fmla="*/ 70 w 1319"/>
                  <a:gd name="T13" fmla="*/ 246 h 792"/>
                  <a:gd name="T14" fmla="*/ 70 w 1319"/>
                  <a:gd name="T15" fmla="*/ 283 h 792"/>
                  <a:gd name="T16" fmla="*/ 97 w 1319"/>
                  <a:gd name="T17" fmla="*/ 320 h 792"/>
                  <a:gd name="T18" fmla="*/ 149 w 1319"/>
                  <a:gd name="T19" fmla="*/ 358 h 792"/>
                  <a:gd name="T20" fmla="*/ 227 w 1319"/>
                  <a:gd name="T21" fmla="*/ 393 h 792"/>
                  <a:gd name="T22" fmla="*/ 326 w 1319"/>
                  <a:gd name="T23" fmla="*/ 425 h 792"/>
                  <a:gd name="T24" fmla="*/ 446 w 1319"/>
                  <a:gd name="T25" fmla="*/ 448 h 792"/>
                  <a:gd name="T26" fmla="*/ 585 w 1319"/>
                  <a:gd name="T27" fmla="*/ 461 h 792"/>
                  <a:gd name="T28" fmla="*/ 735 w 1319"/>
                  <a:gd name="T29" fmla="*/ 461 h 792"/>
                  <a:gd name="T30" fmla="*/ 874 w 1319"/>
                  <a:gd name="T31" fmla="*/ 448 h 792"/>
                  <a:gd name="T32" fmla="*/ 994 w 1319"/>
                  <a:gd name="T33" fmla="*/ 425 h 792"/>
                  <a:gd name="T34" fmla="*/ 1093 w 1319"/>
                  <a:gd name="T35" fmla="*/ 393 h 792"/>
                  <a:gd name="T36" fmla="*/ 1169 w 1319"/>
                  <a:gd name="T37" fmla="*/ 358 h 792"/>
                  <a:gd name="T38" fmla="*/ 1223 w 1319"/>
                  <a:gd name="T39" fmla="*/ 320 h 792"/>
                  <a:gd name="T40" fmla="*/ 1250 w 1319"/>
                  <a:gd name="T41" fmla="*/ 283 h 792"/>
                  <a:gd name="T42" fmla="*/ 1250 w 1319"/>
                  <a:gd name="T43" fmla="*/ 246 h 792"/>
                  <a:gd name="T44" fmla="*/ 1223 w 1319"/>
                  <a:gd name="T45" fmla="*/ 209 h 792"/>
                  <a:gd name="T46" fmla="*/ 1169 w 1319"/>
                  <a:gd name="T47" fmla="*/ 171 h 792"/>
                  <a:gd name="T48" fmla="*/ 1093 w 1319"/>
                  <a:gd name="T49" fmla="*/ 136 h 792"/>
                  <a:gd name="T50" fmla="*/ 994 w 1319"/>
                  <a:gd name="T51" fmla="*/ 105 h 792"/>
                  <a:gd name="T52" fmla="*/ 874 w 1319"/>
                  <a:gd name="T53" fmla="*/ 81 h 792"/>
                  <a:gd name="T54" fmla="*/ 735 w 1319"/>
                  <a:gd name="T55" fmla="*/ 69 h 792"/>
                  <a:gd name="T56" fmla="*/ 660 w 1319"/>
                  <a:gd name="T57" fmla="*/ 0 h 792"/>
                  <a:gd name="T58" fmla="*/ 801 w 1319"/>
                  <a:gd name="T59" fmla="*/ 6 h 792"/>
                  <a:gd name="T60" fmla="*/ 932 w 1319"/>
                  <a:gd name="T61" fmla="*/ 24 h 792"/>
                  <a:gd name="T62" fmla="*/ 1049 w 1319"/>
                  <a:gd name="T63" fmla="*/ 51 h 792"/>
                  <a:gd name="T64" fmla="*/ 1150 w 1319"/>
                  <a:gd name="T65" fmla="*/ 88 h 792"/>
                  <a:gd name="T66" fmla="*/ 1229 w 1319"/>
                  <a:gd name="T67" fmla="*/ 131 h 792"/>
                  <a:gd name="T68" fmla="*/ 1285 w 1319"/>
                  <a:gd name="T69" fmla="*/ 181 h 792"/>
                  <a:gd name="T70" fmla="*/ 1315 w 1319"/>
                  <a:gd name="T71" fmla="*/ 236 h 792"/>
                  <a:gd name="T72" fmla="*/ 1319 w 1319"/>
                  <a:gd name="T73" fmla="*/ 528 h 792"/>
                  <a:gd name="T74" fmla="*/ 1303 w 1319"/>
                  <a:gd name="T75" fmla="*/ 585 h 792"/>
                  <a:gd name="T76" fmla="*/ 1260 w 1319"/>
                  <a:gd name="T77" fmla="*/ 637 h 792"/>
                  <a:gd name="T78" fmla="*/ 1192 w 1319"/>
                  <a:gd name="T79" fmla="*/ 684 h 792"/>
                  <a:gd name="T80" fmla="*/ 1102 w 1319"/>
                  <a:gd name="T81" fmla="*/ 725 h 792"/>
                  <a:gd name="T82" fmla="*/ 992 w 1319"/>
                  <a:gd name="T83" fmla="*/ 756 h 792"/>
                  <a:gd name="T84" fmla="*/ 868 w 1319"/>
                  <a:gd name="T85" fmla="*/ 778 h 792"/>
                  <a:gd name="T86" fmla="*/ 731 w 1319"/>
                  <a:gd name="T87" fmla="*/ 791 h 792"/>
                  <a:gd name="T88" fmla="*/ 588 w 1319"/>
                  <a:gd name="T89" fmla="*/ 791 h 792"/>
                  <a:gd name="T90" fmla="*/ 451 w 1319"/>
                  <a:gd name="T91" fmla="*/ 778 h 792"/>
                  <a:gd name="T92" fmla="*/ 327 w 1319"/>
                  <a:gd name="T93" fmla="*/ 756 h 792"/>
                  <a:gd name="T94" fmla="*/ 218 w 1319"/>
                  <a:gd name="T95" fmla="*/ 725 h 792"/>
                  <a:gd name="T96" fmla="*/ 128 w 1319"/>
                  <a:gd name="T97" fmla="*/ 684 h 792"/>
                  <a:gd name="T98" fmla="*/ 58 w 1319"/>
                  <a:gd name="T99" fmla="*/ 637 h 792"/>
                  <a:gd name="T100" fmla="*/ 15 w 1319"/>
                  <a:gd name="T101" fmla="*/ 585 h 792"/>
                  <a:gd name="T102" fmla="*/ 0 w 1319"/>
                  <a:gd name="T103" fmla="*/ 528 h 792"/>
                  <a:gd name="T104" fmla="*/ 3 w 1319"/>
                  <a:gd name="T105" fmla="*/ 236 h 792"/>
                  <a:gd name="T106" fmla="*/ 33 w 1319"/>
                  <a:gd name="T107" fmla="*/ 181 h 792"/>
                  <a:gd name="T108" fmla="*/ 90 w 1319"/>
                  <a:gd name="T109" fmla="*/ 131 h 792"/>
                  <a:gd name="T110" fmla="*/ 170 w 1319"/>
                  <a:gd name="T111" fmla="*/ 88 h 792"/>
                  <a:gd name="T112" fmla="*/ 270 w 1319"/>
                  <a:gd name="T113" fmla="*/ 51 h 792"/>
                  <a:gd name="T114" fmla="*/ 387 w 1319"/>
                  <a:gd name="T115" fmla="*/ 24 h 792"/>
                  <a:gd name="T116" fmla="*/ 518 w 1319"/>
                  <a:gd name="T117" fmla="*/ 6 h 792"/>
                  <a:gd name="T118" fmla="*/ 660 w 1319"/>
                  <a:gd name="T119" fmla="*/ 0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19" h="792">
                    <a:moveTo>
                      <a:pt x="660" y="66"/>
                    </a:moveTo>
                    <a:lnTo>
                      <a:pt x="585" y="69"/>
                    </a:lnTo>
                    <a:lnTo>
                      <a:pt x="513" y="73"/>
                    </a:lnTo>
                    <a:lnTo>
                      <a:pt x="446" y="81"/>
                    </a:lnTo>
                    <a:lnTo>
                      <a:pt x="383" y="91"/>
                    </a:lnTo>
                    <a:lnTo>
                      <a:pt x="326" y="105"/>
                    </a:lnTo>
                    <a:lnTo>
                      <a:pt x="273" y="119"/>
                    </a:lnTo>
                    <a:lnTo>
                      <a:pt x="227" y="136"/>
                    </a:lnTo>
                    <a:lnTo>
                      <a:pt x="186" y="153"/>
                    </a:lnTo>
                    <a:lnTo>
                      <a:pt x="149" y="171"/>
                    </a:lnTo>
                    <a:lnTo>
                      <a:pt x="120" y="190"/>
                    </a:lnTo>
                    <a:lnTo>
                      <a:pt x="97" y="209"/>
                    </a:lnTo>
                    <a:lnTo>
                      <a:pt x="80" y="228"/>
                    </a:lnTo>
                    <a:lnTo>
                      <a:pt x="70" y="246"/>
                    </a:lnTo>
                    <a:lnTo>
                      <a:pt x="66" y="265"/>
                    </a:lnTo>
                    <a:lnTo>
                      <a:pt x="70" y="283"/>
                    </a:lnTo>
                    <a:lnTo>
                      <a:pt x="80" y="301"/>
                    </a:lnTo>
                    <a:lnTo>
                      <a:pt x="97" y="320"/>
                    </a:lnTo>
                    <a:lnTo>
                      <a:pt x="120" y="339"/>
                    </a:lnTo>
                    <a:lnTo>
                      <a:pt x="149" y="358"/>
                    </a:lnTo>
                    <a:lnTo>
                      <a:pt x="186" y="376"/>
                    </a:lnTo>
                    <a:lnTo>
                      <a:pt x="227" y="393"/>
                    </a:lnTo>
                    <a:lnTo>
                      <a:pt x="273" y="410"/>
                    </a:lnTo>
                    <a:lnTo>
                      <a:pt x="326" y="425"/>
                    </a:lnTo>
                    <a:lnTo>
                      <a:pt x="383" y="438"/>
                    </a:lnTo>
                    <a:lnTo>
                      <a:pt x="446" y="448"/>
                    </a:lnTo>
                    <a:lnTo>
                      <a:pt x="513" y="456"/>
                    </a:lnTo>
                    <a:lnTo>
                      <a:pt x="585" y="461"/>
                    </a:lnTo>
                    <a:lnTo>
                      <a:pt x="660" y="463"/>
                    </a:lnTo>
                    <a:lnTo>
                      <a:pt x="735" y="461"/>
                    </a:lnTo>
                    <a:lnTo>
                      <a:pt x="807" y="456"/>
                    </a:lnTo>
                    <a:lnTo>
                      <a:pt x="874" y="448"/>
                    </a:lnTo>
                    <a:lnTo>
                      <a:pt x="935" y="438"/>
                    </a:lnTo>
                    <a:lnTo>
                      <a:pt x="994" y="425"/>
                    </a:lnTo>
                    <a:lnTo>
                      <a:pt x="1045" y="410"/>
                    </a:lnTo>
                    <a:lnTo>
                      <a:pt x="1093" y="393"/>
                    </a:lnTo>
                    <a:lnTo>
                      <a:pt x="1134" y="376"/>
                    </a:lnTo>
                    <a:lnTo>
                      <a:pt x="1169" y="358"/>
                    </a:lnTo>
                    <a:lnTo>
                      <a:pt x="1199" y="339"/>
                    </a:lnTo>
                    <a:lnTo>
                      <a:pt x="1223" y="320"/>
                    </a:lnTo>
                    <a:lnTo>
                      <a:pt x="1240" y="301"/>
                    </a:lnTo>
                    <a:lnTo>
                      <a:pt x="1250" y="283"/>
                    </a:lnTo>
                    <a:lnTo>
                      <a:pt x="1253" y="265"/>
                    </a:lnTo>
                    <a:lnTo>
                      <a:pt x="1250" y="246"/>
                    </a:lnTo>
                    <a:lnTo>
                      <a:pt x="1240" y="228"/>
                    </a:lnTo>
                    <a:lnTo>
                      <a:pt x="1223" y="209"/>
                    </a:lnTo>
                    <a:lnTo>
                      <a:pt x="1199" y="190"/>
                    </a:lnTo>
                    <a:lnTo>
                      <a:pt x="1169" y="171"/>
                    </a:lnTo>
                    <a:lnTo>
                      <a:pt x="1134" y="153"/>
                    </a:lnTo>
                    <a:lnTo>
                      <a:pt x="1093" y="136"/>
                    </a:lnTo>
                    <a:lnTo>
                      <a:pt x="1045" y="119"/>
                    </a:lnTo>
                    <a:lnTo>
                      <a:pt x="994" y="105"/>
                    </a:lnTo>
                    <a:lnTo>
                      <a:pt x="935" y="91"/>
                    </a:lnTo>
                    <a:lnTo>
                      <a:pt x="874" y="81"/>
                    </a:lnTo>
                    <a:lnTo>
                      <a:pt x="807" y="73"/>
                    </a:lnTo>
                    <a:lnTo>
                      <a:pt x="735" y="69"/>
                    </a:lnTo>
                    <a:lnTo>
                      <a:pt x="660" y="66"/>
                    </a:lnTo>
                    <a:close/>
                    <a:moveTo>
                      <a:pt x="660" y="0"/>
                    </a:moveTo>
                    <a:lnTo>
                      <a:pt x="731" y="1"/>
                    </a:lnTo>
                    <a:lnTo>
                      <a:pt x="801" y="6"/>
                    </a:lnTo>
                    <a:lnTo>
                      <a:pt x="868" y="14"/>
                    </a:lnTo>
                    <a:lnTo>
                      <a:pt x="932" y="24"/>
                    </a:lnTo>
                    <a:lnTo>
                      <a:pt x="992" y="37"/>
                    </a:lnTo>
                    <a:lnTo>
                      <a:pt x="1049" y="51"/>
                    </a:lnTo>
                    <a:lnTo>
                      <a:pt x="1102" y="69"/>
                    </a:lnTo>
                    <a:lnTo>
                      <a:pt x="1150" y="88"/>
                    </a:lnTo>
                    <a:lnTo>
                      <a:pt x="1192" y="108"/>
                    </a:lnTo>
                    <a:lnTo>
                      <a:pt x="1229" y="131"/>
                    </a:lnTo>
                    <a:lnTo>
                      <a:pt x="1260" y="155"/>
                    </a:lnTo>
                    <a:lnTo>
                      <a:pt x="1285" y="181"/>
                    </a:lnTo>
                    <a:lnTo>
                      <a:pt x="1303" y="208"/>
                    </a:lnTo>
                    <a:lnTo>
                      <a:pt x="1315" y="236"/>
                    </a:lnTo>
                    <a:lnTo>
                      <a:pt x="1319" y="265"/>
                    </a:lnTo>
                    <a:lnTo>
                      <a:pt x="1319" y="528"/>
                    </a:lnTo>
                    <a:lnTo>
                      <a:pt x="1315" y="557"/>
                    </a:lnTo>
                    <a:lnTo>
                      <a:pt x="1303" y="585"/>
                    </a:lnTo>
                    <a:lnTo>
                      <a:pt x="1285" y="612"/>
                    </a:lnTo>
                    <a:lnTo>
                      <a:pt x="1260" y="637"/>
                    </a:lnTo>
                    <a:lnTo>
                      <a:pt x="1229" y="662"/>
                    </a:lnTo>
                    <a:lnTo>
                      <a:pt x="1192" y="684"/>
                    </a:lnTo>
                    <a:lnTo>
                      <a:pt x="1150" y="706"/>
                    </a:lnTo>
                    <a:lnTo>
                      <a:pt x="1102" y="725"/>
                    </a:lnTo>
                    <a:lnTo>
                      <a:pt x="1049" y="741"/>
                    </a:lnTo>
                    <a:lnTo>
                      <a:pt x="992" y="756"/>
                    </a:lnTo>
                    <a:lnTo>
                      <a:pt x="932" y="768"/>
                    </a:lnTo>
                    <a:lnTo>
                      <a:pt x="868" y="778"/>
                    </a:lnTo>
                    <a:lnTo>
                      <a:pt x="801" y="786"/>
                    </a:lnTo>
                    <a:lnTo>
                      <a:pt x="731" y="791"/>
                    </a:lnTo>
                    <a:lnTo>
                      <a:pt x="660" y="792"/>
                    </a:lnTo>
                    <a:lnTo>
                      <a:pt x="588" y="791"/>
                    </a:lnTo>
                    <a:lnTo>
                      <a:pt x="518" y="786"/>
                    </a:lnTo>
                    <a:lnTo>
                      <a:pt x="451" y="778"/>
                    </a:lnTo>
                    <a:lnTo>
                      <a:pt x="387" y="768"/>
                    </a:lnTo>
                    <a:lnTo>
                      <a:pt x="327" y="756"/>
                    </a:lnTo>
                    <a:lnTo>
                      <a:pt x="270" y="741"/>
                    </a:lnTo>
                    <a:lnTo>
                      <a:pt x="218" y="725"/>
                    </a:lnTo>
                    <a:lnTo>
                      <a:pt x="170" y="706"/>
                    </a:lnTo>
                    <a:lnTo>
                      <a:pt x="128" y="684"/>
                    </a:lnTo>
                    <a:lnTo>
                      <a:pt x="90" y="662"/>
                    </a:lnTo>
                    <a:lnTo>
                      <a:pt x="58" y="637"/>
                    </a:lnTo>
                    <a:lnTo>
                      <a:pt x="33" y="612"/>
                    </a:lnTo>
                    <a:lnTo>
                      <a:pt x="15" y="585"/>
                    </a:lnTo>
                    <a:lnTo>
                      <a:pt x="3" y="557"/>
                    </a:lnTo>
                    <a:lnTo>
                      <a:pt x="0" y="528"/>
                    </a:lnTo>
                    <a:lnTo>
                      <a:pt x="0" y="265"/>
                    </a:lnTo>
                    <a:lnTo>
                      <a:pt x="3" y="236"/>
                    </a:lnTo>
                    <a:lnTo>
                      <a:pt x="15" y="208"/>
                    </a:lnTo>
                    <a:lnTo>
                      <a:pt x="33" y="181"/>
                    </a:lnTo>
                    <a:lnTo>
                      <a:pt x="58" y="155"/>
                    </a:lnTo>
                    <a:lnTo>
                      <a:pt x="90" y="131"/>
                    </a:lnTo>
                    <a:lnTo>
                      <a:pt x="128" y="108"/>
                    </a:lnTo>
                    <a:lnTo>
                      <a:pt x="170" y="88"/>
                    </a:lnTo>
                    <a:lnTo>
                      <a:pt x="218" y="69"/>
                    </a:lnTo>
                    <a:lnTo>
                      <a:pt x="270" y="51"/>
                    </a:lnTo>
                    <a:lnTo>
                      <a:pt x="327" y="37"/>
                    </a:lnTo>
                    <a:lnTo>
                      <a:pt x="387" y="24"/>
                    </a:lnTo>
                    <a:lnTo>
                      <a:pt x="451" y="14"/>
                    </a:lnTo>
                    <a:lnTo>
                      <a:pt x="518" y="6"/>
                    </a:lnTo>
                    <a:lnTo>
                      <a:pt x="588" y="1"/>
                    </a:lnTo>
                    <a:lnTo>
                      <a:pt x="6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grpSp>
      <p:grpSp>
        <p:nvGrpSpPr>
          <p:cNvPr id="14" name="Group 13"/>
          <p:cNvGrpSpPr/>
          <p:nvPr/>
        </p:nvGrpSpPr>
        <p:grpSpPr>
          <a:xfrm>
            <a:off x="4747847" y="2931820"/>
            <a:ext cx="1715938" cy="1640616"/>
            <a:chOff x="3378075" y="2793610"/>
            <a:chExt cx="1786991" cy="1640616"/>
          </a:xfrm>
        </p:grpSpPr>
        <p:sp>
          <p:nvSpPr>
            <p:cNvPr id="15" name="Rectangle 14"/>
            <p:cNvSpPr/>
            <p:nvPr/>
          </p:nvSpPr>
          <p:spPr>
            <a:xfrm>
              <a:off x="3378075" y="2793610"/>
              <a:ext cx="1786991" cy="1640616"/>
            </a:xfrm>
            <a:prstGeom prst="rect">
              <a:avLst/>
            </a:prstGeom>
            <a:solidFill>
              <a:schemeClr val="accent1">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Calibri" panose="020F0502020204030204" pitchFamily="34" charset="0"/>
                <a:cs typeface="Calibri" panose="020F0502020204030204" pitchFamily="34" charset="0"/>
              </a:endParaRPr>
            </a:p>
          </p:txBody>
        </p:sp>
        <p:sp>
          <p:nvSpPr>
            <p:cNvPr id="16" name="Content Placeholder 1"/>
            <p:cNvSpPr txBox="1">
              <a:spLocks/>
            </p:cNvSpPr>
            <p:nvPr/>
          </p:nvSpPr>
          <p:spPr bwMode="gray">
            <a:xfrm>
              <a:off x="3693972" y="2844910"/>
              <a:ext cx="1155211" cy="215444"/>
            </a:xfrm>
            <a:prstGeom prst="rect">
              <a:avLst/>
            </a:prstGeom>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400" b="1" dirty="0" smtClean="0">
                  <a:latin typeface="Calibri" panose="020F0502020204030204" pitchFamily="34" charset="0"/>
                  <a:cs typeface="Calibri" panose="020F0502020204030204" pitchFamily="34" charset="0"/>
                </a:rPr>
                <a:t>Middleware/SI</a:t>
              </a:r>
              <a:endParaRPr lang="en-US" sz="1400" b="1" dirty="0">
                <a:latin typeface="Calibri" panose="020F0502020204030204" pitchFamily="34" charset="0"/>
                <a:cs typeface="Calibri" panose="020F0502020204030204" pitchFamily="34" charset="0"/>
              </a:endParaRPr>
            </a:p>
          </p:txBody>
        </p:sp>
        <p:cxnSp>
          <p:nvCxnSpPr>
            <p:cNvPr id="17" name="Straight Connector 16"/>
            <p:cNvCxnSpPr/>
            <p:nvPr/>
          </p:nvCxnSpPr>
          <p:spPr>
            <a:xfrm>
              <a:off x="4230955" y="3564228"/>
              <a:ext cx="221752" cy="0"/>
            </a:xfrm>
            <a:prstGeom prst="line">
              <a:avLst/>
            </a:prstGeom>
            <a:ln w="9525">
              <a:solidFill>
                <a:schemeClr val="tx1"/>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8" name="Content Placeholder 1"/>
            <p:cNvSpPr txBox="1">
              <a:spLocks/>
            </p:cNvSpPr>
            <p:nvPr/>
          </p:nvSpPr>
          <p:spPr bwMode="gray">
            <a:xfrm>
              <a:off x="3722590" y="3949116"/>
              <a:ext cx="487392" cy="215444"/>
            </a:xfrm>
            <a:prstGeom prst="rect">
              <a:avLst/>
            </a:prstGeom>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400" dirty="0">
                  <a:latin typeface="Calibri" panose="020F0502020204030204" pitchFamily="34" charset="0"/>
                  <a:cs typeface="Calibri" panose="020F0502020204030204" pitchFamily="34" charset="0"/>
                </a:rPr>
                <a:t>Server</a:t>
              </a:r>
            </a:p>
          </p:txBody>
        </p:sp>
        <p:grpSp>
          <p:nvGrpSpPr>
            <p:cNvPr id="19" name="Group 18"/>
            <p:cNvGrpSpPr/>
            <p:nvPr/>
          </p:nvGrpSpPr>
          <p:grpSpPr>
            <a:xfrm>
              <a:off x="3704894" y="3324883"/>
              <a:ext cx="522784" cy="531595"/>
              <a:chOff x="2455863" y="4102100"/>
              <a:chExt cx="565150" cy="574675"/>
            </a:xfrm>
            <a:solidFill>
              <a:schemeClr val="tx1">
                <a:lumMod val="65000"/>
                <a:lumOff val="35000"/>
              </a:schemeClr>
            </a:solidFill>
          </p:grpSpPr>
          <p:sp>
            <p:nvSpPr>
              <p:cNvPr id="40" name="Rectangle 38"/>
              <p:cNvSpPr>
                <a:spLocks noChangeArrowheads="1"/>
              </p:cNvSpPr>
              <p:nvPr/>
            </p:nvSpPr>
            <p:spPr bwMode="auto">
              <a:xfrm>
                <a:off x="2509838" y="4176713"/>
                <a:ext cx="180975" cy="2381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41" name="Rectangle 39"/>
              <p:cNvSpPr>
                <a:spLocks noChangeArrowheads="1"/>
              </p:cNvSpPr>
              <p:nvPr/>
            </p:nvSpPr>
            <p:spPr bwMode="auto">
              <a:xfrm>
                <a:off x="2509838" y="4252913"/>
                <a:ext cx="180975" cy="2381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42" name="Freeform 40"/>
              <p:cNvSpPr>
                <a:spLocks noEditPoints="1"/>
              </p:cNvSpPr>
              <p:nvPr/>
            </p:nvSpPr>
            <p:spPr bwMode="auto">
              <a:xfrm>
                <a:off x="2563813" y="4424363"/>
                <a:ext cx="84138" cy="84138"/>
              </a:xfrm>
              <a:custGeom>
                <a:avLst/>
                <a:gdLst>
                  <a:gd name="T0" fmla="*/ 208 w 475"/>
                  <a:gd name="T1" fmla="*/ 92 h 476"/>
                  <a:gd name="T2" fmla="*/ 154 w 475"/>
                  <a:gd name="T3" fmla="*/ 114 h 476"/>
                  <a:gd name="T4" fmla="*/ 114 w 475"/>
                  <a:gd name="T5" fmla="*/ 154 h 476"/>
                  <a:gd name="T6" fmla="*/ 92 w 475"/>
                  <a:gd name="T7" fmla="*/ 208 h 476"/>
                  <a:gd name="T8" fmla="*/ 92 w 475"/>
                  <a:gd name="T9" fmla="*/ 268 h 476"/>
                  <a:gd name="T10" fmla="*/ 114 w 475"/>
                  <a:gd name="T11" fmla="*/ 321 h 476"/>
                  <a:gd name="T12" fmla="*/ 154 w 475"/>
                  <a:gd name="T13" fmla="*/ 362 h 476"/>
                  <a:gd name="T14" fmla="*/ 208 w 475"/>
                  <a:gd name="T15" fmla="*/ 384 h 476"/>
                  <a:gd name="T16" fmla="*/ 267 w 475"/>
                  <a:gd name="T17" fmla="*/ 384 h 476"/>
                  <a:gd name="T18" fmla="*/ 320 w 475"/>
                  <a:gd name="T19" fmla="*/ 362 h 476"/>
                  <a:gd name="T20" fmla="*/ 360 w 475"/>
                  <a:gd name="T21" fmla="*/ 321 h 476"/>
                  <a:gd name="T22" fmla="*/ 383 w 475"/>
                  <a:gd name="T23" fmla="*/ 268 h 476"/>
                  <a:gd name="T24" fmla="*/ 383 w 475"/>
                  <a:gd name="T25" fmla="*/ 208 h 476"/>
                  <a:gd name="T26" fmla="*/ 360 w 475"/>
                  <a:gd name="T27" fmla="*/ 154 h 476"/>
                  <a:gd name="T28" fmla="*/ 320 w 475"/>
                  <a:gd name="T29" fmla="*/ 114 h 476"/>
                  <a:gd name="T30" fmla="*/ 267 w 475"/>
                  <a:gd name="T31" fmla="*/ 92 h 476"/>
                  <a:gd name="T32" fmla="*/ 237 w 475"/>
                  <a:gd name="T33" fmla="*/ 0 h 476"/>
                  <a:gd name="T34" fmla="*/ 312 w 475"/>
                  <a:gd name="T35" fmla="*/ 11 h 476"/>
                  <a:gd name="T36" fmla="*/ 378 w 475"/>
                  <a:gd name="T37" fmla="*/ 45 h 476"/>
                  <a:gd name="T38" fmla="*/ 429 w 475"/>
                  <a:gd name="T39" fmla="*/ 97 h 476"/>
                  <a:gd name="T40" fmla="*/ 463 w 475"/>
                  <a:gd name="T41" fmla="*/ 163 h 476"/>
                  <a:gd name="T42" fmla="*/ 475 w 475"/>
                  <a:gd name="T43" fmla="*/ 238 h 476"/>
                  <a:gd name="T44" fmla="*/ 463 w 475"/>
                  <a:gd name="T45" fmla="*/ 313 h 476"/>
                  <a:gd name="T46" fmla="*/ 429 w 475"/>
                  <a:gd name="T47" fmla="*/ 378 h 476"/>
                  <a:gd name="T48" fmla="*/ 378 w 475"/>
                  <a:gd name="T49" fmla="*/ 431 h 476"/>
                  <a:gd name="T50" fmla="*/ 312 w 475"/>
                  <a:gd name="T51" fmla="*/ 465 h 476"/>
                  <a:gd name="T52" fmla="*/ 237 w 475"/>
                  <a:gd name="T53" fmla="*/ 476 h 476"/>
                  <a:gd name="T54" fmla="*/ 162 w 475"/>
                  <a:gd name="T55" fmla="*/ 465 h 476"/>
                  <a:gd name="T56" fmla="*/ 98 w 475"/>
                  <a:gd name="T57" fmla="*/ 431 h 476"/>
                  <a:gd name="T58" fmla="*/ 46 w 475"/>
                  <a:gd name="T59" fmla="*/ 379 h 476"/>
                  <a:gd name="T60" fmla="*/ 12 w 475"/>
                  <a:gd name="T61" fmla="*/ 313 h 476"/>
                  <a:gd name="T62" fmla="*/ 0 w 475"/>
                  <a:gd name="T63" fmla="*/ 238 h 476"/>
                  <a:gd name="T64" fmla="*/ 12 w 475"/>
                  <a:gd name="T65" fmla="*/ 163 h 476"/>
                  <a:gd name="T66" fmla="*/ 46 w 475"/>
                  <a:gd name="T67" fmla="*/ 97 h 476"/>
                  <a:gd name="T68" fmla="*/ 98 w 475"/>
                  <a:gd name="T69" fmla="*/ 45 h 476"/>
                  <a:gd name="T70" fmla="*/ 162 w 475"/>
                  <a:gd name="T71" fmla="*/ 11 h 476"/>
                  <a:gd name="T72" fmla="*/ 237 w 475"/>
                  <a:gd name="T73"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5" h="476">
                    <a:moveTo>
                      <a:pt x="237" y="89"/>
                    </a:moveTo>
                    <a:lnTo>
                      <a:pt x="208" y="92"/>
                    </a:lnTo>
                    <a:lnTo>
                      <a:pt x="180" y="100"/>
                    </a:lnTo>
                    <a:lnTo>
                      <a:pt x="154" y="114"/>
                    </a:lnTo>
                    <a:lnTo>
                      <a:pt x="133" y="132"/>
                    </a:lnTo>
                    <a:lnTo>
                      <a:pt x="114" y="154"/>
                    </a:lnTo>
                    <a:lnTo>
                      <a:pt x="101" y="179"/>
                    </a:lnTo>
                    <a:lnTo>
                      <a:pt x="92" y="208"/>
                    </a:lnTo>
                    <a:lnTo>
                      <a:pt x="89" y="238"/>
                    </a:lnTo>
                    <a:lnTo>
                      <a:pt x="92" y="268"/>
                    </a:lnTo>
                    <a:lnTo>
                      <a:pt x="101" y="296"/>
                    </a:lnTo>
                    <a:lnTo>
                      <a:pt x="114" y="321"/>
                    </a:lnTo>
                    <a:lnTo>
                      <a:pt x="133" y="344"/>
                    </a:lnTo>
                    <a:lnTo>
                      <a:pt x="154" y="362"/>
                    </a:lnTo>
                    <a:lnTo>
                      <a:pt x="180" y="376"/>
                    </a:lnTo>
                    <a:lnTo>
                      <a:pt x="208" y="384"/>
                    </a:lnTo>
                    <a:lnTo>
                      <a:pt x="237" y="387"/>
                    </a:lnTo>
                    <a:lnTo>
                      <a:pt x="267" y="384"/>
                    </a:lnTo>
                    <a:lnTo>
                      <a:pt x="296" y="376"/>
                    </a:lnTo>
                    <a:lnTo>
                      <a:pt x="320" y="362"/>
                    </a:lnTo>
                    <a:lnTo>
                      <a:pt x="343" y="344"/>
                    </a:lnTo>
                    <a:lnTo>
                      <a:pt x="360" y="321"/>
                    </a:lnTo>
                    <a:lnTo>
                      <a:pt x="375" y="296"/>
                    </a:lnTo>
                    <a:lnTo>
                      <a:pt x="383" y="268"/>
                    </a:lnTo>
                    <a:lnTo>
                      <a:pt x="386" y="238"/>
                    </a:lnTo>
                    <a:lnTo>
                      <a:pt x="383" y="208"/>
                    </a:lnTo>
                    <a:lnTo>
                      <a:pt x="375" y="179"/>
                    </a:lnTo>
                    <a:lnTo>
                      <a:pt x="360" y="154"/>
                    </a:lnTo>
                    <a:lnTo>
                      <a:pt x="343" y="132"/>
                    </a:lnTo>
                    <a:lnTo>
                      <a:pt x="320" y="114"/>
                    </a:lnTo>
                    <a:lnTo>
                      <a:pt x="296" y="100"/>
                    </a:lnTo>
                    <a:lnTo>
                      <a:pt x="267" y="92"/>
                    </a:lnTo>
                    <a:lnTo>
                      <a:pt x="237" y="89"/>
                    </a:lnTo>
                    <a:close/>
                    <a:moveTo>
                      <a:pt x="237" y="0"/>
                    </a:moveTo>
                    <a:lnTo>
                      <a:pt x="276" y="3"/>
                    </a:lnTo>
                    <a:lnTo>
                      <a:pt x="312" y="11"/>
                    </a:lnTo>
                    <a:lnTo>
                      <a:pt x="346" y="26"/>
                    </a:lnTo>
                    <a:lnTo>
                      <a:pt x="378" y="45"/>
                    </a:lnTo>
                    <a:lnTo>
                      <a:pt x="406" y="69"/>
                    </a:lnTo>
                    <a:lnTo>
                      <a:pt x="429" y="97"/>
                    </a:lnTo>
                    <a:lnTo>
                      <a:pt x="449" y="129"/>
                    </a:lnTo>
                    <a:lnTo>
                      <a:pt x="463" y="163"/>
                    </a:lnTo>
                    <a:lnTo>
                      <a:pt x="472" y="199"/>
                    </a:lnTo>
                    <a:lnTo>
                      <a:pt x="475" y="238"/>
                    </a:lnTo>
                    <a:lnTo>
                      <a:pt x="472" y="276"/>
                    </a:lnTo>
                    <a:lnTo>
                      <a:pt x="463" y="313"/>
                    </a:lnTo>
                    <a:lnTo>
                      <a:pt x="449" y="347"/>
                    </a:lnTo>
                    <a:lnTo>
                      <a:pt x="429" y="378"/>
                    </a:lnTo>
                    <a:lnTo>
                      <a:pt x="406" y="406"/>
                    </a:lnTo>
                    <a:lnTo>
                      <a:pt x="378" y="431"/>
                    </a:lnTo>
                    <a:lnTo>
                      <a:pt x="346" y="449"/>
                    </a:lnTo>
                    <a:lnTo>
                      <a:pt x="312" y="465"/>
                    </a:lnTo>
                    <a:lnTo>
                      <a:pt x="276" y="473"/>
                    </a:lnTo>
                    <a:lnTo>
                      <a:pt x="237" y="476"/>
                    </a:lnTo>
                    <a:lnTo>
                      <a:pt x="199" y="473"/>
                    </a:lnTo>
                    <a:lnTo>
                      <a:pt x="162" y="465"/>
                    </a:lnTo>
                    <a:lnTo>
                      <a:pt x="129" y="450"/>
                    </a:lnTo>
                    <a:lnTo>
                      <a:pt x="98" y="431"/>
                    </a:lnTo>
                    <a:lnTo>
                      <a:pt x="70" y="407"/>
                    </a:lnTo>
                    <a:lnTo>
                      <a:pt x="46" y="379"/>
                    </a:lnTo>
                    <a:lnTo>
                      <a:pt x="27" y="347"/>
                    </a:lnTo>
                    <a:lnTo>
                      <a:pt x="12" y="313"/>
                    </a:lnTo>
                    <a:lnTo>
                      <a:pt x="3" y="276"/>
                    </a:lnTo>
                    <a:lnTo>
                      <a:pt x="0" y="238"/>
                    </a:lnTo>
                    <a:lnTo>
                      <a:pt x="3" y="199"/>
                    </a:lnTo>
                    <a:lnTo>
                      <a:pt x="12" y="163"/>
                    </a:lnTo>
                    <a:lnTo>
                      <a:pt x="27" y="129"/>
                    </a:lnTo>
                    <a:lnTo>
                      <a:pt x="46" y="97"/>
                    </a:lnTo>
                    <a:lnTo>
                      <a:pt x="70" y="69"/>
                    </a:lnTo>
                    <a:lnTo>
                      <a:pt x="98" y="45"/>
                    </a:lnTo>
                    <a:lnTo>
                      <a:pt x="129" y="26"/>
                    </a:lnTo>
                    <a:lnTo>
                      <a:pt x="162" y="11"/>
                    </a:lnTo>
                    <a:lnTo>
                      <a:pt x="199" y="3"/>
                    </a:lnTo>
                    <a:lnTo>
                      <a:pt x="2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43" name="Freeform 41"/>
              <p:cNvSpPr>
                <a:spLocks noEditPoints="1"/>
              </p:cNvSpPr>
              <p:nvPr/>
            </p:nvSpPr>
            <p:spPr bwMode="auto">
              <a:xfrm>
                <a:off x="2455863" y="4102100"/>
                <a:ext cx="565150" cy="574675"/>
              </a:xfrm>
              <a:custGeom>
                <a:avLst/>
                <a:gdLst>
                  <a:gd name="T0" fmla="*/ 809 w 3209"/>
                  <a:gd name="T1" fmla="*/ 1707 h 3262"/>
                  <a:gd name="T2" fmla="*/ 724 w 3209"/>
                  <a:gd name="T3" fmla="*/ 1728 h 3262"/>
                  <a:gd name="T4" fmla="*/ 649 w 3209"/>
                  <a:gd name="T5" fmla="*/ 1769 h 3262"/>
                  <a:gd name="T6" fmla="*/ 586 w 3209"/>
                  <a:gd name="T7" fmla="*/ 1826 h 3262"/>
                  <a:gd name="T8" fmla="*/ 536 w 3209"/>
                  <a:gd name="T9" fmla="*/ 1896 h 3262"/>
                  <a:gd name="T10" fmla="*/ 506 w 3209"/>
                  <a:gd name="T11" fmla="*/ 1977 h 3262"/>
                  <a:gd name="T12" fmla="*/ 494 w 3209"/>
                  <a:gd name="T13" fmla="*/ 2066 h 3262"/>
                  <a:gd name="T14" fmla="*/ 506 w 3209"/>
                  <a:gd name="T15" fmla="*/ 2155 h 3262"/>
                  <a:gd name="T16" fmla="*/ 536 w 3209"/>
                  <a:gd name="T17" fmla="*/ 2236 h 3262"/>
                  <a:gd name="T18" fmla="*/ 586 w 3209"/>
                  <a:gd name="T19" fmla="*/ 2306 h 3262"/>
                  <a:gd name="T20" fmla="*/ 649 w 3209"/>
                  <a:gd name="T21" fmla="*/ 2363 h 3262"/>
                  <a:gd name="T22" fmla="*/ 724 w 3209"/>
                  <a:gd name="T23" fmla="*/ 2404 h 3262"/>
                  <a:gd name="T24" fmla="*/ 809 w 3209"/>
                  <a:gd name="T25" fmla="*/ 2425 h 3262"/>
                  <a:gd name="T26" fmla="*/ 899 w 3209"/>
                  <a:gd name="T27" fmla="*/ 2425 h 3262"/>
                  <a:gd name="T28" fmla="*/ 985 w 3209"/>
                  <a:gd name="T29" fmla="*/ 2404 h 3262"/>
                  <a:gd name="T30" fmla="*/ 1060 w 3209"/>
                  <a:gd name="T31" fmla="*/ 2363 h 3262"/>
                  <a:gd name="T32" fmla="*/ 1124 w 3209"/>
                  <a:gd name="T33" fmla="*/ 2306 h 3262"/>
                  <a:gd name="T34" fmla="*/ 1172 w 3209"/>
                  <a:gd name="T35" fmla="*/ 2236 h 3262"/>
                  <a:gd name="T36" fmla="*/ 1204 w 3209"/>
                  <a:gd name="T37" fmla="*/ 2155 h 3262"/>
                  <a:gd name="T38" fmla="*/ 1214 w 3209"/>
                  <a:gd name="T39" fmla="*/ 2066 h 3262"/>
                  <a:gd name="T40" fmla="*/ 1204 w 3209"/>
                  <a:gd name="T41" fmla="*/ 1977 h 3262"/>
                  <a:gd name="T42" fmla="*/ 1172 w 3209"/>
                  <a:gd name="T43" fmla="*/ 1896 h 3262"/>
                  <a:gd name="T44" fmla="*/ 1124 w 3209"/>
                  <a:gd name="T45" fmla="*/ 1826 h 3262"/>
                  <a:gd name="T46" fmla="*/ 1060 w 3209"/>
                  <a:gd name="T47" fmla="*/ 1769 h 3262"/>
                  <a:gd name="T48" fmla="*/ 985 w 3209"/>
                  <a:gd name="T49" fmla="*/ 1728 h 3262"/>
                  <a:gd name="T50" fmla="*/ 899 w 3209"/>
                  <a:gd name="T51" fmla="*/ 1707 h 3262"/>
                  <a:gd name="T52" fmla="*/ 245 w 3209"/>
                  <a:gd name="T53" fmla="*/ 761 h 3262"/>
                  <a:gd name="T54" fmla="*/ 219 w 3209"/>
                  <a:gd name="T55" fmla="*/ 771 h 3262"/>
                  <a:gd name="T56" fmla="*/ 210 w 3209"/>
                  <a:gd name="T57" fmla="*/ 796 h 3262"/>
                  <a:gd name="T58" fmla="*/ 212 w 3209"/>
                  <a:gd name="T59" fmla="*/ 1078 h 3262"/>
                  <a:gd name="T60" fmla="*/ 231 w 3209"/>
                  <a:gd name="T61" fmla="*/ 1098 h 3262"/>
                  <a:gd name="T62" fmla="*/ 1410 w 3209"/>
                  <a:gd name="T63" fmla="*/ 1100 h 3262"/>
                  <a:gd name="T64" fmla="*/ 1435 w 3209"/>
                  <a:gd name="T65" fmla="*/ 1090 h 3262"/>
                  <a:gd name="T66" fmla="*/ 1445 w 3209"/>
                  <a:gd name="T67" fmla="*/ 1065 h 3262"/>
                  <a:gd name="T68" fmla="*/ 1442 w 3209"/>
                  <a:gd name="T69" fmla="*/ 783 h 3262"/>
                  <a:gd name="T70" fmla="*/ 1424 w 3209"/>
                  <a:gd name="T71" fmla="*/ 764 h 3262"/>
                  <a:gd name="T72" fmla="*/ 245 w 3209"/>
                  <a:gd name="T73" fmla="*/ 761 h 3262"/>
                  <a:gd name="T74" fmla="*/ 210 w 3209"/>
                  <a:gd name="T75" fmla="*/ 664 h 3262"/>
                  <a:gd name="T76" fmla="*/ 1445 w 3209"/>
                  <a:gd name="T77" fmla="*/ 325 h 3262"/>
                  <a:gd name="T78" fmla="*/ 1728 w 3209"/>
                  <a:gd name="T79" fmla="*/ 86 h 3262"/>
                  <a:gd name="T80" fmla="*/ 3139 w 3209"/>
                  <a:gd name="T81" fmla="*/ 2913 h 3262"/>
                  <a:gd name="T82" fmla="*/ 1728 w 3209"/>
                  <a:gd name="T83" fmla="*/ 86 h 3262"/>
                  <a:gd name="T84" fmla="*/ 1706 w 3209"/>
                  <a:gd name="T85" fmla="*/ 2 h 3262"/>
                  <a:gd name="T86" fmla="*/ 3199 w 3209"/>
                  <a:gd name="T87" fmla="*/ 591 h 3262"/>
                  <a:gd name="T88" fmla="*/ 3209 w 3209"/>
                  <a:gd name="T89" fmla="*/ 615 h 3262"/>
                  <a:gd name="T90" fmla="*/ 3207 w 3209"/>
                  <a:gd name="T91" fmla="*/ 2955 h 3262"/>
                  <a:gd name="T92" fmla="*/ 3193 w 3209"/>
                  <a:gd name="T93" fmla="*/ 2972 h 3262"/>
                  <a:gd name="T94" fmla="*/ 1699 w 3209"/>
                  <a:gd name="T95" fmla="*/ 3261 h 3262"/>
                  <a:gd name="T96" fmla="*/ 1693 w 3209"/>
                  <a:gd name="T97" fmla="*/ 3262 h 3262"/>
                  <a:gd name="T98" fmla="*/ 1682 w 3209"/>
                  <a:gd name="T99" fmla="*/ 3260 h 3262"/>
                  <a:gd name="T100" fmla="*/ 1677 w 3209"/>
                  <a:gd name="T101" fmla="*/ 3261 h 3262"/>
                  <a:gd name="T102" fmla="*/ 35 w 3209"/>
                  <a:gd name="T103" fmla="*/ 3261 h 3262"/>
                  <a:gd name="T104" fmla="*/ 10 w 3209"/>
                  <a:gd name="T105" fmla="*/ 3250 h 3262"/>
                  <a:gd name="T106" fmla="*/ 0 w 3209"/>
                  <a:gd name="T107" fmla="*/ 3226 h 3262"/>
                  <a:gd name="T108" fmla="*/ 3 w 3209"/>
                  <a:gd name="T109" fmla="*/ 23 h 3262"/>
                  <a:gd name="T110" fmla="*/ 22 w 3209"/>
                  <a:gd name="T111" fmla="*/ 4 h 3262"/>
                  <a:gd name="T112" fmla="*/ 1674 w 3209"/>
                  <a:gd name="T113" fmla="*/ 2 h 3262"/>
                  <a:gd name="T114" fmla="*/ 1679 w 3209"/>
                  <a:gd name="T115" fmla="*/ 2 h 3262"/>
                  <a:gd name="T116" fmla="*/ 1693 w 3209"/>
                  <a:gd name="T117" fmla="*/ 0 h 3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9" h="3262">
                    <a:moveTo>
                      <a:pt x="854" y="1704"/>
                    </a:moveTo>
                    <a:lnTo>
                      <a:pt x="809" y="1707"/>
                    </a:lnTo>
                    <a:lnTo>
                      <a:pt x="766" y="1715"/>
                    </a:lnTo>
                    <a:lnTo>
                      <a:pt x="724" y="1728"/>
                    </a:lnTo>
                    <a:lnTo>
                      <a:pt x="685" y="1746"/>
                    </a:lnTo>
                    <a:lnTo>
                      <a:pt x="649" y="1769"/>
                    </a:lnTo>
                    <a:lnTo>
                      <a:pt x="615" y="1795"/>
                    </a:lnTo>
                    <a:lnTo>
                      <a:pt x="586" y="1826"/>
                    </a:lnTo>
                    <a:lnTo>
                      <a:pt x="559" y="1859"/>
                    </a:lnTo>
                    <a:lnTo>
                      <a:pt x="536" y="1896"/>
                    </a:lnTo>
                    <a:lnTo>
                      <a:pt x="519" y="1935"/>
                    </a:lnTo>
                    <a:lnTo>
                      <a:pt x="506" y="1977"/>
                    </a:lnTo>
                    <a:lnTo>
                      <a:pt x="497" y="2021"/>
                    </a:lnTo>
                    <a:lnTo>
                      <a:pt x="494" y="2066"/>
                    </a:lnTo>
                    <a:lnTo>
                      <a:pt x="497" y="2111"/>
                    </a:lnTo>
                    <a:lnTo>
                      <a:pt x="506" y="2155"/>
                    </a:lnTo>
                    <a:lnTo>
                      <a:pt x="519" y="2197"/>
                    </a:lnTo>
                    <a:lnTo>
                      <a:pt x="536" y="2236"/>
                    </a:lnTo>
                    <a:lnTo>
                      <a:pt x="559" y="2273"/>
                    </a:lnTo>
                    <a:lnTo>
                      <a:pt x="586" y="2306"/>
                    </a:lnTo>
                    <a:lnTo>
                      <a:pt x="615" y="2337"/>
                    </a:lnTo>
                    <a:lnTo>
                      <a:pt x="649" y="2363"/>
                    </a:lnTo>
                    <a:lnTo>
                      <a:pt x="685" y="2386"/>
                    </a:lnTo>
                    <a:lnTo>
                      <a:pt x="724" y="2404"/>
                    </a:lnTo>
                    <a:lnTo>
                      <a:pt x="766" y="2416"/>
                    </a:lnTo>
                    <a:lnTo>
                      <a:pt x="809" y="2425"/>
                    </a:lnTo>
                    <a:lnTo>
                      <a:pt x="854" y="2428"/>
                    </a:lnTo>
                    <a:lnTo>
                      <a:pt x="899" y="2425"/>
                    </a:lnTo>
                    <a:lnTo>
                      <a:pt x="944" y="2416"/>
                    </a:lnTo>
                    <a:lnTo>
                      <a:pt x="985" y="2404"/>
                    </a:lnTo>
                    <a:lnTo>
                      <a:pt x="1024" y="2386"/>
                    </a:lnTo>
                    <a:lnTo>
                      <a:pt x="1060" y="2363"/>
                    </a:lnTo>
                    <a:lnTo>
                      <a:pt x="1093" y="2337"/>
                    </a:lnTo>
                    <a:lnTo>
                      <a:pt x="1124" y="2306"/>
                    </a:lnTo>
                    <a:lnTo>
                      <a:pt x="1151" y="2273"/>
                    </a:lnTo>
                    <a:lnTo>
                      <a:pt x="1172" y="2236"/>
                    </a:lnTo>
                    <a:lnTo>
                      <a:pt x="1191" y="2197"/>
                    </a:lnTo>
                    <a:lnTo>
                      <a:pt x="1204" y="2155"/>
                    </a:lnTo>
                    <a:lnTo>
                      <a:pt x="1212" y="2111"/>
                    </a:lnTo>
                    <a:lnTo>
                      <a:pt x="1214" y="2066"/>
                    </a:lnTo>
                    <a:lnTo>
                      <a:pt x="1212" y="2021"/>
                    </a:lnTo>
                    <a:lnTo>
                      <a:pt x="1204" y="1977"/>
                    </a:lnTo>
                    <a:lnTo>
                      <a:pt x="1191" y="1935"/>
                    </a:lnTo>
                    <a:lnTo>
                      <a:pt x="1172" y="1896"/>
                    </a:lnTo>
                    <a:lnTo>
                      <a:pt x="1151" y="1859"/>
                    </a:lnTo>
                    <a:lnTo>
                      <a:pt x="1124" y="1826"/>
                    </a:lnTo>
                    <a:lnTo>
                      <a:pt x="1093" y="1795"/>
                    </a:lnTo>
                    <a:lnTo>
                      <a:pt x="1060" y="1769"/>
                    </a:lnTo>
                    <a:lnTo>
                      <a:pt x="1024" y="1746"/>
                    </a:lnTo>
                    <a:lnTo>
                      <a:pt x="985" y="1728"/>
                    </a:lnTo>
                    <a:lnTo>
                      <a:pt x="944" y="1715"/>
                    </a:lnTo>
                    <a:lnTo>
                      <a:pt x="899" y="1707"/>
                    </a:lnTo>
                    <a:lnTo>
                      <a:pt x="854" y="1704"/>
                    </a:lnTo>
                    <a:close/>
                    <a:moveTo>
                      <a:pt x="245" y="761"/>
                    </a:moveTo>
                    <a:lnTo>
                      <a:pt x="231" y="764"/>
                    </a:lnTo>
                    <a:lnTo>
                      <a:pt x="219" y="771"/>
                    </a:lnTo>
                    <a:lnTo>
                      <a:pt x="212" y="783"/>
                    </a:lnTo>
                    <a:lnTo>
                      <a:pt x="210" y="796"/>
                    </a:lnTo>
                    <a:lnTo>
                      <a:pt x="210" y="1065"/>
                    </a:lnTo>
                    <a:lnTo>
                      <a:pt x="212" y="1078"/>
                    </a:lnTo>
                    <a:lnTo>
                      <a:pt x="219" y="1090"/>
                    </a:lnTo>
                    <a:lnTo>
                      <a:pt x="231" y="1098"/>
                    </a:lnTo>
                    <a:lnTo>
                      <a:pt x="245" y="1100"/>
                    </a:lnTo>
                    <a:lnTo>
                      <a:pt x="1410" y="1100"/>
                    </a:lnTo>
                    <a:lnTo>
                      <a:pt x="1424" y="1098"/>
                    </a:lnTo>
                    <a:lnTo>
                      <a:pt x="1435" y="1090"/>
                    </a:lnTo>
                    <a:lnTo>
                      <a:pt x="1442" y="1079"/>
                    </a:lnTo>
                    <a:lnTo>
                      <a:pt x="1445" y="1065"/>
                    </a:lnTo>
                    <a:lnTo>
                      <a:pt x="1445" y="796"/>
                    </a:lnTo>
                    <a:lnTo>
                      <a:pt x="1442" y="783"/>
                    </a:lnTo>
                    <a:lnTo>
                      <a:pt x="1435" y="771"/>
                    </a:lnTo>
                    <a:lnTo>
                      <a:pt x="1424" y="764"/>
                    </a:lnTo>
                    <a:lnTo>
                      <a:pt x="1410" y="761"/>
                    </a:lnTo>
                    <a:lnTo>
                      <a:pt x="245" y="761"/>
                    </a:lnTo>
                    <a:close/>
                    <a:moveTo>
                      <a:pt x="210" y="325"/>
                    </a:moveTo>
                    <a:lnTo>
                      <a:pt x="210" y="664"/>
                    </a:lnTo>
                    <a:lnTo>
                      <a:pt x="1445" y="664"/>
                    </a:lnTo>
                    <a:lnTo>
                      <a:pt x="1445" y="325"/>
                    </a:lnTo>
                    <a:lnTo>
                      <a:pt x="210" y="325"/>
                    </a:lnTo>
                    <a:close/>
                    <a:moveTo>
                      <a:pt x="1728" y="86"/>
                    </a:moveTo>
                    <a:lnTo>
                      <a:pt x="1728" y="3185"/>
                    </a:lnTo>
                    <a:lnTo>
                      <a:pt x="3139" y="2913"/>
                    </a:lnTo>
                    <a:lnTo>
                      <a:pt x="3139" y="640"/>
                    </a:lnTo>
                    <a:lnTo>
                      <a:pt x="1728" y="86"/>
                    </a:lnTo>
                    <a:close/>
                    <a:moveTo>
                      <a:pt x="1693" y="0"/>
                    </a:moveTo>
                    <a:lnTo>
                      <a:pt x="1706" y="2"/>
                    </a:lnTo>
                    <a:lnTo>
                      <a:pt x="3188" y="584"/>
                    </a:lnTo>
                    <a:lnTo>
                      <a:pt x="3199" y="591"/>
                    </a:lnTo>
                    <a:lnTo>
                      <a:pt x="3207" y="602"/>
                    </a:lnTo>
                    <a:lnTo>
                      <a:pt x="3209" y="615"/>
                    </a:lnTo>
                    <a:lnTo>
                      <a:pt x="3209" y="2942"/>
                    </a:lnTo>
                    <a:lnTo>
                      <a:pt x="3207" y="2955"/>
                    </a:lnTo>
                    <a:lnTo>
                      <a:pt x="3201" y="2965"/>
                    </a:lnTo>
                    <a:lnTo>
                      <a:pt x="3193" y="2972"/>
                    </a:lnTo>
                    <a:lnTo>
                      <a:pt x="3182" y="2977"/>
                    </a:lnTo>
                    <a:lnTo>
                      <a:pt x="1699" y="3261"/>
                    </a:lnTo>
                    <a:lnTo>
                      <a:pt x="1696" y="3262"/>
                    </a:lnTo>
                    <a:lnTo>
                      <a:pt x="1693" y="3262"/>
                    </a:lnTo>
                    <a:lnTo>
                      <a:pt x="1687" y="3261"/>
                    </a:lnTo>
                    <a:lnTo>
                      <a:pt x="1682" y="3260"/>
                    </a:lnTo>
                    <a:lnTo>
                      <a:pt x="1679" y="3260"/>
                    </a:lnTo>
                    <a:lnTo>
                      <a:pt x="1677" y="3261"/>
                    </a:lnTo>
                    <a:lnTo>
                      <a:pt x="1674" y="3261"/>
                    </a:lnTo>
                    <a:lnTo>
                      <a:pt x="35" y="3261"/>
                    </a:lnTo>
                    <a:lnTo>
                      <a:pt x="22" y="3259"/>
                    </a:lnTo>
                    <a:lnTo>
                      <a:pt x="10" y="3250"/>
                    </a:lnTo>
                    <a:lnTo>
                      <a:pt x="3" y="3240"/>
                    </a:lnTo>
                    <a:lnTo>
                      <a:pt x="0" y="3226"/>
                    </a:lnTo>
                    <a:lnTo>
                      <a:pt x="0" y="37"/>
                    </a:lnTo>
                    <a:lnTo>
                      <a:pt x="3" y="23"/>
                    </a:lnTo>
                    <a:lnTo>
                      <a:pt x="10" y="12"/>
                    </a:lnTo>
                    <a:lnTo>
                      <a:pt x="22" y="4"/>
                    </a:lnTo>
                    <a:lnTo>
                      <a:pt x="35" y="2"/>
                    </a:lnTo>
                    <a:lnTo>
                      <a:pt x="1674" y="2"/>
                    </a:lnTo>
                    <a:lnTo>
                      <a:pt x="1677" y="2"/>
                    </a:lnTo>
                    <a:lnTo>
                      <a:pt x="1679" y="2"/>
                    </a:lnTo>
                    <a:lnTo>
                      <a:pt x="1681" y="3"/>
                    </a:lnTo>
                    <a:lnTo>
                      <a:pt x="169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sp>
          <p:nvSpPr>
            <p:cNvPr id="20" name="Content Placeholder 1"/>
            <p:cNvSpPr txBox="1">
              <a:spLocks/>
            </p:cNvSpPr>
            <p:nvPr/>
          </p:nvSpPr>
          <p:spPr bwMode="gray">
            <a:xfrm>
              <a:off x="4589803" y="3949116"/>
              <a:ext cx="217019" cy="215444"/>
            </a:xfrm>
            <a:prstGeom prst="rect">
              <a:avLst/>
            </a:prstGeom>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400" dirty="0">
                  <a:latin typeface="Calibri" panose="020F0502020204030204" pitchFamily="34" charset="0"/>
                  <a:cs typeface="Calibri" panose="020F0502020204030204" pitchFamily="34" charset="0"/>
                </a:rPr>
                <a:t>DB</a:t>
              </a:r>
            </a:p>
          </p:txBody>
        </p:sp>
        <p:grpSp>
          <p:nvGrpSpPr>
            <p:cNvPr id="21" name="Group 20"/>
            <p:cNvGrpSpPr/>
            <p:nvPr/>
          </p:nvGrpSpPr>
          <p:grpSpPr>
            <a:xfrm>
              <a:off x="4581630" y="3389861"/>
              <a:ext cx="351193" cy="402040"/>
              <a:chOff x="2641599" y="3975100"/>
              <a:chExt cx="351193" cy="402040"/>
            </a:xfrm>
            <a:solidFill>
              <a:schemeClr val="tx1">
                <a:lumMod val="65000"/>
                <a:lumOff val="35000"/>
              </a:schemeClr>
            </a:solidFill>
          </p:grpSpPr>
          <p:sp>
            <p:nvSpPr>
              <p:cNvPr id="36" name="Freeform 46"/>
              <p:cNvSpPr>
                <a:spLocks/>
              </p:cNvSpPr>
              <p:nvPr/>
            </p:nvSpPr>
            <p:spPr bwMode="auto">
              <a:xfrm>
                <a:off x="2641599" y="3975100"/>
                <a:ext cx="351192" cy="70083"/>
              </a:xfrm>
              <a:custGeom>
                <a:avLst/>
                <a:gdLst>
                  <a:gd name="T0" fmla="*/ 977 w 1910"/>
                  <a:gd name="T1" fmla="*/ 0 h 580"/>
                  <a:gd name="T2" fmla="*/ 1035 w 1910"/>
                  <a:gd name="T3" fmla="*/ 1 h 580"/>
                  <a:gd name="T4" fmla="*/ 1104 w 1910"/>
                  <a:gd name="T5" fmla="*/ 3 h 580"/>
                  <a:gd name="T6" fmla="*/ 1184 w 1910"/>
                  <a:gd name="T7" fmla="*/ 7 h 580"/>
                  <a:gd name="T8" fmla="*/ 1272 w 1910"/>
                  <a:gd name="T9" fmla="*/ 12 h 580"/>
                  <a:gd name="T10" fmla="*/ 1364 w 1910"/>
                  <a:gd name="T11" fmla="*/ 20 h 580"/>
                  <a:gd name="T12" fmla="*/ 1457 w 1910"/>
                  <a:gd name="T13" fmla="*/ 31 h 580"/>
                  <a:gd name="T14" fmla="*/ 1549 w 1910"/>
                  <a:gd name="T15" fmla="*/ 47 h 580"/>
                  <a:gd name="T16" fmla="*/ 1637 w 1910"/>
                  <a:gd name="T17" fmla="*/ 68 h 580"/>
                  <a:gd name="T18" fmla="*/ 1717 w 1910"/>
                  <a:gd name="T19" fmla="*/ 93 h 580"/>
                  <a:gd name="T20" fmla="*/ 1787 w 1910"/>
                  <a:gd name="T21" fmla="*/ 124 h 580"/>
                  <a:gd name="T22" fmla="*/ 1844 w 1910"/>
                  <a:gd name="T23" fmla="*/ 163 h 580"/>
                  <a:gd name="T24" fmla="*/ 1885 w 1910"/>
                  <a:gd name="T25" fmla="*/ 207 h 580"/>
                  <a:gd name="T26" fmla="*/ 1907 w 1910"/>
                  <a:gd name="T27" fmla="*/ 260 h 580"/>
                  <a:gd name="T28" fmla="*/ 1907 w 1910"/>
                  <a:gd name="T29" fmla="*/ 319 h 580"/>
                  <a:gd name="T30" fmla="*/ 1885 w 1910"/>
                  <a:gd name="T31" fmla="*/ 371 h 580"/>
                  <a:gd name="T32" fmla="*/ 1844 w 1910"/>
                  <a:gd name="T33" fmla="*/ 416 h 580"/>
                  <a:gd name="T34" fmla="*/ 1787 w 1910"/>
                  <a:gd name="T35" fmla="*/ 454 h 580"/>
                  <a:gd name="T36" fmla="*/ 1717 w 1910"/>
                  <a:gd name="T37" fmla="*/ 486 h 580"/>
                  <a:gd name="T38" fmla="*/ 1637 w 1910"/>
                  <a:gd name="T39" fmla="*/ 512 h 580"/>
                  <a:gd name="T40" fmla="*/ 1549 w 1910"/>
                  <a:gd name="T41" fmla="*/ 533 h 580"/>
                  <a:gd name="T42" fmla="*/ 1457 w 1910"/>
                  <a:gd name="T43" fmla="*/ 548 h 580"/>
                  <a:gd name="T44" fmla="*/ 1364 w 1910"/>
                  <a:gd name="T45" fmla="*/ 561 h 580"/>
                  <a:gd name="T46" fmla="*/ 1272 w 1910"/>
                  <a:gd name="T47" fmla="*/ 569 h 580"/>
                  <a:gd name="T48" fmla="*/ 1184 w 1910"/>
                  <a:gd name="T49" fmla="*/ 574 h 580"/>
                  <a:gd name="T50" fmla="*/ 1104 w 1910"/>
                  <a:gd name="T51" fmla="*/ 577 h 580"/>
                  <a:gd name="T52" fmla="*/ 1034 w 1910"/>
                  <a:gd name="T53" fmla="*/ 580 h 580"/>
                  <a:gd name="T54" fmla="*/ 977 w 1910"/>
                  <a:gd name="T55" fmla="*/ 580 h 580"/>
                  <a:gd name="T56" fmla="*/ 933 w 1910"/>
                  <a:gd name="T57" fmla="*/ 579 h 580"/>
                  <a:gd name="T58" fmla="*/ 875 w 1910"/>
                  <a:gd name="T59" fmla="*/ 577 h 580"/>
                  <a:gd name="T60" fmla="*/ 806 w 1910"/>
                  <a:gd name="T61" fmla="*/ 576 h 580"/>
                  <a:gd name="T62" fmla="*/ 726 w 1910"/>
                  <a:gd name="T63" fmla="*/ 572 h 580"/>
                  <a:gd name="T64" fmla="*/ 638 w 1910"/>
                  <a:gd name="T65" fmla="*/ 567 h 580"/>
                  <a:gd name="T66" fmla="*/ 546 w 1910"/>
                  <a:gd name="T67" fmla="*/ 559 h 580"/>
                  <a:gd name="T68" fmla="*/ 453 w 1910"/>
                  <a:gd name="T69" fmla="*/ 547 h 580"/>
                  <a:gd name="T70" fmla="*/ 360 w 1910"/>
                  <a:gd name="T71" fmla="*/ 532 h 580"/>
                  <a:gd name="T72" fmla="*/ 273 w 1910"/>
                  <a:gd name="T73" fmla="*/ 511 h 580"/>
                  <a:gd name="T74" fmla="*/ 193 w 1910"/>
                  <a:gd name="T75" fmla="*/ 486 h 580"/>
                  <a:gd name="T76" fmla="*/ 122 w 1910"/>
                  <a:gd name="T77" fmla="*/ 455 h 580"/>
                  <a:gd name="T78" fmla="*/ 66 w 1910"/>
                  <a:gd name="T79" fmla="*/ 416 h 580"/>
                  <a:gd name="T80" fmla="*/ 25 w 1910"/>
                  <a:gd name="T81" fmla="*/ 372 h 580"/>
                  <a:gd name="T82" fmla="*/ 3 w 1910"/>
                  <a:gd name="T83" fmla="*/ 319 h 580"/>
                  <a:gd name="T84" fmla="*/ 3 w 1910"/>
                  <a:gd name="T85" fmla="*/ 260 h 580"/>
                  <a:gd name="T86" fmla="*/ 25 w 1910"/>
                  <a:gd name="T87" fmla="*/ 207 h 580"/>
                  <a:gd name="T88" fmla="*/ 66 w 1910"/>
                  <a:gd name="T89" fmla="*/ 163 h 580"/>
                  <a:gd name="T90" fmla="*/ 122 w 1910"/>
                  <a:gd name="T91" fmla="*/ 124 h 580"/>
                  <a:gd name="T92" fmla="*/ 193 w 1910"/>
                  <a:gd name="T93" fmla="*/ 93 h 580"/>
                  <a:gd name="T94" fmla="*/ 273 w 1910"/>
                  <a:gd name="T95" fmla="*/ 68 h 580"/>
                  <a:gd name="T96" fmla="*/ 360 w 1910"/>
                  <a:gd name="T97" fmla="*/ 47 h 580"/>
                  <a:gd name="T98" fmla="*/ 453 w 1910"/>
                  <a:gd name="T99" fmla="*/ 31 h 580"/>
                  <a:gd name="T100" fmla="*/ 546 w 1910"/>
                  <a:gd name="T101" fmla="*/ 20 h 580"/>
                  <a:gd name="T102" fmla="*/ 638 w 1910"/>
                  <a:gd name="T103" fmla="*/ 12 h 580"/>
                  <a:gd name="T104" fmla="*/ 726 w 1910"/>
                  <a:gd name="T105" fmla="*/ 7 h 580"/>
                  <a:gd name="T106" fmla="*/ 806 w 1910"/>
                  <a:gd name="T107" fmla="*/ 3 h 580"/>
                  <a:gd name="T108" fmla="*/ 875 w 1910"/>
                  <a:gd name="T109" fmla="*/ 1 h 580"/>
                  <a:gd name="T110" fmla="*/ 933 w 1910"/>
                  <a:gd name="T111" fmla="*/ 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10" h="580">
                    <a:moveTo>
                      <a:pt x="956" y="0"/>
                    </a:moveTo>
                    <a:lnTo>
                      <a:pt x="977" y="0"/>
                    </a:lnTo>
                    <a:lnTo>
                      <a:pt x="1004" y="0"/>
                    </a:lnTo>
                    <a:lnTo>
                      <a:pt x="1035" y="1"/>
                    </a:lnTo>
                    <a:lnTo>
                      <a:pt x="1067" y="2"/>
                    </a:lnTo>
                    <a:lnTo>
                      <a:pt x="1104" y="3"/>
                    </a:lnTo>
                    <a:lnTo>
                      <a:pt x="1143" y="4"/>
                    </a:lnTo>
                    <a:lnTo>
                      <a:pt x="1184" y="7"/>
                    </a:lnTo>
                    <a:lnTo>
                      <a:pt x="1227" y="9"/>
                    </a:lnTo>
                    <a:lnTo>
                      <a:pt x="1272" y="12"/>
                    </a:lnTo>
                    <a:lnTo>
                      <a:pt x="1318" y="16"/>
                    </a:lnTo>
                    <a:lnTo>
                      <a:pt x="1364" y="20"/>
                    </a:lnTo>
                    <a:lnTo>
                      <a:pt x="1410" y="25"/>
                    </a:lnTo>
                    <a:lnTo>
                      <a:pt x="1457" y="31"/>
                    </a:lnTo>
                    <a:lnTo>
                      <a:pt x="1504" y="39"/>
                    </a:lnTo>
                    <a:lnTo>
                      <a:pt x="1549" y="47"/>
                    </a:lnTo>
                    <a:lnTo>
                      <a:pt x="1594" y="56"/>
                    </a:lnTo>
                    <a:lnTo>
                      <a:pt x="1637" y="68"/>
                    </a:lnTo>
                    <a:lnTo>
                      <a:pt x="1678" y="79"/>
                    </a:lnTo>
                    <a:lnTo>
                      <a:pt x="1717" y="93"/>
                    </a:lnTo>
                    <a:lnTo>
                      <a:pt x="1754" y="108"/>
                    </a:lnTo>
                    <a:lnTo>
                      <a:pt x="1787" y="124"/>
                    </a:lnTo>
                    <a:lnTo>
                      <a:pt x="1818" y="143"/>
                    </a:lnTo>
                    <a:lnTo>
                      <a:pt x="1844" y="163"/>
                    </a:lnTo>
                    <a:lnTo>
                      <a:pt x="1867" y="183"/>
                    </a:lnTo>
                    <a:lnTo>
                      <a:pt x="1885" y="207"/>
                    </a:lnTo>
                    <a:lnTo>
                      <a:pt x="1899" y="232"/>
                    </a:lnTo>
                    <a:lnTo>
                      <a:pt x="1907" y="260"/>
                    </a:lnTo>
                    <a:lnTo>
                      <a:pt x="1910" y="289"/>
                    </a:lnTo>
                    <a:lnTo>
                      <a:pt x="1907" y="319"/>
                    </a:lnTo>
                    <a:lnTo>
                      <a:pt x="1899" y="346"/>
                    </a:lnTo>
                    <a:lnTo>
                      <a:pt x="1885" y="371"/>
                    </a:lnTo>
                    <a:lnTo>
                      <a:pt x="1867" y="394"/>
                    </a:lnTo>
                    <a:lnTo>
                      <a:pt x="1844" y="416"/>
                    </a:lnTo>
                    <a:lnTo>
                      <a:pt x="1818" y="436"/>
                    </a:lnTo>
                    <a:lnTo>
                      <a:pt x="1787" y="454"/>
                    </a:lnTo>
                    <a:lnTo>
                      <a:pt x="1754" y="470"/>
                    </a:lnTo>
                    <a:lnTo>
                      <a:pt x="1717" y="486"/>
                    </a:lnTo>
                    <a:lnTo>
                      <a:pt x="1678" y="499"/>
                    </a:lnTo>
                    <a:lnTo>
                      <a:pt x="1637" y="512"/>
                    </a:lnTo>
                    <a:lnTo>
                      <a:pt x="1594" y="522"/>
                    </a:lnTo>
                    <a:lnTo>
                      <a:pt x="1549" y="533"/>
                    </a:lnTo>
                    <a:lnTo>
                      <a:pt x="1504" y="541"/>
                    </a:lnTo>
                    <a:lnTo>
                      <a:pt x="1457" y="548"/>
                    </a:lnTo>
                    <a:lnTo>
                      <a:pt x="1410" y="555"/>
                    </a:lnTo>
                    <a:lnTo>
                      <a:pt x="1364" y="561"/>
                    </a:lnTo>
                    <a:lnTo>
                      <a:pt x="1317" y="565"/>
                    </a:lnTo>
                    <a:lnTo>
                      <a:pt x="1272" y="569"/>
                    </a:lnTo>
                    <a:lnTo>
                      <a:pt x="1227" y="572"/>
                    </a:lnTo>
                    <a:lnTo>
                      <a:pt x="1184" y="574"/>
                    </a:lnTo>
                    <a:lnTo>
                      <a:pt x="1143" y="576"/>
                    </a:lnTo>
                    <a:lnTo>
                      <a:pt x="1104" y="577"/>
                    </a:lnTo>
                    <a:lnTo>
                      <a:pt x="1067" y="579"/>
                    </a:lnTo>
                    <a:lnTo>
                      <a:pt x="1034" y="580"/>
                    </a:lnTo>
                    <a:lnTo>
                      <a:pt x="1004" y="580"/>
                    </a:lnTo>
                    <a:lnTo>
                      <a:pt x="977" y="580"/>
                    </a:lnTo>
                    <a:lnTo>
                      <a:pt x="956" y="579"/>
                    </a:lnTo>
                    <a:lnTo>
                      <a:pt x="933" y="579"/>
                    </a:lnTo>
                    <a:lnTo>
                      <a:pt x="906" y="579"/>
                    </a:lnTo>
                    <a:lnTo>
                      <a:pt x="875" y="577"/>
                    </a:lnTo>
                    <a:lnTo>
                      <a:pt x="843" y="577"/>
                    </a:lnTo>
                    <a:lnTo>
                      <a:pt x="806" y="576"/>
                    </a:lnTo>
                    <a:lnTo>
                      <a:pt x="767" y="574"/>
                    </a:lnTo>
                    <a:lnTo>
                      <a:pt x="726" y="572"/>
                    </a:lnTo>
                    <a:lnTo>
                      <a:pt x="683" y="570"/>
                    </a:lnTo>
                    <a:lnTo>
                      <a:pt x="638" y="567"/>
                    </a:lnTo>
                    <a:lnTo>
                      <a:pt x="592" y="563"/>
                    </a:lnTo>
                    <a:lnTo>
                      <a:pt x="546" y="559"/>
                    </a:lnTo>
                    <a:lnTo>
                      <a:pt x="500" y="554"/>
                    </a:lnTo>
                    <a:lnTo>
                      <a:pt x="453" y="547"/>
                    </a:lnTo>
                    <a:lnTo>
                      <a:pt x="406" y="540"/>
                    </a:lnTo>
                    <a:lnTo>
                      <a:pt x="360" y="532"/>
                    </a:lnTo>
                    <a:lnTo>
                      <a:pt x="316" y="522"/>
                    </a:lnTo>
                    <a:lnTo>
                      <a:pt x="273" y="511"/>
                    </a:lnTo>
                    <a:lnTo>
                      <a:pt x="232" y="499"/>
                    </a:lnTo>
                    <a:lnTo>
                      <a:pt x="193" y="486"/>
                    </a:lnTo>
                    <a:lnTo>
                      <a:pt x="156" y="471"/>
                    </a:lnTo>
                    <a:lnTo>
                      <a:pt x="122" y="455"/>
                    </a:lnTo>
                    <a:lnTo>
                      <a:pt x="92" y="436"/>
                    </a:lnTo>
                    <a:lnTo>
                      <a:pt x="66" y="416"/>
                    </a:lnTo>
                    <a:lnTo>
                      <a:pt x="43" y="395"/>
                    </a:lnTo>
                    <a:lnTo>
                      <a:pt x="25" y="372"/>
                    </a:lnTo>
                    <a:lnTo>
                      <a:pt x="11" y="347"/>
                    </a:lnTo>
                    <a:lnTo>
                      <a:pt x="3" y="319"/>
                    </a:lnTo>
                    <a:lnTo>
                      <a:pt x="0" y="289"/>
                    </a:lnTo>
                    <a:lnTo>
                      <a:pt x="3" y="260"/>
                    </a:lnTo>
                    <a:lnTo>
                      <a:pt x="11" y="232"/>
                    </a:lnTo>
                    <a:lnTo>
                      <a:pt x="25" y="207"/>
                    </a:lnTo>
                    <a:lnTo>
                      <a:pt x="43" y="183"/>
                    </a:lnTo>
                    <a:lnTo>
                      <a:pt x="66" y="163"/>
                    </a:lnTo>
                    <a:lnTo>
                      <a:pt x="92" y="143"/>
                    </a:lnTo>
                    <a:lnTo>
                      <a:pt x="122" y="124"/>
                    </a:lnTo>
                    <a:lnTo>
                      <a:pt x="156" y="108"/>
                    </a:lnTo>
                    <a:lnTo>
                      <a:pt x="193" y="93"/>
                    </a:lnTo>
                    <a:lnTo>
                      <a:pt x="232" y="79"/>
                    </a:lnTo>
                    <a:lnTo>
                      <a:pt x="273" y="68"/>
                    </a:lnTo>
                    <a:lnTo>
                      <a:pt x="316" y="56"/>
                    </a:lnTo>
                    <a:lnTo>
                      <a:pt x="360" y="47"/>
                    </a:lnTo>
                    <a:lnTo>
                      <a:pt x="406" y="39"/>
                    </a:lnTo>
                    <a:lnTo>
                      <a:pt x="453" y="31"/>
                    </a:lnTo>
                    <a:lnTo>
                      <a:pt x="500" y="25"/>
                    </a:lnTo>
                    <a:lnTo>
                      <a:pt x="546" y="20"/>
                    </a:lnTo>
                    <a:lnTo>
                      <a:pt x="592" y="16"/>
                    </a:lnTo>
                    <a:lnTo>
                      <a:pt x="638" y="12"/>
                    </a:lnTo>
                    <a:lnTo>
                      <a:pt x="683" y="9"/>
                    </a:lnTo>
                    <a:lnTo>
                      <a:pt x="726" y="7"/>
                    </a:lnTo>
                    <a:lnTo>
                      <a:pt x="767" y="4"/>
                    </a:lnTo>
                    <a:lnTo>
                      <a:pt x="806" y="3"/>
                    </a:lnTo>
                    <a:lnTo>
                      <a:pt x="843" y="2"/>
                    </a:lnTo>
                    <a:lnTo>
                      <a:pt x="875" y="1"/>
                    </a:lnTo>
                    <a:lnTo>
                      <a:pt x="906" y="0"/>
                    </a:lnTo>
                    <a:lnTo>
                      <a:pt x="933" y="0"/>
                    </a:lnTo>
                    <a:lnTo>
                      <a:pt x="9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37" name="Freeform 47"/>
              <p:cNvSpPr>
                <a:spLocks/>
              </p:cNvSpPr>
              <p:nvPr/>
            </p:nvSpPr>
            <p:spPr bwMode="auto">
              <a:xfrm>
                <a:off x="2641600" y="4035425"/>
                <a:ext cx="351192" cy="121053"/>
              </a:xfrm>
              <a:custGeom>
                <a:avLst/>
                <a:gdLst>
                  <a:gd name="T0" fmla="*/ 1910 w 1910"/>
                  <a:gd name="T1" fmla="*/ 795 h 985"/>
                  <a:gd name="T2" fmla="*/ 1908 w 1910"/>
                  <a:gd name="T3" fmla="*/ 796 h 985"/>
                  <a:gd name="T4" fmla="*/ 1904 w 1910"/>
                  <a:gd name="T5" fmla="*/ 799 h 985"/>
                  <a:gd name="T6" fmla="*/ 1901 w 1910"/>
                  <a:gd name="T7" fmla="*/ 802 h 985"/>
                  <a:gd name="T8" fmla="*/ 1899 w 1910"/>
                  <a:gd name="T9" fmla="*/ 803 h 985"/>
                  <a:gd name="T10" fmla="*/ 1817 w 1910"/>
                  <a:gd name="T11" fmla="*/ 853 h 985"/>
                  <a:gd name="T12" fmla="*/ 1718 w 1910"/>
                  <a:gd name="T13" fmla="*/ 894 h 985"/>
                  <a:gd name="T14" fmla="*/ 1607 w 1910"/>
                  <a:gd name="T15" fmla="*/ 925 h 985"/>
                  <a:gd name="T16" fmla="*/ 1490 w 1910"/>
                  <a:gd name="T17" fmla="*/ 948 h 985"/>
                  <a:gd name="T18" fmla="*/ 1372 w 1910"/>
                  <a:gd name="T19" fmla="*/ 965 h 985"/>
                  <a:gd name="T20" fmla="*/ 1257 w 1910"/>
                  <a:gd name="T21" fmla="*/ 975 h 985"/>
                  <a:gd name="T22" fmla="*/ 1151 w 1910"/>
                  <a:gd name="T23" fmla="*/ 982 h 985"/>
                  <a:gd name="T24" fmla="*/ 1057 w 1910"/>
                  <a:gd name="T25" fmla="*/ 984 h 985"/>
                  <a:gd name="T26" fmla="*/ 982 w 1910"/>
                  <a:gd name="T27" fmla="*/ 985 h 985"/>
                  <a:gd name="T28" fmla="*/ 927 w 1910"/>
                  <a:gd name="T29" fmla="*/ 984 h 985"/>
                  <a:gd name="T30" fmla="*/ 856 w 1910"/>
                  <a:gd name="T31" fmla="*/ 983 h 985"/>
                  <a:gd name="T32" fmla="*/ 769 w 1910"/>
                  <a:gd name="T33" fmla="*/ 980 h 985"/>
                  <a:gd name="T34" fmla="*/ 669 w 1910"/>
                  <a:gd name="T35" fmla="*/ 975 h 985"/>
                  <a:gd name="T36" fmla="*/ 560 w 1910"/>
                  <a:gd name="T37" fmla="*/ 966 h 985"/>
                  <a:gd name="T38" fmla="*/ 449 w 1910"/>
                  <a:gd name="T39" fmla="*/ 952 h 985"/>
                  <a:gd name="T40" fmla="*/ 337 w 1910"/>
                  <a:gd name="T41" fmla="*/ 932 h 985"/>
                  <a:gd name="T42" fmla="*/ 229 w 1910"/>
                  <a:gd name="T43" fmla="*/ 906 h 985"/>
                  <a:gd name="T44" fmla="*/ 129 w 1910"/>
                  <a:gd name="T45" fmla="*/ 872 h 985"/>
                  <a:gd name="T46" fmla="*/ 44 w 1910"/>
                  <a:gd name="T47" fmla="*/ 828 h 985"/>
                  <a:gd name="T48" fmla="*/ 2 w 1910"/>
                  <a:gd name="T49" fmla="*/ 803 h 985"/>
                  <a:gd name="T50" fmla="*/ 0 w 1910"/>
                  <a:gd name="T51" fmla="*/ 798 h 985"/>
                  <a:gd name="T52" fmla="*/ 36 w 1910"/>
                  <a:gd name="T53" fmla="*/ 27 h 985"/>
                  <a:gd name="T54" fmla="*/ 121 w 1910"/>
                  <a:gd name="T55" fmla="*/ 71 h 985"/>
                  <a:gd name="T56" fmla="*/ 220 w 1910"/>
                  <a:gd name="T57" fmla="*/ 107 h 985"/>
                  <a:gd name="T58" fmla="*/ 328 w 1910"/>
                  <a:gd name="T59" fmla="*/ 134 h 985"/>
                  <a:gd name="T60" fmla="*/ 441 w 1910"/>
                  <a:gd name="T61" fmla="*/ 153 h 985"/>
                  <a:gd name="T62" fmla="*/ 555 w 1910"/>
                  <a:gd name="T63" fmla="*/ 168 h 985"/>
                  <a:gd name="T64" fmla="*/ 665 w 1910"/>
                  <a:gd name="T65" fmla="*/ 177 h 985"/>
                  <a:gd name="T66" fmla="*/ 767 w 1910"/>
                  <a:gd name="T67" fmla="*/ 183 h 985"/>
                  <a:gd name="T68" fmla="*/ 855 w 1910"/>
                  <a:gd name="T69" fmla="*/ 186 h 985"/>
                  <a:gd name="T70" fmla="*/ 926 w 1910"/>
                  <a:gd name="T71" fmla="*/ 187 h 985"/>
                  <a:gd name="T72" fmla="*/ 981 w 1910"/>
                  <a:gd name="T73" fmla="*/ 188 h 985"/>
                  <a:gd name="T74" fmla="*/ 1052 w 1910"/>
                  <a:gd name="T75" fmla="*/ 188 h 985"/>
                  <a:gd name="T76" fmla="*/ 1141 w 1910"/>
                  <a:gd name="T77" fmla="*/ 185 h 985"/>
                  <a:gd name="T78" fmla="*/ 1242 w 1910"/>
                  <a:gd name="T79" fmla="*/ 179 h 985"/>
                  <a:gd name="T80" fmla="*/ 1352 w 1910"/>
                  <a:gd name="T81" fmla="*/ 170 h 985"/>
                  <a:gd name="T82" fmla="*/ 1466 w 1910"/>
                  <a:gd name="T83" fmla="*/ 154 h 985"/>
                  <a:gd name="T84" fmla="*/ 1578 w 1910"/>
                  <a:gd name="T85" fmla="*/ 134 h 985"/>
                  <a:gd name="T86" fmla="*/ 1687 w 1910"/>
                  <a:gd name="T87" fmla="*/ 107 h 985"/>
                  <a:gd name="T88" fmla="*/ 1786 w 1910"/>
                  <a:gd name="T89" fmla="*/ 70 h 985"/>
                  <a:gd name="T90" fmla="*/ 1871 w 1910"/>
                  <a:gd name="T91" fmla="*/ 26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10" h="985">
                    <a:moveTo>
                      <a:pt x="1908" y="0"/>
                    </a:moveTo>
                    <a:lnTo>
                      <a:pt x="1910" y="795"/>
                    </a:lnTo>
                    <a:lnTo>
                      <a:pt x="1909" y="795"/>
                    </a:lnTo>
                    <a:lnTo>
                      <a:pt x="1908" y="796"/>
                    </a:lnTo>
                    <a:lnTo>
                      <a:pt x="1906" y="797"/>
                    </a:lnTo>
                    <a:lnTo>
                      <a:pt x="1904" y="799"/>
                    </a:lnTo>
                    <a:lnTo>
                      <a:pt x="1903" y="800"/>
                    </a:lnTo>
                    <a:lnTo>
                      <a:pt x="1901" y="802"/>
                    </a:lnTo>
                    <a:lnTo>
                      <a:pt x="1900" y="803"/>
                    </a:lnTo>
                    <a:lnTo>
                      <a:pt x="1899" y="803"/>
                    </a:lnTo>
                    <a:lnTo>
                      <a:pt x="1861" y="829"/>
                    </a:lnTo>
                    <a:lnTo>
                      <a:pt x="1817" y="853"/>
                    </a:lnTo>
                    <a:lnTo>
                      <a:pt x="1769" y="875"/>
                    </a:lnTo>
                    <a:lnTo>
                      <a:pt x="1718" y="894"/>
                    </a:lnTo>
                    <a:lnTo>
                      <a:pt x="1664" y="911"/>
                    </a:lnTo>
                    <a:lnTo>
                      <a:pt x="1607" y="925"/>
                    </a:lnTo>
                    <a:lnTo>
                      <a:pt x="1550" y="938"/>
                    </a:lnTo>
                    <a:lnTo>
                      <a:pt x="1490" y="948"/>
                    </a:lnTo>
                    <a:lnTo>
                      <a:pt x="1431" y="957"/>
                    </a:lnTo>
                    <a:lnTo>
                      <a:pt x="1372" y="965"/>
                    </a:lnTo>
                    <a:lnTo>
                      <a:pt x="1314" y="971"/>
                    </a:lnTo>
                    <a:lnTo>
                      <a:pt x="1257" y="975"/>
                    </a:lnTo>
                    <a:lnTo>
                      <a:pt x="1202" y="979"/>
                    </a:lnTo>
                    <a:lnTo>
                      <a:pt x="1151" y="982"/>
                    </a:lnTo>
                    <a:lnTo>
                      <a:pt x="1102" y="983"/>
                    </a:lnTo>
                    <a:lnTo>
                      <a:pt x="1057" y="984"/>
                    </a:lnTo>
                    <a:lnTo>
                      <a:pt x="1017" y="985"/>
                    </a:lnTo>
                    <a:lnTo>
                      <a:pt x="982" y="985"/>
                    </a:lnTo>
                    <a:lnTo>
                      <a:pt x="953" y="984"/>
                    </a:lnTo>
                    <a:lnTo>
                      <a:pt x="927" y="984"/>
                    </a:lnTo>
                    <a:lnTo>
                      <a:pt x="894" y="983"/>
                    </a:lnTo>
                    <a:lnTo>
                      <a:pt x="856" y="983"/>
                    </a:lnTo>
                    <a:lnTo>
                      <a:pt x="815" y="982"/>
                    </a:lnTo>
                    <a:lnTo>
                      <a:pt x="769" y="980"/>
                    </a:lnTo>
                    <a:lnTo>
                      <a:pt x="720" y="978"/>
                    </a:lnTo>
                    <a:lnTo>
                      <a:pt x="669" y="975"/>
                    </a:lnTo>
                    <a:lnTo>
                      <a:pt x="616" y="971"/>
                    </a:lnTo>
                    <a:lnTo>
                      <a:pt x="560" y="966"/>
                    </a:lnTo>
                    <a:lnTo>
                      <a:pt x="505" y="959"/>
                    </a:lnTo>
                    <a:lnTo>
                      <a:pt x="449" y="952"/>
                    </a:lnTo>
                    <a:lnTo>
                      <a:pt x="392" y="943"/>
                    </a:lnTo>
                    <a:lnTo>
                      <a:pt x="337" y="932"/>
                    </a:lnTo>
                    <a:lnTo>
                      <a:pt x="281" y="920"/>
                    </a:lnTo>
                    <a:lnTo>
                      <a:pt x="229" y="906"/>
                    </a:lnTo>
                    <a:lnTo>
                      <a:pt x="178" y="890"/>
                    </a:lnTo>
                    <a:lnTo>
                      <a:pt x="129" y="872"/>
                    </a:lnTo>
                    <a:lnTo>
                      <a:pt x="85" y="851"/>
                    </a:lnTo>
                    <a:lnTo>
                      <a:pt x="44" y="828"/>
                    </a:lnTo>
                    <a:lnTo>
                      <a:pt x="7" y="803"/>
                    </a:lnTo>
                    <a:lnTo>
                      <a:pt x="2" y="803"/>
                    </a:lnTo>
                    <a:lnTo>
                      <a:pt x="1" y="39"/>
                    </a:lnTo>
                    <a:lnTo>
                      <a:pt x="0" y="798"/>
                    </a:lnTo>
                    <a:lnTo>
                      <a:pt x="0" y="1"/>
                    </a:lnTo>
                    <a:lnTo>
                      <a:pt x="36" y="27"/>
                    </a:lnTo>
                    <a:lnTo>
                      <a:pt x="77" y="50"/>
                    </a:lnTo>
                    <a:lnTo>
                      <a:pt x="121" y="71"/>
                    </a:lnTo>
                    <a:lnTo>
                      <a:pt x="169" y="90"/>
                    </a:lnTo>
                    <a:lnTo>
                      <a:pt x="220" y="107"/>
                    </a:lnTo>
                    <a:lnTo>
                      <a:pt x="273" y="121"/>
                    </a:lnTo>
                    <a:lnTo>
                      <a:pt x="328" y="134"/>
                    </a:lnTo>
                    <a:lnTo>
                      <a:pt x="385" y="144"/>
                    </a:lnTo>
                    <a:lnTo>
                      <a:pt x="441" y="153"/>
                    </a:lnTo>
                    <a:lnTo>
                      <a:pt x="499" y="162"/>
                    </a:lnTo>
                    <a:lnTo>
                      <a:pt x="555" y="168"/>
                    </a:lnTo>
                    <a:lnTo>
                      <a:pt x="611" y="173"/>
                    </a:lnTo>
                    <a:lnTo>
                      <a:pt x="665" y="177"/>
                    </a:lnTo>
                    <a:lnTo>
                      <a:pt x="717" y="180"/>
                    </a:lnTo>
                    <a:lnTo>
                      <a:pt x="767" y="183"/>
                    </a:lnTo>
                    <a:lnTo>
                      <a:pt x="813" y="185"/>
                    </a:lnTo>
                    <a:lnTo>
                      <a:pt x="855" y="186"/>
                    </a:lnTo>
                    <a:lnTo>
                      <a:pt x="893" y="187"/>
                    </a:lnTo>
                    <a:lnTo>
                      <a:pt x="926" y="187"/>
                    </a:lnTo>
                    <a:lnTo>
                      <a:pt x="953" y="188"/>
                    </a:lnTo>
                    <a:lnTo>
                      <a:pt x="981" y="188"/>
                    </a:lnTo>
                    <a:lnTo>
                      <a:pt x="1014" y="188"/>
                    </a:lnTo>
                    <a:lnTo>
                      <a:pt x="1052" y="188"/>
                    </a:lnTo>
                    <a:lnTo>
                      <a:pt x="1095" y="187"/>
                    </a:lnTo>
                    <a:lnTo>
                      <a:pt x="1141" y="185"/>
                    </a:lnTo>
                    <a:lnTo>
                      <a:pt x="1191" y="183"/>
                    </a:lnTo>
                    <a:lnTo>
                      <a:pt x="1242" y="179"/>
                    </a:lnTo>
                    <a:lnTo>
                      <a:pt x="1296" y="175"/>
                    </a:lnTo>
                    <a:lnTo>
                      <a:pt x="1352" y="170"/>
                    </a:lnTo>
                    <a:lnTo>
                      <a:pt x="1408" y="163"/>
                    </a:lnTo>
                    <a:lnTo>
                      <a:pt x="1466" y="154"/>
                    </a:lnTo>
                    <a:lnTo>
                      <a:pt x="1523" y="145"/>
                    </a:lnTo>
                    <a:lnTo>
                      <a:pt x="1578" y="134"/>
                    </a:lnTo>
                    <a:lnTo>
                      <a:pt x="1634" y="121"/>
                    </a:lnTo>
                    <a:lnTo>
                      <a:pt x="1687" y="107"/>
                    </a:lnTo>
                    <a:lnTo>
                      <a:pt x="1739" y="89"/>
                    </a:lnTo>
                    <a:lnTo>
                      <a:pt x="1786" y="70"/>
                    </a:lnTo>
                    <a:lnTo>
                      <a:pt x="1831" y="49"/>
                    </a:lnTo>
                    <a:lnTo>
                      <a:pt x="1871" y="26"/>
                    </a:lnTo>
                    <a:lnTo>
                      <a:pt x="19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38" name="Freeform 48"/>
              <p:cNvSpPr>
                <a:spLocks/>
              </p:cNvSpPr>
              <p:nvPr/>
            </p:nvSpPr>
            <p:spPr bwMode="auto">
              <a:xfrm>
                <a:off x="2641600" y="4146550"/>
                <a:ext cx="351192" cy="121053"/>
              </a:xfrm>
              <a:custGeom>
                <a:avLst/>
                <a:gdLst>
                  <a:gd name="T0" fmla="*/ 1910 w 1910"/>
                  <a:gd name="T1" fmla="*/ 795 h 986"/>
                  <a:gd name="T2" fmla="*/ 1908 w 1910"/>
                  <a:gd name="T3" fmla="*/ 796 h 986"/>
                  <a:gd name="T4" fmla="*/ 1904 w 1910"/>
                  <a:gd name="T5" fmla="*/ 799 h 986"/>
                  <a:gd name="T6" fmla="*/ 1901 w 1910"/>
                  <a:gd name="T7" fmla="*/ 803 h 986"/>
                  <a:gd name="T8" fmla="*/ 1899 w 1910"/>
                  <a:gd name="T9" fmla="*/ 805 h 986"/>
                  <a:gd name="T10" fmla="*/ 1817 w 1910"/>
                  <a:gd name="T11" fmla="*/ 855 h 986"/>
                  <a:gd name="T12" fmla="*/ 1718 w 1910"/>
                  <a:gd name="T13" fmla="*/ 894 h 986"/>
                  <a:gd name="T14" fmla="*/ 1607 w 1910"/>
                  <a:gd name="T15" fmla="*/ 925 h 986"/>
                  <a:gd name="T16" fmla="*/ 1490 w 1910"/>
                  <a:gd name="T17" fmla="*/ 949 h 986"/>
                  <a:gd name="T18" fmla="*/ 1372 w 1910"/>
                  <a:gd name="T19" fmla="*/ 965 h 986"/>
                  <a:gd name="T20" fmla="*/ 1257 w 1910"/>
                  <a:gd name="T21" fmla="*/ 976 h 986"/>
                  <a:gd name="T22" fmla="*/ 1151 w 1910"/>
                  <a:gd name="T23" fmla="*/ 983 h 986"/>
                  <a:gd name="T24" fmla="*/ 1057 w 1910"/>
                  <a:gd name="T25" fmla="*/ 985 h 986"/>
                  <a:gd name="T26" fmla="*/ 982 w 1910"/>
                  <a:gd name="T27" fmla="*/ 986 h 986"/>
                  <a:gd name="T28" fmla="*/ 927 w 1910"/>
                  <a:gd name="T29" fmla="*/ 985 h 986"/>
                  <a:gd name="T30" fmla="*/ 856 w 1910"/>
                  <a:gd name="T31" fmla="*/ 984 h 986"/>
                  <a:gd name="T32" fmla="*/ 769 w 1910"/>
                  <a:gd name="T33" fmla="*/ 980 h 986"/>
                  <a:gd name="T34" fmla="*/ 669 w 1910"/>
                  <a:gd name="T35" fmla="*/ 975 h 986"/>
                  <a:gd name="T36" fmla="*/ 560 w 1910"/>
                  <a:gd name="T37" fmla="*/ 966 h 986"/>
                  <a:gd name="T38" fmla="*/ 449 w 1910"/>
                  <a:gd name="T39" fmla="*/ 952 h 986"/>
                  <a:gd name="T40" fmla="*/ 337 w 1910"/>
                  <a:gd name="T41" fmla="*/ 933 h 986"/>
                  <a:gd name="T42" fmla="*/ 229 w 1910"/>
                  <a:gd name="T43" fmla="*/ 907 h 986"/>
                  <a:gd name="T44" fmla="*/ 129 w 1910"/>
                  <a:gd name="T45" fmla="*/ 872 h 986"/>
                  <a:gd name="T46" fmla="*/ 44 w 1910"/>
                  <a:gd name="T47" fmla="*/ 830 h 986"/>
                  <a:gd name="T48" fmla="*/ 2 w 1910"/>
                  <a:gd name="T49" fmla="*/ 805 h 986"/>
                  <a:gd name="T50" fmla="*/ 0 w 1910"/>
                  <a:gd name="T51" fmla="*/ 798 h 986"/>
                  <a:gd name="T52" fmla="*/ 36 w 1910"/>
                  <a:gd name="T53" fmla="*/ 27 h 986"/>
                  <a:gd name="T54" fmla="*/ 121 w 1910"/>
                  <a:gd name="T55" fmla="*/ 71 h 986"/>
                  <a:gd name="T56" fmla="*/ 220 w 1910"/>
                  <a:gd name="T57" fmla="*/ 107 h 986"/>
                  <a:gd name="T58" fmla="*/ 328 w 1910"/>
                  <a:gd name="T59" fmla="*/ 134 h 986"/>
                  <a:gd name="T60" fmla="*/ 441 w 1910"/>
                  <a:gd name="T61" fmla="*/ 154 h 986"/>
                  <a:gd name="T62" fmla="*/ 555 w 1910"/>
                  <a:gd name="T63" fmla="*/ 168 h 986"/>
                  <a:gd name="T64" fmla="*/ 665 w 1910"/>
                  <a:gd name="T65" fmla="*/ 178 h 986"/>
                  <a:gd name="T66" fmla="*/ 767 w 1910"/>
                  <a:gd name="T67" fmla="*/ 183 h 986"/>
                  <a:gd name="T68" fmla="*/ 855 w 1910"/>
                  <a:gd name="T69" fmla="*/ 186 h 986"/>
                  <a:gd name="T70" fmla="*/ 926 w 1910"/>
                  <a:gd name="T71" fmla="*/ 188 h 986"/>
                  <a:gd name="T72" fmla="*/ 981 w 1910"/>
                  <a:gd name="T73" fmla="*/ 188 h 986"/>
                  <a:gd name="T74" fmla="*/ 1052 w 1910"/>
                  <a:gd name="T75" fmla="*/ 188 h 986"/>
                  <a:gd name="T76" fmla="*/ 1141 w 1910"/>
                  <a:gd name="T77" fmla="*/ 185 h 986"/>
                  <a:gd name="T78" fmla="*/ 1242 w 1910"/>
                  <a:gd name="T79" fmla="*/ 180 h 986"/>
                  <a:gd name="T80" fmla="*/ 1352 w 1910"/>
                  <a:gd name="T81" fmla="*/ 170 h 986"/>
                  <a:gd name="T82" fmla="*/ 1466 w 1910"/>
                  <a:gd name="T83" fmla="*/ 156 h 986"/>
                  <a:gd name="T84" fmla="*/ 1578 w 1910"/>
                  <a:gd name="T85" fmla="*/ 135 h 986"/>
                  <a:gd name="T86" fmla="*/ 1687 w 1910"/>
                  <a:gd name="T87" fmla="*/ 107 h 986"/>
                  <a:gd name="T88" fmla="*/ 1786 w 1910"/>
                  <a:gd name="T89" fmla="*/ 70 h 986"/>
                  <a:gd name="T90" fmla="*/ 1871 w 1910"/>
                  <a:gd name="T91" fmla="*/ 2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10" h="986">
                    <a:moveTo>
                      <a:pt x="1908" y="0"/>
                    </a:moveTo>
                    <a:lnTo>
                      <a:pt x="1910" y="795"/>
                    </a:lnTo>
                    <a:lnTo>
                      <a:pt x="1909" y="795"/>
                    </a:lnTo>
                    <a:lnTo>
                      <a:pt x="1908" y="796"/>
                    </a:lnTo>
                    <a:lnTo>
                      <a:pt x="1906" y="798"/>
                    </a:lnTo>
                    <a:lnTo>
                      <a:pt x="1904" y="799"/>
                    </a:lnTo>
                    <a:lnTo>
                      <a:pt x="1903" y="802"/>
                    </a:lnTo>
                    <a:lnTo>
                      <a:pt x="1901" y="803"/>
                    </a:lnTo>
                    <a:lnTo>
                      <a:pt x="1900" y="804"/>
                    </a:lnTo>
                    <a:lnTo>
                      <a:pt x="1899" y="805"/>
                    </a:lnTo>
                    <a:lnTo>
                      <a:pt x="1861" y="831"/>
                    </a:lnTo>
                    <a:lnTo>
                      <a:pt x="1817" y="855"/>
                    </a:lnTo>
                    <a:lnTo>
                      <a:pt x="1769" y="875"/>
                    </a:lnTo>
                    <a:lnTo>
                      <a:pt x="1718" y="894"/>
                    </a:lnTo>
                    <a:lnTo>
                      <a:pt x="1664" y="911"/>
                    </a:lnTo>
                    <a:lnTo>
                      <a:pt x="1607" y="925"/>
                    </a:lnTo>
                    <a:lnTo>
                      <a:pt x="1550" y="938"/>
                    </a:lnTo>
                    <a:lnTo>
                      <a:pt x="1490" y="949"/>
                    </a:lnTo>
                    <a:lnTo>
                      <a:pt x="1431" y="958"/>
                    </a:lnTo>
                    <a:lnTo>
                      <a:pt x="1372" y="965"/>
                    </a:lnTo>
                    <a:lnTo>
                      <a:pt x="1314" y="971"/>
                    </a:lnTo>
                    <a:lnTo>
                      <a:pt x="1257" y="976"/>
                    </a:lnTo>
                    <a:lnTo>
                      <a:pt x="1202" y="979"/>
                    </a:lnTo>
                    <a:lnTo>
                      <a:pt x="1151" y="983"/>
                    </a:lnTo>
                    <a:lnTo>
                      <a:pt x="1102" y="984"/>
                    </a:lnTo>
                    <a:lnTo>
                      <a:pt x="1057" y="985"/>
                    </a:lnTo>
                    <a:lnTo>
                      <a:pt x="1017" y="986"/>
                    </a:lnTo>
                    <a:lnTo>
                      <a:pt x="982" y="986"/>
                    </a:lnTo>
                    <a:lnTo>
                      <a:pt x="953" y="985"/>
                    </a:lnTo>
                    <a:lnTo>
                      <a:pt x="927" y="985"/>
                    </a:lnTo>
                    <a:lnTo>
                      <a:pt x="894" y="985"/>
                    </a:lnTo>
                    <a:lnTo>
                      <a:pt x="856" y="984"/>
                    </a:lnTo>
                    <a:lnTo>
                      <a:pt x="815" y="983"/>
                    </a:lnTo>
                    <a:lnTo>
                      <a:pt x="769" y="980"/>
                    </a:lnTo>
                    <a:lnTo>
                      <a:pt x="720" y="978"/>
                    </a:lnTo>
                    <a:lnTo>
                      <a:pt x="669" y="975"/>
                    </a:lnTo>
                    <a:lnTo>
                      <a:pt x="616" y="971"/>
                    </a:lnTo>
                    <a:lnTo>
                      <a:pt x="560" y="966"/>
                    </a:lnTo>
                    <a:lnTo>
                      <a:pt x="505" y="960"/>
                    </a:lnTo>
                    <a:lnTo>
                      <a:pt x="449" y="952"/>
                    </a:lnTo>
                    <a:lnTo>
                      <a:pt x="392" y="943"/>
                    </a:lnTo>
                    <a:lnTo>
                      <a:pt x="337" y="933"/>
                    </a:lnTo>
                    <a:lnTo>
                      <a:pt x="281" y="920"/>
                    </a:lnTo>
                    <a:lnTo>
                      <a:pt x="229" y="907"/>
                    </a:lnTo>
                    <a:lnTo>
                      <a:pt x="178" y="891"/>
                    </a:lnTo>
                    <a:lnTo>
                      <a:pt x="129" y="872"/>
                    </a:lnTo>
                    <a:lnTo>
                      <a:pt x="85" y="853"/>
                    </a:lnTo>
                    <a:lnTo>
                      <a:pt x="44" y="830"/>
                    </a:lnTo>
                    <a:lnTo>
                      <a:pt x="7" y="805"/>
                    </a:lnTo>
                    <a:lnTo>
                      <a:pt x="2" y="805"/>
                    </a:lnTo>
                    <a:lnTo>
                      <a:pt x="1" y="39"/>
                    </a:lnTo>
                    <a:lnTo>
                      <a:pt x="0" y="798"/>
                    </a:lnTo>
                    <a:lnTo>
                      <a:pt x="0" y="1"/>
                    </a:lnTo>
                    <a:lnTo>
                      <a:pt x="36" y="27"/>
                    </a:lnTo>
                    <a:lnTo>
                      <a:pt x="77" y="51"/>
                    </a:lnTo>
                    <a:lnTo>
                      <a:pt x="121" y="71"/>
                    </a:lnTo>
                    <a:lnTo>
                      <a:pt x="169" y="90"/>
                    </a:lnTo>
                    <a:lnTo>
                      <a:pt x="220" y="107"/>
                    </a:lnTo>
                    <a:lnTo>
                      <a:pt x="273" y="121"/>
                    </a:lnTo>
                    <a:lnTo>
                      <a:pt x="328" y="134"/>
                    </a:lnTo>
                    <a:lnTo>
                      <a:pt x="385" y="144"/>
                    </a:lnTo>
                    <a:lnTo>
                      <a:pt x="441" y="154"/>
                    </a:lnTo>
                    <a:lnTo>
                      <a:pt x="499" y="162"/>
                    </a:lnTo>
                    <a:lnTo>
                      <a:pt x="555" y="168"/>
                    </a:lnTo>
                    <a:lnTo>
                      <a:pt x="611" y="173"/>
                    </a:lnTo>
                    <a:lnTo>
                      <a:pt x="665" y="178"/>
                    </a:lnTo>
                    <a:lnTo>
                      <a:pt x="717" y="181"/>
                    </a:lnTo>
                    <a:lnTo>
                      <a:pt x="767" y="183"/>
                    </a:lnTo>
                    <a:lnTo>
                      <a:pt x="813" y="185"/>
                    </a:lnTo>
                    <a:lnTo>
                      <a:pt x="855" y="186"/>
                    </a:lnTo>
                    <a:lnTo>
                      <a:pt x="893" y="187"/>
                    </a:lnTo>
                    <a:lnTo>
                      <a:pt x="926" y="188"/>
                    </a:lnTo>
                    <a:lnTo>
                      <a:pt x="953" y="188"/>
                    </a:lnTo>
                    <a:lnTo>
                      <a:pt x="981" y="188"/>
                    </a:lnTo>
                    <a:lnTo>
                      <a:pt x="1014" y="188"/>
                    </a:lnTo>
                    <a:lnTo>
                      <a:pt x="1052" y="188"/>
                    </a:lnTo>
                    <a:lnTo>
                      <a:pt x="1095" y="187"/>
                    </a:lnTo>
                    <a:lnTo>
                      <a:pt x="1141" y="185"/>
                    </a:lnTo>
                    <a:lnTo>
                      <a:pt x="1191" y="183"/>
                    </a:lnTo>
                    <a:lnTo>
                      <a:pt x="1242" y="180"/>
                    </a:lnTo>
                    <a:lnTo>
                      <a:pt x="1296" y="175"/>
                    </a:lnTo>
                    <a:lnTo>
                      <a:pt x="1352" y="170"/>
                    </a:lnTo>
                    <a:lnTo>
                      <a:pt x="1408" y="163"/>
                    </a:lnTo>
                    <a:lnTo>
                      <a:pt x="1466" y="156"/>
                    </a:lnTo>
                    <a:lnTo>
                      <a:pt x="1523" y="145"/>
                    </a:lnTo>
                    <a:lnTo>
                      <a:pt x="1578" y="135"/>
                    </a:lnTo>
                    <a:lnTo>
                      <a:pt x="1634" y="121"/>
                    </a:lnTo>
                    <a:lnTo>
                      <a:pt x="1687" y="107"/>
                    </a:lnTo>
                    <a:lnTo>
                      <a:pt x="1739" y="90"/>
                    </a:lnTo>
                    <a:lnTo>
                      <a:pt x="1786" y="70"/>
                    </a:lnTo>
                    <a:lnTo>
                      <a:pt x="1831" y="50"/>
                    </a:lnTo>
                    <a:lnTo>
                      <a:pt x="1871" y="26"/>
                    </a:lnTo>
                    <a:lnTo>
                      <a:pt x="19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39" name="Freeform 49"/>
              <p:cNvSpPr>
                <a:spLocks/>
              </p:cNvSpPr>
              <p:nvPr/>
            </p:nvSpPr>
            <p:spPr bwMode="auto">
              <a:xfrm>
                <a:off x="2641600" y="4256087"/>
                <a:ext cx="351192" cy="121053"/>
              </a:xfrm>
              <a:custGeom>
                <a:avLst/>
                <a:gdLst>
                  <a:gd name="T0" fmla="*/ 1910 w 1910"/>
                  <a:gd name="T1" fmla="*/ 796 h 986"/>
                  <a:gd name="T2" fmla="*/ 1908 w 1910"/>
                  <a:gd name="T3" fmla="*/ 797 h 986"/>
                  <a:gd name="T4" fmla="*/ 1904 w 1910"/>
                  <a:gd name="T5" fmla="*/ 800 h 986"/>
                  <a:gd name="T6" fmla="*/ 1901 w 1910"/>
                  <a:gd name="T7" fmla="*/ 803 h 986"/>
                  <a:gd name="T8" fmla="*/ 1899 w 1910"/>
                  <a:gd name="T9" fmla="*/ 805 h 986"/>
                  <a:gd name="T10" fmla="*/ 1817 w 1910"/>
                  <a:gd name="T11" fmla="*/ 855 h 986"/>
                  <a:gd name="T12" fmla="*/ 1718 w 1910"/>
                  <a:gd name="T13" fmla="*/ 894 h 986"/>
                  <a:gd name="T14" fmla="*/ 1607 w 1910"/>
                  <a:gd name="T15" fmla="*/ 926 h 986"/>
                  <a:gd name="T16" fmla="*/ 1490 w 1910"/>
                  <a:gd name="T17" fmla="*/ 950 h 986"/>
                  <a:gd name="T18" fmla="*/ 1372 w 1910"/>
                  <a:gd name="T19" fmla="*/ 965 h 986"/>
                  <a:gd name="T20" fmla="*/ 1257 w 1910"/>
                  <a:gd name="T21" fmla="*/ 977 h 986"/>
                  <a:gd name="T22" fmla="*/ 1151 w 1910"/>
                  <a:gd name="T23" fmla="*/ 983 h 986"/>
                  <a:gd name="T24" fmla="*/ 1057 w 1910"/>
                  <a:gd name="T25" fmla="*/ 986 h 986"/>
                  <a:gd name="T26" fmla="*/ 982 w 1910"/>
                  <a:gd name="T27" fmla="*/ 986 h 986"/>
                  <a:gd name="T28" fmla="*/ 927 w 1910"/>
                  <a:gd name="T29" fmla="*/ 985 h 986"/>
                  <a:gd name="T30" fmla="*/ 856 w 1910"/>
                  <a:gd name="T31" fmla="*/ 984 h 986"/>
                  <a:gd name="T32" fmla="*/ 769 w 1910"/>
                  <a:gd name="T33" fmla="*/ 981 h 986"/>
                  <a:gd name="T34" fmla="*/ 669 w 1910"/>
                  <a:gd name="T35" fmla="*/ 976 h 986"/>
                  <a:gd name="T36" fmla="*/ 560 w 1910"/>
                  <a:gd name="T37" fmla="*/ 966 h 986"/>
                  <a:gd name="T38" fmla="*/ 449 w 1910"/>
                  <a:gd name="T39" fmla="*/ 953 h 986"/>
                  <a:gd name="T40" fmla="*/ 337 w 1910"/>
                  <a:gd name="T41" fmla="*/ 933 h 986"/>
                  <a:gd name="T42" fmla="*/ 229 w 1910"/>
                  <a:gd name="T43" fmla="*/ 907 h 986"/>
                  <a:gd name="T44" fmla="*/ 129 w 1910"/>
                  <a:gd name="T45" fmla="*/ 873 h 986"/>
                  <a:gd name="T46" fmla="*/ 44 w 1910"/>
                  <a:gd name="T47" fmla="*/ 830 h 986"/>
                  <a:gd name="T48" fmla="*/ 2 w 1910"/>
                  <a:gd name="T49" fmla="*/ 805 h 986"/>
                  <a:gd name="T50" fmla="*/ 0 w 1910"/>
                  <a:gd name="T51" fmla="*/ 799 h 986"/>
                  <a:gd name="T52" fmla="*/ 36 w 1910"/>
                  <a:gd name="T53" fmla="*/ 27 h 986"/>
                  <a:gd name="T54" fmla="*/ 121 w 1910"/>
                  <a:gd name="T55" fmla="*/ 72 h 986"/>
                  <a:gd name="T56" fmla="*/ 220 w 1910"/>
                  <a:gd name="T57" fmla="*/ 107 h 986"/>
                  <a:gd name="T58" fmla="*/ 328 w 1910"/>
                  <a:gd name="T59" fmla="*/ 134 h 986"/>
                  <a:gd name="T60" fmla="*/ 441 w 1910"/>
                  <a:gd name="T61" fmla="*/ 154 h 986"/>
                  <a:gd name="T62" fmla="*/ 555 w 1910"/>
                  <a:gd name="T63" fmla="*/ 169 h 986"/>
                  <a:gd name="T64" fmla="*/ 665 w 1910"/>
                  <a:gd name="T65" fmla="*/ 178 h 986"/>
                  <a:gd name="T66" fmla="*/ 767 w 1910"/>
                  <a:gd name="T67" fmla="*/ 184 h 986"/>
                  <a:gd name="T68" fmla="*/ 855 w 1910"/>
                  <a:gd name="T69" fmla="*/ 186 h 986"/>
                  <a:gd name="T70" fmla="*/ 926 w 1910"/>
                  <a:gd name="T71" fmla="*/ 188 h 986"/>
                  <a:gd name="T72" fmla="*/ 981 w 1910"/>
                  <a:gd name="T73" fmla="*/ 188 h 986"/>
                  <a:gd name="T74" fmla="*/ 1052 w 1910"/>
                  <a:gd name="T75" fmla="*/ 188 h 986"/>
                  <a:gd name="T76" fmla="*/ 1141 w 1910"/>
                  <a:gd name="T77" fmla="*/ 186 h 986"/>
                  <a:gd name="T78" fmla="*/ 1242 w 1910"/>
                  <a:gd name="T79" fmla="*/ 180 h 986"/>
                  <a:gd name="T80" fmla="*/ 1352 w 1910"/>
                  <a:gd name="T81" fmla="*/ 171 h 986"/>
                  <a:gd name="T82" fmla="*/ 1466 w 1910"/>
                  <a:gd name="T83" fmla="*/ 156 h 986"/>
                  <a:gd name="T84" fmla="*/ 1578 w 1910"/>
                  <a:gd name="T85" fmla="*/ 135 h 986"/>
                  <a:gd name="T86" fmla="*/ 1687 w 1910"/>
                  <a:gd name="T87" fmla="*/ 107 h 986"/>
                  <a:gd name="T88" fmla="*/ 1786 w 1910"/>
                  <a:gd name="T89" fmla="*/ 72 h 986"/>
                  <a:gd name="T90" fmla="*/ 1871 w 1910"/>
                  <a:gd name="T91" fmla="*/ 27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10" h="986">
                    <a:moveTo>
                      <a:pt x="1908" y="0"/>
                    </a:moveTo>
                    <a:lnTo>
                      <a:pt x="1910" y="796"/>
                    </a:lnTo>
                    <a:lnTo>
                      <a:pt x="1909" y="796"/>
                    </a:lnTo>
                    <a:lnTo>
                      <a:pt x="1908" y="797"/>
                    </a:lnTo>
                    <a:lnTo>
                      <a:pt x="1906" y="799"/>
                    </a:lnTo>
                    <a:lnTo>
                      <a:pt x="1904" y="800"/>
                    </a:lnTo>
                    <a:lnTo>
                      <a:pt x="1903" y="802"/>
                    </a:lnTo>
                    <a:lnTo>
                      <a:pt x="1901" y="803"/>
                    </a:lnTo>
                    <a:lnTo>
                      <a:pt x="1900" y="804"/>
                    </a:lnTo>
                    <a:lnTo>
                      <a:pt x="1899" y="805"/>
                    </a:lnTo>
                    <a:lnTo>
                      <a:pt x="1861" y="831"/>
                    </a:lnTo>
                    <a:lnTo>
                      <a:pt x="1817" y="855"/>
                    </a:lnTo>
                    <a:lnTo>
                      <a:pt x="1769" y="876"/>
                    </a:lnTo>
                    <a:lnTo>
                      <a:pt x="1718" y="894"/>
                    </a:lnTo>
                    <a:lnTo>
                      <a:pt x="1664" y="911"/>
                    </a:lnTo>
                    <a:lnTo>
                      <a:pt x="1607" y="926"/>
                    </a:lnTo>
                    <a:lnTo>
                      <a:pt x="1550" y="938"/>
                    </a:lnTo>
                    <a:lnTo>
                      <a:pt x="1490" y="950"/>
                    </a:lnTo>
                    <a:lnTo>
                      <a:pt x="1431" y="958"/>
                    </a:lnTo>
                    <a:lnTo>
                      <a:pt x="1372" y="965"/>
                    </a:lnTo>
                    <a:lnTo>
                      <a:pt x="1314" y="971"/>
                    </a:lnTo>
                    <a:lnTo>
                      <a:pt x="1257" y="977"/>
                    </a:lnTo>
                    <a:lnTo>
                      <a:pt x="1202" y="980"/>
                    </a:lnTo>
                    <a:lnTo>
                      <a:pt x="1151" y="983"/>
                    </a:lnTo>
                    <a:lnTo>
                      <a:pt x="1102" y="985"/>
                    </a:lnTo>
                    <a:lnTo>
                      <a:pt x="1057" y="986"/>
                    </a:lnTo>
                    <a:lnTo>
                      <a:pt x="1017" y="986"/>
                    </a:lnTo>
                    <a:lnTo>
                      <a:pt x="982" y="986"/>
                    </a:lnTo>
                    <a:lnTo>
                      <a:pt x="953" y="986"/>
                    </a:lnTo>
                    <a:lnTo>
                      <a:pt x="927" y="985"/>
                    </a:lnTo>
                    <a:lnTo>
                      <a:pt x="894" y="985"/>
                    </a:lnTo>
                    <a:lnTo>
                      <a:pt x="856" y="984"/>
                    </a:lnTo>
                    <a:lnTo>
                      <a:pt x="815" y="983"/>
                    </a:lnTo>
                    <a:lnTo>
                      <a:pt x="769" y="981"/>
                    </a:lnTo>
                    <a:lnTo>
                      <a:pt x="720" y="979"/>
                    </a:lnTo>
                    <a:lnTo>
                      <a:pt x="669" y="976"/>
                    </a:lnTo>
                    <a:lnTo>
                      <a:pt x="616" y="971"/>
                    </a:lnTo>
                    <a:lnTo>
                      <a:pt x="560" y="966"/>
                    </a:lnTo>
                    <a:lnTo>
                      <a:pt x="505" y="960"/>
                    </a:lnTo>
                    <a:lnTo>
                      <a:pt x="449" y="953"/>
                    </a:lnTo>
                    <a:lnTo>
                      <a:pt x="392" y="943"/>
                    </a:lnTo>
                    <a:lnTo>
                      <a:pt x="337" y="933"/>
                    </a:lnTo>
                    <a:lnTo>
                      <a:pt x="281" y="920"/>
                    </a:lnTo>
                    <a:lnTo>
                      <a:pt x="229" y="907"/>
                    </a:lnTo>
                    <a:lnTo>
                      <a:pt x="178" y="890"/>
                    </a:lnTo>
                    <a:lnTo>
                      <a:pt x="129" y="873"/>
                    </a:lnTo>
                    <a:lnTo>
                      <a:pt x="85" y="853"/>
                    </a:lnTo>
                    <a:lnTo>
                      <a:pt x="44" y="830"/>
                    </a:lnTo>
                    <a:lnTo>
                      <a:pt x="7" y="805"/>
                    </a:lnTo>
                    <a:lnTo>
                      <a:pt x="2" y="805"/>
                    </a:lnTo>
                    <a:lnTo>
                      <a:pt x="1" y="41"/>
                    </a:lnTo>
                    <a:lnTo>
                      <a:pt x="0" y="799"/>
                    </a:lnTo>
                    <a:lnTo>
                      <a:pt x="0" y="1"/>
                    </a:lnTo>
                    <a:lnTo>
                      <a:pt x="36" y="27"/>
                    </a:lnTo>
                    <a:lnTo>
                      <a:pt x="77" y="51"/>
                    </a:lnTo>
                    <a:lnTo>
                      <a:pt x="121" y="72"/>
                    </a:lnTo>
                    <a:lnTo>
                      <a:pt x="169" y="91"/>
                    </a:lnTo>
                    <a:lnTo>
                      <a:pt x="220" y="107"/>
                    </a:lnTo>
                    <a:lnTo>
                      <a:pt x="273" y="122"/>
                    </a:lnTo>
                    <a:lnTo>
                      <a:pt x="328" y="134"/>
                    </a:lnTo>
                    <a:lnTo>
                      <a:pt x="385" y="145"/>
                    </a:lnTo>
                    <a:lnTo>
                      <a:pt x="441" y="154"/>
                    </a:lnTo>
                    <a:lnTo>
                      <a:pt x="499" y="162"/>
                    </a:lnTo>
                    <a:lnTo>
                      <a:pt x="555" y="169"/>
                    </a:lnTo>
                    <a:lnTo>
                      <a:pt x="611" y="174"/>
                    </a:lnTo>
                    <a:lnTo>
                      <a:pt x="665" y="178"/>
                    </a:lnTo>
                    <a:lnTo>
                      <a:pt x="717" y="181"/>
                    </a:lnTo>
                    <a:lnTo>
                      <a:pt x="767" y="184"/>
                    </a:lnTo>
                    <a:lnTo>
                      <a:pt x="813" y="185"/>
                    </a:lnTo>
                    <a:lnTo>
                      <a:pt x="855" y="186"/>
                    </a:lnTo>
                    <a:lnTo>
                      <a:pt x="893" y="187"/>
                    </a:lnTo>
                    <a:lnTo>
                      <a:pt x="926" y="188"/>
                    </a:lnTo>
                    <a:lnTo>
                      <a:pt x="953" y="188"/>
                    </a:lnTo>
                    <a:lnTo>
                      <a:pt x="981" y="188"/>
                    </a:lnTo>
                    <a:lnTo>
                      <a:pt x="1014" y="188"/>
                    </a:lnTo>
                    <a:lnTo>
                      <a:pt x="1052" y="188"/>
                    </a:lnTo>
                    <a:lnTo>
                      <a:pt x="1095" y="187"/>
                    </a:lnTo>
                    <a:lnTo>
                      <a:pt x="1141" y="186"/>
                    </a:lnTo>
                    <a:lnTo>
                      <a:pt x="1191" y="183"/>
                    </a:lnTo>
                    <a:lnTo>
                      <a:pt x="1242" y="180"/>
                    </a:lnTo>
                    <a:lnTo>
                      <a:pt x="1296" y="176"/>
                    </a:lnTo>
                    <a:lnTo>
                      <a:pt x="1352" y="171"/>
                    </a:lnTo>
                    <a:lnTo>
                      <a:pt x="1408" y="164"/>
                    </a:lnTo>
                    <a:lnTo>
                      <a:pt x="1466" y="156"/>
                    </a:lnTo>
                    <a:lnTo>
                      <a:pt x="1523" y="147"/>
                    </a:lnTo>
                    <a:lnTo>
                      <a:pt x="1578" y="135"/>
                    </a:lnTo>
                    <a:lnTo>
                      <a:pt x="1634" y="122"/>
                    </a:lnTo>
                    <a:lnTo>
                      <a:pt x="1687" y="107"/>
                    </a:lnTo>
                    <a:lnTo>
                      <a:pt x="1739" y="91"/>
                    </a:lnTo>
                    <a:lnTo>
                      <a:pt x="1786" y="72"/>
                    </a:lnTo>
                    <a:lnTo>
                      <a:pt x="1831" y="50"/>
                    </a:lnTo>
                    <a:lnTo>
                      <a:pt x="1871" y="27"/>
                    </a:lnTo>
                    <a:lnTo>
                      <a:pt x="19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grpSp>
          <p:nvGrpSpPr>
            <p:cNvPr id="22" name="Group 21"/>
            <p:cNvGrpSpPr/>
            <p:nvPr/>
          </p:nvGrpSpPr>
          <p:grpSpPr>
            <a:xfrm>
              <a:off x="3880254" y="4163204"/>
              <a:ext cx="172064" cy="230655"/>
              <a:chOff x="876300" y="4684713"/>
              <a:chExt cx="1104900" cy="1481138"/>
            </a:xfrm>
            <a:solidFill>
              <a:schemeClr val="accent4"/>
            </a:solidFill>
          </p:grpSpPr>
          <p:sp>
            <p:nvSpPr>
              <p:cNvPr id="30" name="Freeform 24"/>
              <p:cNvSpPr>
                <a:spLocks noEditPoints="1"/>
              </p:cNvSpPr>
              <p:nvPr/>
            </p:nvSpPr>
            <p:spPr bwMode="auto">
              <a:xfrm>
                <a:off x="958850" y="4684713"/>
                <a:ext cx="1022350" cy="1047750"/>
              </a:xfrm>
              <a:custGeom>
                <a:avLst/>
                <a:gdLst>
                  <a:gd name="T0" fmla="*/ 1158 w 2578"/>
                  <a:gd name="T1" fmla="*/ 227 h 2639"/>
                  <a:gd name="T2" fmla="*/ 939 w 2578"/>
                  <a:gd name="T3" fmla="*/ 278 h 2639"/>
                  <a:gd name="T4" fmla="*/ 734 w 2578"/>
                  <a:gd name="T5" fmla="*/ 376 h 2639"/>
                  <a:gd name="T6" fmla="*/ 552 w 2578"/>
                  <a:gd name="T7" fmla="*/ 517 h 2639"/>
                  <a:gd name="T8" fmla="*/ 399 w 2578"/>
                  <a:gd name="T9" fmla="*/ 700 h 2639"/>
                  <a:gd name="T10" fmla="*/ 285 w 2578"/>
                  <a:gd name="T11" fmla="*/ 923 h 2639"/>
                  <a:gd name="T12" fmla="*/ 223 w 2578"/>
                  <a:gd name="T13" fmla="*/ 1164 h 2639"/>
                  <a:gd name="T14" fmla="*/ 216 w 2578"/>
                  <a:gd name="T15" fmla="*/ 1406 h 2639"/>
                  <a:gd name="T16" fmla="*/ 261 w 2578"/>
                  <a:gd name="T17" fmla="*/ 1644 h 2639"/>
                  <a:gd name="T18" fmla="*/ 354 w 2578"/>
                  <a:gd name="T19" fmla="*/ 1866 h 2639"/>
                  <a:gd name="T20" fmla="*/ 495 w 2578"/>
                  <a:gd name="T21" fmla="*/ 2064 h 2639"/>
                  <a:gd name="T22" fmla="*/ 679 w 2578"/>
                  <a:gd name="T23" fmla="*/ 2228 h 2639"/>
                  <a:gd name="T24" fmla="*/ 901 w 2578"/>
                  <a:gd name="T25" fmla="*/ 2348 h 2639"/>
                  <a:gd name="T26" fmla="*/ 1137 w 2578"/>
                  <a:gd name="T27" fmla="*/ 2411 h 2639"/>
                  <a:gd name="T28" fmla="*/ 1374 w 2578"/>
                  <a:gd name="T29" fmla="*/ 2418 h 2639"/>
                  <a:gd name="T30" fmla="*/ 1606 w 2578"/>
                  <a:gd name="T31" fmla="*/ 2373 h 2639"/>
                  <a:gd name="T32" fmla="*/ 1823 w 2578"/>
                  <a:gd name="T33" fmla="*/ 2277 h 2639"/>
                  <a:gd name="T34" fmla="*/ 2016 w 2578"/>
                  <a:gd name="T35" fmla="*/ 2133 h 2639"/>
                  <a:gd name="T36" fmla="*/ 2177 w 2578"/>
                  <a:gd name="T37" fmla="*/ 1943 h 2639"/>
                  <a:gd name="T38" fmla="*/ 2291 w 2578"/>
                  <a:gd name="T39" fmla="*/ 1723 h 2639"/>
                  <a:gd name="T40" fmla="*/ 2352 w 2578"/>
                  <a:gd name="T41" fmla="*/ 1495 h 2639"/>
                  <a:gd name="T42" fmla="*/ 2364 w 2578"/>
                  <a:gd name="T43" fmla="*/ 1262 h 2639"/>
                  <a:gd name="T44" fmla="*/ 2329 w 2578"/>
                  <a:gd name="T45" fmla="*/ 1034 h 2639"/>
                  <a:gd name="T46" fmla="*/ 2248 w 2578"/>
                  <a:gd name="T47" fmla="*/ 819 h 2639"/>
                  <a:gd name="T48" fmla="*/ 2124 w 2578"/>
                  <a:gd name="T49" fmla="*/ 623 h 2639"/>
                  <a:gd name="T50" fmla="*/ 1959 w 2578"/>
                  <a:gd name="T51" fmla="*/ 458 h 2639"/>
                  <a:gd name="T52" fmla="*/ 1756 w 2578"/>
                  <a:gd name="T53" fmla="*/ 327 h 2639"/>
                  <a:gd name="T54" fmla="*/ 1536 w 2578"/>
                  <a:gd name="T55" fmla="*/ 247 h 2639"/>
                  <a:gd name="T56" fmla="*/ 1309 w 2578"/>
                  <a:gd name="T57" fmla="*/ 219 h 2639"/>
                  <a:gd name="T58" fmla="*/ 1365 w 2578"/>
                  <a:gd name="T59" fmla="*/ 2 h 2639"/>
                  <a:gd name="T60" fmla="*/ 1614 w 2578"/>
                  <a:gd name="T61" fmla="*/ 42 h 2639"/>
                  <a:gd name="T62" fmla="*/ 1856 w 2578"/>
                  <a:gd name="T63" fmla="*/ 134 h 2639"/>
                  <a:gd name="T64" fmla="*/ 2086 w 2578"/>
                  <a:gd name="T65" fmla="*/ 281 h 2639"/>
                  <a:gd name="T66" fmla="*/ 2277 w 2578"/>
                  <a:gd name="T67" fmla="*/ 471 h 2639"/>
                  <a:gd name="T68" fmla="*/ 2423 w 2578"/>
                  <a:gd name="T69" fmla="*/ 692 h 2639"/>
                  <a:gd name="T70" fmla="*/ 2523 w 2578"/>
                  <a:gd name="T71" fmla="*/ 936 h 2639"/>
                  <a:gd name="T72" fmla="*/ 2573 w 2578"/>
                  <a:gd name="T73" fmla="*/ 1195 h 2639"/>
                  <a:gd name="T74" fmla="*/ 2572 w 2578"/>
                  <a:gd name="T75" fmla="*/ 1461 h 2639"/>
                  <a:gd name="T76" fmla="*/ 2517 w 2578"/>
                  <a:gd name="T77" fmla="*/ 1726 h 2639"/>
                  <a:gd name="T78" fmla="*/ 2407 w 2578"/>
                  <a:gd name="T79" fmla="*/ 1979 h 2639"/>
                  <a:gd name="T80" fmla="*/ 2246 w 2578"/>
                  <a:gd name="T81" fmla="*/ 2205 h 2639"/>
                  <a:gd name="T82" fmla="*/ 2050 w 2578"/>
                  <a:gd name="T83" fmla="*/ 2387 h 2639"/>
                  <a:gd name="T84" fmla="*/ 1825 w 2578"/>
                  <a:gd name="T85" fmla="*/ 2521 h 2639"/>
                  <a:gd name="T86" fmla="*/ 1581 w 2578"/>
                  <a:gd name="T87" fmla="*/ 2605 h 2639"/>
                  <a:gd name="T88" fmla="*/ 1325 w 2578"/>
                  <a:gd name="T89" fmla="*/ 2639 h 2639"/>
                  <a:gd name="T90" fmla="*/ 1064 w 2578"/>
                  <a:gd name="T91" fmla="*/ 2620 h 2639"/>
                  <a:gd name="T92" fmla="*/ 809 w 2578"/>
                  <a:gd name="T93" fmla="*/ 2545 h 2639"/>
                  <a:gd name="T94" fmla="*/ 566 w 2578"/>
                  <a:gd name="T95" fmla="*/ 2414 h 2639"/>
                  <a:gd name="T96" fmla="*/ 360 w 2578"/>
                  <a:gd name="T97" fmla="*/ 2237 h 2639"/>
                  <a:gd name="T98" fmla="*/ 198 w 2578"/>
                  <a:gd name="T99" fmla="*/ 2025 h 2639"/>
                  <a:gd name="T100" fmla="*/ 84 w 2578"/>
                  <a:gd name="T101" fmla="*/ 1788 h 2639"/>
                  <a:gd name="T102" fmla="*/ 16 w 2578"/>
                  <a:gd name="T103" fmla="*/ 1532 h 2639"/>
                  <a:gd name="T104" fmla="*/ 0 w 2578"/>
                  <a:gd name="T105" fmla="*/ 1267 h 2639"/>
                  <a:gd name="T106" fmla="*/ 37 w 2578"/>
                  <a:gd name="T107" fmla="*/ 1001 h 2639"/>
                  <a:gd name="T108" fmla="*/ 129 w 2578"/>
                  <a:gd name="T109" fmla="*/ 743 h 2639"/>
                  <a:gd name="T110" fmla="*/ 269 w 2578"/>
                  <a:gd name="T111" fmla="*/ 511 h 2639"/>
                  <a:gd name="T112" fmla="*/ 446 w 2578"/>
                  <a:gd name="T113" fmla="*/ 321 h 2639"/>
                  <a:gd name="T114" fmla="*/ 649 w 2578"/>
                  <a:gd name="T115" fmla="*/ 174 h 2639"/>
                  <a:gd name="T116" fmla="*/ 876 w 2578"/>
                  <a:gd name="T117" fmla="*/ 70 h 2639"/>
                  <a:gd name="T118" fmla="*/ 1118 w 2578"/>
                  <a:gd name="T119" fmla="*/ 11 h 2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78" h="2639">
                    <a:moveTo>
                      <a:pt x="1309" y="219"/>
                    </a:moveTo>
                    <a:lnTo>
                      <a:pt x="1233" y="220"/>
                    </a:lnTo>
                    <a:lnTo>
                      <a:pt x="1158" y="227"/>
                    </a:lnTo>
                    <a:lnTo>
                      <a:pt x="1084" y="239"/>
                    </a:lnTo>
                    <a:lnTo>
                      <a:pt x="1010" y="256"/>
                    </a:lnTo>
                    <a:lnTo>
                      <a:pt x="939" y="278"/>
                    </a:lnTo>
                    <a:lnTo>
                      <a:pt x="869" y="306"/>
                    </a:lnTo>
                    <a:lnTo>
                      <a:pt x="800" y="339"/>
                    </a:lnTo>
                    <a:lnTo>
                      <a:pt x="734" y="376"/>
                    </a:lnTo>
                    <a:lnTo>
                      <a:pt x="670" y="419"/>
                    </a:lnTo>
                    <a:lnTo>
                      <a:pt x="609" y="466"/>
                    </a:lnTo>
                    <a:lnTo>
                      <a:pt x="552" y="517"/>
                    </a:lnTo>
                    <a:lnTo>
                      <a:pt x="497" y="573"/>
                    </a:lnTo>
                    <a:lnTo>
                      <a:pt x="446" y="634"/>
                    </a:lnTo>
                    <a:lnTo>
                      <a:pt x="399" y="700"/>
                    </a:lnTo>
                    <a:lnTo>
                      <a:pt x="356" y="770"/>
                    </a:lnTo>
                    <a:lnTo>
                      <a:pt x="317" y="845"/>
                    </a:lnTo>
                    <a:lnTo>
                      <a:pt x="285" y="923"/>
                    </a:lnTo>
                    <a:lnTo>
                      <a:pt x="258" y="1003"/>
                    </a:lnTo>
                    <a:lnTo>
                      <a:pt x="237" y="1083"/>
                    </a:lnTo>
                    <a:lnTo>
                      <a:pt x="223" y="1164"/>
                    </a:lnTo>
                    <a:lnTo>
                      <a:pt x="215" y="1244"/>
                    </a:lnTo>
                    <a:lnTo>
                      <a:pt x="212" y="1326"/>
                    </a:lnTo>
                    <a:lnTo>
                      <a:pt x="216" y="1406"/>
                    </a:lnTo>
                    <a:lnTo>
                      <a:pt x="225" y="1487"/>
                    </a:lnTo>
                    <a:lnTo>
                      <a:pt x="240" y="1566"/>
                    </a:lnTo>
                    <a:lnTo>
                      <a:pt x="261" y="1644"/>
                    </a:lnTo>
                    <a:lnTo>
                      <a:pt x="286" y="1720"/>
                    </a:lnTo>
                    <a:lnTo>
                      <a:pt x="317" y="1794"/>
                    </a:lnTo>
                    <a:lnTo>
                      <a:pt x="354" y="1866"/>
                    </a:lnTo>
                    <a:lnTo>
                      <a:pt x="396" y="1934"/>
                    </a:lnTo>
                    <a:lnTo>
                      <a:pt x="442" y="2001"/>
                    </a:lnTo>
                    <a:lnTo>
                      <a:pt x="495" y="2064"/>
                    </a:lnTo>
                    <a:lnTo>
                      <a:pt x="552" y="2122"/>
                    </a:lnTo>
                    <a:lnTo>
                      <a:pt x="613" y="2178"/>
                    </a:lnTo>
                    <a:lnTo>
                      <a:pt x="679" y="2228"/>
                    </a:lnTo>
                    <a:lnTo>
                      <a:pt x="751" y="2275"/>
                    </a:lnTo>
                    <a:lnTo>
                      <a:pt x="825" y="2315"/>
                    </a:lnTo>
                    <a:lnTo>
                      <a:pt x="901" y="2348"/>
                    </a:lnTo>
                    <a:lnTo>
                      <a:pt x="978" y="2376"/>
                    </a:lnTo>
                    <a:lnTo>
                      <a:pt x="1057" y="2396"/>
                    </a:lnTo>
                    <a:lnTo>
                      <a:pt x="1137" y="2411"/>
                    </a:lnTo>
                    <a:lnTo>
                      <a:pt x="1215" y="2420"/>
                    </a:lnTo>
                    <a:lnTo>
                      <a:pt x="1295" y="2422"/>
                    </a:lnTo>
                    <a:lnTo>
                      <a:pt x="1374" y="2418"/>
                    </a:lnTo>
                    <a:lnTo>
                      <a:pt x="1452" y="2409"/>
                    </a:lnTo>
                    <a:lnTo>
                      <a:pt x="1530" y="2394"/>
                    </a:lnTo>
                    <a:lnTo>
                      <a:pt x="1606" y="2373"/>
                    </a:lnTo>
                    <a:lnTo>
                      <a:pt x="1680" y="2346"/>
                    </a:lnTo>
                    <a:lnTo>
                      <a:pt x="1753" y="2315"/>
                    </a:lnTo>
                    <a:lnTo>
                      <a:pt x="1823" y="2277"/>
                    </a:lnTo>
                    <a:lnTo>
                      <a:pt x="1890" y="2234"/>
                    </a:lnTo>
                    <a:lnTo>
                      <a:pt x="1955" y="2186"/>
                    </a:lnTo>
                    <a:lnTo>
                      <a:pt x="2016" y="2133"/>
                    </a:lnTo>
                    <a:lnTo>
                      <a:pt x="2073" y="2075"/>
                    </a:lnTo>
                    <a:lnTo>
                      <a:pt x="2127" y="2011"/>
                    </a:lnTo>
                    <a:lnTo>
                      <a:pt x="2177" y="1943"/>
                    </a:lnTo>
                    <a:lnTo>
                      <a:pt x="2221" y="1871"/>
                    </a:lnTo>
                    <a:lnTo>
                      <a:pt x="2259" y="1798"/>
                    </a:lnTo>
                    <a:lnTo>
                      <a:pt x="2291" y="1723"/>
                    </a:lnTo>
                    <a:lnTo>
                      <a:pt x="2317" y="1648"/>
                    </a:lnTo>
                    <a:lnTo>
                      <a:pt x="2337" y="1572"/>
                    </a:lnTo>
                    <a:lnTo>
                      <a:pt x="2352" y="1495"/>
                    </a:lnTo>
                    <a:lnTo>
                      <a:pt x="2361" y="1417"/>
                    </a:lnTo>
                    <a:lnTo>
                      <a:pt x="2365" y="1339"/>
                    </a:lnTo>
                    <a:lnTo>
                      <a:pt x="2364" y="1262"/>
                    </a:lnTo>
                    <a:lnTo>
                      <a:pt x="2358" y="1186"/>
                    </a:lnTo>
                    <a:lnTo>
                      <a:pt x="2346" y="1110"/>
                    </a:lnTo>
                    <a:lnTo>
                      <a:pt x="2329" y="1034"/>
                    </a:lnTo>
                    <a:lnTo>
                      <a:pt x="2306" y="961"/>
                    </a:lnTo>
                    <a:lnTo>
                      <a:pt x="2279" y="889"/>
                    </a:lnTo>
                    <a:lnTo>
                      <a:pt x="2248" y="819"/>
                    </a:lnTo>
                    <a:lnTo>
                      <a:pt x="2211" y="751"/>
                    </a:lnTo>
                    <a:lnTo>
                      <a:pt x="2169" y="686"/>
                    </a:lnTo>
                    <a:lnTo>
                      <a:pt x="2124" y="623"/>
                    </a:lnTo>
                    <a:lnTo>
                      <a:pt x="2073" y="565"/>
                    </a:lnTo>
                    <a:lnTo>
                      <a:pt x="2018" y="509"/>
                    </a:lnTo>
                    <a:lnTo>
                      <a:pt x="1959" y="458"/>
                    </a:lnTo>
                    <a:lnTo>
                      <a:pt x="1895" y="409"/>
                    </a:lnTo>
                    <a:lnTo>
                      <a:pt x="1828" y="365"/>
                    </a:lnTo>
                    <a:lnTo>
                      <a:pt x="1756" y="327"/>
                    </a:lnTo>
                    <a:lnTo>
                      <a:pt x="1683" y="294"/>
                    </a:lnTo>
                    <a:lnTo>
                      <a:pt x="1611" y="269"/>
                    </a:lnTo>
                    <a:lnTo>
                      <a:pt x="1536" y="247"/>
                    </a:lnTo>
                    <a:lnTo>
                      <a:pt x="1461" y="232"/>
                    </a:lnTo>
                    <a:lnTo>
                      <a:pt x="1384" y="222"/>
                    </a:lnTo>
                    <a:lnTo>
                      <a:pt x="1309" y="219"/>
                    </a:lnTo>
                    <a:close/>
                    <a:moveTo>
                      <a:pt x="1281" y="0"/>
                    </a:moveTo>
                    <a:lnTo>
                      <a:pt x="1284" y="0"/>
                    </a:lnTo>
                    <a:lnTo>
                      <a:pt x="1365" y="2"/>
                    </a:lnTo>
                    <a:lnTo>
                      <a:pt x="1449" y="10"/>
                    </a:lnTo>
                    <a:lnTo>
                      <a:pt x="1532" y="24"/>
                    </a:lnTo>
                    <a:lnTo>
                      <a:pt x="1614" y="42"/>
                    </a:lnTo>
                    <a:lnTo>
                      <a:pt x="1697" y="66"/>
                    </a:lnTo>
                    <a:lnTo>
                      <a:pt x="1776" y="98"/>
                    </a:lnTo>
                    <a:lnTo>
                      <a:pt x="1856" y="134"/>
                    </a:lnTo>
                    <a:lnTo>
                      <a:pt x="1934" y="176"/>
                    </a:lnTo>
                    <a:lnTo>
                      <a:pt x="2012" y="226"/>
                    </a:lnTo>
                    <a:lnTo>
                      <a:pt x="2086" y="281"/>
                    </a:lnTo>
                    <a:lnTo>
                      <a:pt x="2154" y="341"/>
                    </a:lnTo>
                    <a:lnTo>
                      <a:pt x="2218" y="404"/>
                    </a:lnTo>
                    <a:lnTo>
                      <a:pt x="2277" y="471"/>
                    </a:lnTo>
                    <a:lnTo>
                      <a:pt x="2330" y="541"/>
                    </a:lnTo>
                    <a:lnTo>
                      <a:pt x="2379" y="615"/>
                    </a:lnTo>
                    <a:lnTo>
                      <a:pt x="2423" y="692"/>
                    </a:lnTo>
                    <a:lnTo>
                      <a:pt x="2461" y="771"/>
                    </a:lnTo>
                    <a:lnTo>
                      <a:pt x="2495" y="853"/>
                    </a:lnTo>
                    <a:lnTo>
                      <a:pt x="2523" y="936"/>
                    </a:lnTo>
                    <a:lnTo>
                      <a:pt x="2545" y="1021"/>
                    </a:lnTo>
                    <a:lnTo>
                      <a:pt x="2561" y="1108"/>
                    </a:lnTo>
                    <a:lnTo>
                      <a:pt x="2573" y="1195"/>
                    </a:lnTo>
                    <a:lnTo>
                      <a:pt x="2578" y="1283"/>
                    </a:lnTo>
                    <a:lnTo>
                      <a:pt x="2578" y="1372"/>
                    </a:lnTo>
                    <a:lnTo>
                      <a:pt x="2572" y="1461"/>
                    </a:lnTo>
                    <a:lnTo>
                      <a:pt x="2559" y="1550"/>
                    </a:lnTo>
                    <a:lnTo>
                      <a:pt x="2541" y="1638"/>
                    </a:lnTo>
                    <a:lnTo>
                      <a:pt x="2517" y="1726"/>
                    </a:lnTo>
                    <a:lnTo>
                      <a:pt x="2486" y="1812"/>
                    </a:lnTo>
                    <a:lnTo>
                      <a:pt x="2449" y="1897"/>
                    </a:lnTo>
                    <a:lnTo>
                      <a:pt x="2407" y="1979"/>
                    </a:lnTo>
                    <a:lnTo>
                      <a:pt x="2358" y="2060"/>
                    </a:lnTo>
                    <a:lnTo>
                      <a:pt x="2304" y="2134"/>
                    </a:lnTo>
                    <a:lnTo>
                      <a:pt x="2246" y="2205"/>
                    </a:lnTo>
                    <a:lnTo>
                      <a:pt x="2184" y="2271"/>
                    </a:lnTo>
                    <a:lnTo>
                      <a:pt x="2118" y="2331"/>
                    </a:lnTo>
                    <a:lnTo>
                      <a:pt x="2050" y="2387"/>
                    </a:lnTo>
                    <a:lnTo>
                      <a:pt x="1978" y="2437"/>
                    </a:lnTo>
                    <a:lnTo>
                      <a:pt x="1903" y="2481"/>
                    </a:lnTo>
                    <a:lnTo>
                      <a:pt x="1825" y="2521"/>
                    </a:lnTo>
                    <a:lnTo>
                      <a:pt x="1745" y="2554"/>
                    </a:lnTo>
                    <a:lnTo>
                      <a:pt x="1664" y="2583"/>
                    </a:lnTo>
                    <a:lnTo>
                      <a:pt x="1581" y="2605"/>
                    </a:lnTo>
                    <a:lnTo>
                      <a:pt x="1496" y="2622"/>
                    </a:lnTo>
                    <a:lnTo>
                      <a:pt x="1411" y="2634"/>
                    </a:lnTo>
                    <a:lnTo>
                      <a:pt x="1325" y="2639"/>
                    </a:lnTo>
                    <a:lnTo>
                      <a:pt x="1238" y="2639"/>
                    </a:lnTo>
                    <a:lnTo>
                      <a:pt x="1151" y="2633"/>
                    </a:lnTo>
                    <a:lnTo>
                      <a:pt x="1064" y="2620"/>
                    </a:lnTo>
                    <a:lnTo>
                      <a:pt x="978" y="2601"/>
                    </a:lnTo>
                    <a:lnTo>
                      <a:pt x="892" y="2577"/>
                    </a:lnTo>
                    <a:lnTo>
                      <a:pt x="809" y="2545"/>
                    </a:lnTo>
                    <a:lnTo>
                      <a:pt x="726" y="2507"/>
                    </a:lnTo>
                    <a:lnTo>
                      <a:pt x="645" y="2464"/>
                    </a:lnTo>
                    <a:lnTo>
                      <a:pt x="566" y="2414"/>
                    </a:lnTo>
                    <a:lnTo>
                      <a:pt x="492" y="2359"/>
                    </a:lnTo>
                    <a:lnTo>
                      <a:pt x="424" y="2300"/>
                    </a:lnTo>
                    <a:lnTo>
                      <a:pt x="360" y="2237"/>
                    </a:lnTo>
                    <a:lnTo>
                      <a:pt x="302" y="2170"/>
                    </a:lnTo>
                    <a:lnTo>
                      <a:pt x="247" y="2099"/>
                    </a:lnTo>
                    <a:lnTo>
                      <a:pt x="198" y="2025"/>
                    </a:lnTo>
                    <a:lnTo>
                      <a:pt x="155" y="1948"/>
                    </a:lnTo>
                    <a:lnTo>
                      <a:pt x="116" y="1868"/>
                    </a:lnTo>
                    <a:lnTo>
                      <a:pt x="84" y="1788"/>
                    </a:lnTo>
                    <a:lnTo>
                      <a:pt x="55" y="1704"/>
                    </a:lnTo>
                    <a:lnTo>
                      <a:pt x="34" y="1618"/>
                    </a:lnTo>
                    <a:lnTo>
                      <a:pt x="16" y="1532"/>
                    </a:lnTo>
                    <a:lnTo>
                      <a:pt x="5" y="1444"/>
                    </a:lnTo>
                    <a:lnTo>
                      <a:pt x="0" y="1356"/>
                    </a:lnTo>
                    <a:lnTo>
                      <a:pt x="0" y="1267"/>
                    </a:lnTo>
                    <a:lnTo>
                      <a:pt x="6" y="1178"/>
                    </a:lnTo>
                    <a:lnTo>
                      <a:pt x="18" y="1090"/>
                    </a:lnTo>
                    <a:lnTo>
                      <a:pt x="37" y="1001"/>
                    </a:lnTo>
                    <a:lnTo>
                      <a:pt x="61" y="915"/>
                    </a:lnTo>
                    <a:lnTo>
                      <a:pt x="92" y="828"/>
                    </a:lnTo>
                    <a:lnTo>
                      <a:pt x="129" y="743"/>
                    </a:lnTo>
                    <a:lnTo>
                      <a:pt x="172" y="660"/>
                    </a:lnTo>
                    <a:lnTo>
                      <a:pt x="218" y="583"/>
                    </a:lnTo>
                    <a:lnTo>
                      <a:pt x="269" y="511"/>
                    </a:lnTo>
                    <a:lnTo>
                      <a:pt x="324" y="443"/>
                    </a:lnTo>
                    <a:lnTo>
                      <a:pt x="383" y="380"/>
                    </a:lnTo>
                    <a:lnTo>
                      <a:pt x="446" y="321"/>
                    </a:lnTo>
                    <a:lnTo>
                      <a:pt x="510" y="267"/>
                    </a:lnTo>
                    <a:lnTo>
                      <a:pt x="579" y="217"/>
                    </a:lnTo>
                    <a:lnTo>
                      <a:pt x="649" y="174"/>
                    </a:lnTo>
                    <a:lnTo>
                      <a:pt x="723" y="133"/>
                    </a:lnTo>
                    <a:lnTo>
                      <a:pt x="798" y="99"/>
                    </a:lnTo>
                    <a:lnTo>
                      <a:pt x="876" y="70"/>
                    </a:lnTo>
                    <a:lnTo>
                      <a:pt x="956" y="45"/>
                    </a:lnTo>
                    <a:lnTo>
                      <a:pt x="1035" y="26"/>
                    </a:lnTo>
                    <a:lnTo>
                      <a:pt x="1118" y="11"/>
                    </a:lnTo>
                    <a:lnTo>
                      <a:pt x="1200" y="3"/>
                    </a:lnTo>
                    <a:lnTo>
                      <a:pt x="12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31" name="Freeform 25"/>
              <p:cNvSpPr>
                <a:spLocks/>
              </p:cNvSpPr>
              <p:nvPr/>
            </p:nvSpPr>
            <p:spPr bwMode="auto">
              <a:xfrm>
                <a:off x="915988" y="5630863"/>
                <a:ext cx="388938" cy="430213"/>
              </a:xfrm>
              <a:custGeom>
                <a:avLst/>
                <a:gdLst>
                  <a:gd name="T0" fmla="*/ 427 w 982"/>
                  <a:gd name="T1" fmla="*/ 0 h 1084"/>
                  <a:gd name="T2" fmla="*/ 982 w 982"/>
                  <a:gd name="T3" fmla="*/ 327 h 1084"/>
                  <a:gd name="T4" fmla="*/ 555 w 982"/>
                  <a:gd name="T5" fmla="*/ 1084 h 1084"/>
                  <a:gd name="T6" fmla="*/ 0 w 982"/>
                  <a:gd name="T7" fmla="*/ 756 h 1084"/>
                  <a:gd name="T8" fmla="*/ 427 w 982"/>
                  <a:gd name="T9" fmla="*/ 0 h 1084"/>
                </a:gdLst>
                <a:ahLst/>
                <a:cxnLst>
                  <a:cxn ang="0">
                    <a:pos x="T0" y="T1"/>
                  </a:cxn>
                  <a:cxn ang="0">
                    <a:pos x="T2" y="T3"/>
                  </a:cxn>
                  <a:cxn ang="0">
                    <a:pos x="T4" y="T5"/>
                  </a:cxn>
                  <a:cxn ang="0">
                    <a:pos x="T6" y="T7"/>
                  </a:cxn>
                  <a:cxn ang="0">
                    <a:pos x="T8" y="T9"/>
                  </a:cxn>
                </a:cxnLst>
                <a:rect l="0" t="0" r="r" b="b"/>
                <a:pathLst>
                  <a:path w="982" h="1084">
                    <a:moveTo>
                      <a:pt x="427" y="0"/>
                    </a:moveTo>
                    <a:lnTo>
                      <a:pt x="982" y="327"/>
                    </a:lnTo>
                    <a:lnTo>
                      <a:pt x="555" y="1084"/>
                    </a:lnTo>
                    <a:lnTo>
                      <a:pt x="0" y="756"/>
                    </a:lnTo>
                    <a:lnTo>
                      <a:pt x="4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32" name="Freeform 26"/>
              <p:cNvSpPr>
                <a:spLocks/>
              </p:cNvSpPr>
              <p:nvPr/>
            </p:nvSpPr>
            <p:spPr bwMode="auto">
              <a:xfrm>
                <a:off x="876300" y="5970588"/>
                <a:ext cx="236538" cy="195263"/>
              </a:xfrm>
              <a:custGeom>
                <a:avLst/>
                <a:gdLst>
                  <a:gd name="T0" fmla="*/ 43 w 598"/>
                  <a:gd name="T1" fmla="*/ 0 h 492"/>
                  <a:gd name="T2" fmla="*/ 598 w 598"/>
                  <a:gd name="T3" fmla="*/ 329 h 492"/>
                  <a:gd name="T4" fmla="*/ 574 w 598"/>
                  <a:gd name="T5" fmla="*/ 365 h 492"/>
                  <a:gd name="T6" fmla="*/ 545 w 598"/>
                  <a:gd name="T7" fmla="*/ 398 h 492"/>
                  <a:gd name="T8" fmla="*/ 514 w 598"/>
                  <a:gd name="T9" fmla="*/ 426 h 492"/>
                  <a:gd name="T10" fmla="*/ 479 w 598"/>
                  <a:gd name="T11" fmla="*/ 449 h 492"/>
                  <a:gd name="T12" fmla="*/ 442 w 598"/>
                  <a:gd name="T13" fmla="*/ 468 h 492"/>
                  <a:gd name="T14" fmla="*/ 404 w 598"/>
                  <a:gd name="T15" fmla="*/ 481 h 492"/>
                  <a:gd name="T16" fmla="*/ 363 w 598"/>
                  <a:gd name="T17" fmla="*/ 490 h 492"/>
                  <a:gd name="T18" fmla="*/ 323 w 598"/>
                  <a:gd name="T19" fmla="*/ 492 h 492"/>
                  <a:gd name="T20" fmla="*/ 281 w 598"/>
                  <a:gd name="T21" fmla="*/ 490 h 492"/>
                  <a:gd name="T22" fmla="*/ 239 w 598"/>
                  <a:gd name="T23" fmla="*/ 481 h 492"/>
                  <a:gd name="T24" fmla="*/ 200 w 598"/>
                  <a:gd name="T25" fmla="*/ 468 h 492"/>
                  <a:gd name="T26" fmla="*/ 161 w 598"/>
                  <a:gd name="T27" fmla="*/ 448 h 492"/>
                  <a:gd name="T28" fmla="*/ 124 w 598"/>
                  <a:gd name="T29" fmla="*/ 424 h 492"/>
                  <a:gd name="T30" fmla="*/ 93 w 598"/>
                  <a:gd name="T31" fmla="*/ 395 h 492"/>
                  <a:gd name="T32" fmla="*/ 65 w 598"/>
                  <a:gd name="T33" fmla="*/ 362 h 492"/>
                  <a:gd name="T34" fmla="*/ 43 w 598"/>
                  <a:gd name="T35" fmla="*/ 326 h 492"/>
                  <a:gd name="T36" fmla="*/ 24 w 598"/>
                  <a:gd name="T37" fmla="*/ 288 h 492"/>
                  <a:gd name="T38" fmla="*/ 11 w 598"/>
                  <a:gd name="T39" fmla="*/ 249 h 492"/>
                  <a:gd name="T40" fmla="*/ 3 w 598"/>
                  <a:gd name="T41" fmla="*/ 208 h 492"/>
                  <a:gd name="T42" fmla="*/ 0 w 598"/>
                  <a:gd name="T43" fmla="*/ 167 h 492"/>
                  <a:gd name="T44" fmla="*/ 2 w 598"/>
                  <a:gd name="T45" fmla="*/ 124 h 492"/>
                  <a:gd name="T46" fmla="*/ 11 w 598"/>
                  <a:gd name="T47" fmla="*/ 81 h 492"/>
                  <a:gd name="T48" fmla="*/ 24 w 598"/>
                  <a:gd name="T49" fmla="*/ 40 h 492"/>
                  <a:gd name="T50" fmla="*/ 43 w 598"/>
                  <a:gd name="T51" fmla="*/ 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98" h="492">
                    <a:moveTo>
                      <a:pt x="43" y="0"/>
                    </a:moveTo>
                    <a:lnTo>
                      <a:pt x="598" y="329"/>
                    </a:lnTo>
                    <a:lnTo>
                      <a:pt x="574" y="365"/>
                    </a:lnTo>
                    <a:lnTo>
                      <a:pt x="545" y="398"/>
                    </a:lnTo>
                    <a:lnTo>
                      <a:pt x="514" y="426"/>
                    </a:lnTo>
                    <a:lnTo>
                      <a:pt x="479" y="449"/>
                    </a:lnTo>
                    <a:lnTo>
                      <a:pt x="442" y="468"/>
                    </a:lnTo>
                    <a:lnTo>
                      <a:pt x="404" y="481"/>
                    </a:lnTo>
                    <a:lnTo>
                      <a:pt x="363" y="490"/>
                    </a:lnTo>
                    <a:lnTo>
                      <a:pt x="323" y="492"/>
                    </a:lnTo>
                    <a:lnTo>
                      <a:pt x="281" y="490"/>
                    </a:lnTo>
                    <a:lnTo>
                      <a:pt x="239" y="481"/>
                    </a:lnTo>
                    <a:lnTo>
                      <a:pt x="200" y="468"/>
                    </a:lnTo>
                    <a:lnTo>
                      <a:pt x="161" y="448"/>
                    </a:lnTo>
                    <a:lnTo>
                      <a:pt x="124" y="424"/>
                    </a:lnTo>
                    <a:lnTo>
                      <a:pt x="93" y="395"/>
                    </a:lnTo>
                    <a:lnTo>
                      <a:pt x="65" y="362"/>
                    </a:lnTo>
                    <a:lnTo>
                      <a:pt x="43" y="326"/>
                    </a:lnTo>
                    <a:lnTo>
                      <a:pt x="24" y="288"/>
                    </a:lnTo>
                    <a:lnTo>
                      <a:pt x="11" y="249"/>
                    </a:lnTo>
                    <a:lnTo>
                      <a:pt x="3" y="208"/>
                    </a:lnTo>
                    <a:lnTo>
                      <a:pt x="0" y="167"/>
                    </a:lnTo>
                    <a:lnTo>
                      <a:pt x="2" y="124"/>
                    </a:lnTo>
                    <a:lnTo>
                      <a:pt x="11" y="81"/>
                    </a:lnTo>
                    <a:lnTo>
                      <a:pt x="24" y="40"/>
                    </a:lnTo>
                    <a:lnTo>
                      <a:pt x="4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33" name="Rectangle 27"/>
              <p:cNvSpPr>
                <a:spLocks noChangeArrowheads="1"/>
              </p:cNvSpPr>
              <p:nvPr/>
            </p:nvSpPr>
            <p:spPr bwMode="auto">
              <a:xfrm>
                <a:off x="1176338" y="5208588"/>
                <a:ext cx="146050" cy="23336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34" name="Rectangle 28"/>
              <p:cNvSpPr>
                <a:spLocks noChangeArrowheads="1"/>
              </p:cNvSpPr>
              <p:nvPr/>
            </p:nvSpPr>
            <p:spPr bwMode="auto">
              <a:xfrm>
                <a:off x="1397000" y="5103813"/>
                <a:ext cx="146050" cy="3381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35" name="Rectangle 29"/>
              <p:cNvSpPr>
                <a:spLocks noChangeArrowheads="1"/>
              </p:cNvSpPr>
              <p:nvPr/>
            </p:nvSpPr>
            <p:spPr bwMode="auto">
              <a:xfrm>
                <a:off x="1617663" y="4975226"/>
                <a:ext cx="146050" cy="46672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grpSp>
          <p:nvGrpSpPr>
            <p:cNvPr id="23" name="Group 22"/>
            <p:cNvGrpSpPr/>
            <p:nvPr/>
          </p:nvGrpSpPr>
          <p:grpSpPr>
            <a:xfrm>
              <a:off x="4564805" y="4174451"/>
              <a:ext cx="270070" cy="211505"/>
              <a:chOff x="12790488" y="2682875"/>
              <a:chExt cx="1149350" cy="900113"/>
            </a:xfrm>
            <a:solidFill>
              <a:schemeClr val="accent4"/>
            </a:solidFill>
          </p:grpSpPr>
          <p:sp>
            <p:nvSpPr>
              <p:cNvPr id="24" name="Freeform 39"/>
              <p:cNvSpPr>
                <a:spLocks/>
              </p:cNvSpPr>
              <p:nvPr/>
            </p:nvSpPr>
            <p:spPr bwMode="auto">
              <a:xfrm>
                <a:off x="12987338" y="3479800"/>
                <a:ext cx="757238" cy="103188"/>
              </a:xfrm>
              <a:custGeom>
                <a:avLst/>
                <a:gdLst>
                  <a:gd name="T0" fmla="*/ 164 w 2387"/>
                  <a:gd name="T1" fmla="*/ 0 h 324"/>
                  <a:gd name="T2" fmla="*/ 2221 w 2387"/>
                  <a:gd name="T3" fmla="*/ 0 h 324"/>
                  <a:gd name="T4" fmla="*/ 2255 w 2387"/>
                  <a:gd name="T5" fmla="*/ 3 h 324"/>
                  <a:gd name="T6" fmla="*/ 2286 w 2387"/>
                  <a:gd name="T7" fmla="*/ 13 h 324"/>
                  <a:gd name="T8" fmla="*/ 2313 w 2387"/>
                  <a:gd name="T9" fmla="*/ 28 h 324"/>
                  <a:gd name="T10" fmla="*/ 2338 w 2387"/>
                  <a:gd name="T11" fmla="*/ 48 h 324"/>
                  <a:gd name="T12" fmla="*/ 2358 w 2387"/>
                  <a:gd name="T13" fmla="*/ 72 h 324"/>
                  <a:gd name="T14" fmla="*/ 2373 w 2387"/>
                  <a:gd name="T15" fmla="*/ 99 h 324"/>
                  <a:gd name="T16" fmla="*/ 2383 w 2387"/>
                  <a:gd name="T17" fmla="*/ 130 h 324"/>
                  <a:gd name="T18" fmla="*/ 2387 w 2387"/>
                  <a:gd name="T19" fmla="*/ 162 h 324"/>
                  <a:gd name="T20" fmla="*/ 2383 w 2387"/>
                  <a:gd name="T21" fmla="*/ 195 h 324"/>
                  <a:gd name="T22" fmla="*/ 2373 w 2387"/>
                  <a:gd name="T23" fmla="*/ 226 h 324"/>
                  <a:gd name="T24" fmla="*/ 2358 w 2387"/>
                  <a:gd name="T25" fmla="*/ 253 h 324"/>
                  <a:gd name="T26" fmla="*/ 2338 w 2387"/>
                  <a:gd name="T27" fmla="*/ 277 h 324"/>
                  <a:gd name="T28" fmla="*/ 2313 w 2387"/>
                  <a:gd name="T29" fmla="*/ 297 h 324"/>
                  <a:gd name="T30" fmla="*/ 2286 w 2387"/>
                  <a:gd name="T31" fmla="*/ 312 h 324"/>
                  <a:gd name="T32" fmla="*/ 2255 w 2387"/>
                  <a:gd name="T33" fmla="*/ 321 h 324"/>
                  <a:gd name="T34" fmla="*/ 2221 w 2387"/>
                  <a:gd name="T35" fmla="*/ 324 h 324"/>
                  <a:gd name="T36" fmla="*/ 164 w 2387"/>
                  <a:gd name="T37" fmla="*/ 324 h 324"/>
                  <a:gd name="T38" fmla="*/ 131 w 2387"/>
                  <a:gd name="T39" fmla="*/ 321 h 324"/>
                  <a:gd name="T40" fmla="*/ 100 w 2387"/>
                  <a:gd name="T41" fmla="*/ 312 h 324"/>
                  <a:gd name="T42" fmla="*/ 72 w 2387"/>
                  <a:gd name="T43" fmla="*/ 297 h 324"/>
                  <a:gd name="T44" fmla="*/ 47 w 2387"/>
                  <a:gd name="T45" fmla="*/ 277 h 324"/>
                  <a:gd name="T46" fmla="*/ 27 w 2387"/>
                  <a:gd name="T47" fmla="*/ 253 h 324"/>
                  <a:gd name="T48" fmla="*/ 12 w 2387"/>
                  <a:gd name="T49" fmla="*/ 226 h 324"/>
                  <a:gd name="T50" fmla="*/ 3 w 2387"/>
                  <a:gd name="T51" fmla="*/ 195 h 324"/>
                  <a:gd name="T52" fmla="*/ 0 w 2387"/>
                  <a:gd name="T53" fmla="*/ 162 h 324"/>
                  <a:gd name="T54" fmla="*/ 3 w 2387"/>
                  <a:gd name="T55" fmla="*/ 130 h 324"/>
                  <a:gd name="T56" fmla="*/ 12 w 2387"/>
                  <a:gd name="T57" fmla="*/ 99 h 324"/>
                  <a:gd name="T58" fmla="*/ 27 w 2387"/>
                  <a:gd name="T59" fmla="*/ 72 h 324"/>
                  <a:gd name="T60" fmla="*/ 47 w 2387"/>
                  <a:gd name="T61" fmla="*/ 48 h 324"/>
                  <a:gd name="T62" fmla="*/ 72 w 2387"/>
                  <a:gd name="T63" fmla="*/ 28 h 324"/>
                  <a:gd name="T64" fmla="*/ 100 w 2387"/>
                  <a:gd name="T65" fmla="*/ 13 h 324"/>
                  <a:gd name="T66" fmla="*/ 131 w 2387"/>
                  <a:gd name="T67" fmla="*/ 3 h 324"/>
                  <a:gd name="T68" fmla="*/ 164 w 2387"/>
                  <a:gd name="T69"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87" h="324">
                    <a:moveTo>
                      <a:pt x="164" y="0"/>
                    </a:moveTo>
                    <a:lnTo>
                      <a:pt x="2221" y="0"/>
                    </a:lnTo>
                    <a:lnTo>
                      <a:pt x="2255" y="3"/>
                    </a:lnTo>
                    <a:lnTo>
                      <a:pt x="2286" y="13"/>
                    </a:lnTo>
                    <a:lnTo>
                      <a:pt x="2313" y="28"/>
                    </a:lnTo>
                    <a:lnTo>
                      <a:pt x="2338" y="48"/>
                    </a:lnTo>
                    <a:lnTo>
                      <a:pt x="2358" y="72"/>
                    </a:lnTo>
                    <a:lnTo>
                      <a:pt x="2373" y="99"/>
                    </a:lnTo>
                    <a:lnTo>
                      <a:pt x="2383" y="130"/>
                    </a:lnTo>
                    <a:lnTo>
                      <a:pt x="2387" y="162"/>
                    </a:lnTo>
                    <a:lnTo>
                      <a:pt x="2383" y="195"/>
                    </a:lnTo>
                    <a:lnTo>
                      <a:pt x="2373" y="226"/>
                    </a:lnTo>
                    <a:lnTo>
                      <a:pt x="2358" y="253"/>
                    </a:lnTo>
                    <a:lnTo>
                      <a:pt x="2338" y="277"/>
                    </a:lnTo>
                    <a:lnTo>
                      <a:pt x="2313" y="297"/>
                    </a:lnTo>
                    <a:lnTo>
                      <a:pt x="2286" y="312"/>
                    </a:lnTo>
                    <a:lnTo>
                      <a:pt x="2255" y="321"/>
                    </a:lnTo>
                    <a:lnTo>
                      <a:pt x="2221" y="324"/>
                    </a:lnTo>
                    <a:lnTo>
                      <a:pt x="164" y="324"/>
                    </a:lnTo>
                    <a:lnTo>
                      <a:pt x="131" y="321"/>
                    </a:lnTo>
                    <a:lnTo>
                      <a:pt x="100" y="312"/>
                    </a:lnTo>
                    <a:lnTo>
                      <a:pt x="72" y="297"/>
                    </a:lnTo>
                    <a:lnTo>
                      <a:pt x="47" y="277"/>
                    </a:lnTo>
                    <a:lnTo>
                      <a:pt x="27" y="253"/>
                    </a:lnTo>
                    <a:lnTo>
                      <a:pt x="12" y="226"/>
                    </a:lnTo>
                    <a:lnTo>
                      <a:pt x="3" y="195"/>
                    </a:lnTo>
                    <a:lnTo>
                      <a:pt x="0" y="162"/>
                    </a:lnTo>
                    <a:lnTo>
                      <a:pt x="3" y="130"/>
                    </a:lnTo>
                    <a:lnTo>
                      <a:pt x="12" y="99"/>
                    </a:lnTo>
                    <a:lnTo>
                      <a:pt x="27" y="72"/>
                    </a:lnTo>
                    <a:lnTo>
                      <a:pt x="47" y="48"/>
                    </a:lnTo>
                    <a:lnTo>
                      <a:pt x="72" y="28"/>
                    </a:lnTo>
                    <a:lnTo>
                      <a:pt x="100" y="13"/>
                    </a:lnTo>
                    <a:lnTo>
                      <a:pt x="131" y="3"/>
                    </a:lnTo>
                    <a:lnTo>
                      <a:pt x="1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25" name="Freeform 40"/>
              <p:cNvSpPr>
                <a:spLocks/>
              </p:cNvSpPr>
              <p:nvPr/>
            </p:nvSpPr>
            <p:spPr bwMode="auto">
              <a:xfrm>
                <a:off x="12973051" y="3055938"/>
                <a:ext cx="79375" cy="204788"/>
              </a:xfrm>
              <a:custGeom>
                <a:avLst/>
                <a:gdLst>
                  <a:gd name="T0" fmla="*/ 124 w 247"/>
                  <a:gd name="T1" fmla="*/ 0 h 647"/>
                  <a:gd name="T2" fmla="*/ 152 w 247"/>
                  <a:gd name="T3" fmla="*/ 3 h 647"/>
                  <a:gd name="T4" fmla="*/ 178 w 247"/>
                  <a:gd name="T5" fmla="*/ 12 h 647"/>
                  <a:gd name="T6" fmla="*/ 201 w 247"/>
                  <a:gd name="T7" fmla="*/ 26 h 647"/>
                  <a:gd name="T8" fmla="*/ 220 w 247"/>
                  <a:gd name="T9" fmla="*/ 46 h 647"/>
                  <a:gd name="T10" fmla="*/ 235 w 247"/>
                  <a:gd name="T11" fmla="*/ 68 h 647"/>
                  <a:gd name="T12" fmla="*/ 244 w 247"/>
                  <a:gd name="T13" fmla="*/ 94 h 647"/>
                  <a:gd name="T14" fmla="*/ 247 w 247"/>
                  <a:gd name="T15" fmla="*/ 121 h 647"/>
                  <a:gd name="T16" fmla="*/ 247 w 247"/>
                  <a:gd name="T17" fmla="*/ 526 h 647"/>
                  <a:gd name="T18" fmla="*/ 244 w 247"/>
                  <a:gd name="T19" fmla="*/ 555 h 647"/>
                  <a:gd name="T20" fmla="*/ 235 w 247"/>
                  <a:gd name="T21" fmla="*/ 580 h 647"/>
                  <a:gd name="T22" fmla="*/ 220 w 247"/>
                  <a:gd name="T23" fmla="*/ 603 h 647"/>
                  <a:gd name="T24" fmla="*/ 201 w 247"/>
                  <a:gd name="T25" fmla="*/ 621 h 647"/>
                  <a:gd name="T26" fmla="*/ 178 w 247"/>
                  <a:gd name="T27" fmla="*/ 635 h 647"/>
                  <a:gd name="T28" fmla="*/ 152 w 247"/>
                  <a:gd name="T29" fmla="*/ 645 h 647"/>
                  <a:gd name="T30" fmla="*/ 124 w 247"/>
                  <a:gd name="T31" fmla="*/ 647 h 647"/>
                  <a:gd name="T32" fmla="*/ 95 w 247"/>
                  <a:gd name="T33" fmla="*/ 645 h 647"/>
                  <a:gd name="T34" fmla="*/ 69 w 247"/>
                  <a:gd name="T35" fmla="*/ 635 h 647"/>
                  <a:gd name="T36" fmla="*/ 46 w 247"/>
                  <a:gd name="T37" fmla="*/ 621 h 647"/>
                  <a:gd name="T38" fmla="*/ 27 w 247"/>
                  <a:gd name="T39" fmla="*/ 603 h 647"/>
                  <a:gd name="T40" fmla="*/ 13 w 247"/>
                  <a:gd name="T41" fmla="*/ 580 h 647"/>
                  <a:gd name="T42" fmla="*/ 3 w 247"/>
                  <a:gd name="T43" fmla="*/ 555 h 647"/>
                  <a:gd name="T44" fmla="*/ 0 w 247"/>
                  <a:gd name="T45" fmla="*/ 526 h 647"/>
                  <a:gd name="T46" fmla="*/ 0 w 247"/>
                  <a:gd name="T47" fmla="*/ 121 h 647"/>
                  <a:gd name="T48" fmla="*/ 3 w 247"/>
                  <a:gd name="T49" fmla="*/ 94 h 647"/>
                  <a:gd name="T50" fmla="*/ 13 w 247"/>
                  <a:gd name="T51" fmla="*/ 68 h 647"/>
                  <a:gd name="T52" fmla="*/ 27 w 247"/>
                  <a:gd name="T53" fmla="*/ 46 h 647"/>
                  <a:gd name="T54" fmla="*/ 46 w 247"/>
                  <a:gd name="T55" fmla="*/ 26 h 647"/>
                  <a:gd name="T56" fmla="*/ 69 w 247"/>
                  <a:gd name="T57" fmla="*/ 12 h 647"/>
                  <a:gd name="T58" fmla="*/ 95 w 247"/>
                  <a:gd name="T59" fmla="*/ 3 h 647"/>
                  <a:gd name="T60" fmla="*/ 124 w 247"/>
                  <a:gd name="T61" fmla="*/ 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7" h="647">
                    <a:moveTo>
                      <a:pt x="124" y="0"/>
                    </a:moveTo>
                    <a:lnTo>
                      <a:pt x="152" y="3"/>
                    </a:lnTo>
                    <a:lnTo>
                      <a:pt x="178" y="12"/>
                    </a:lnTo>
                    <a:lnTo>
                      <a:pt x="201" y="26"/>
                    </a:lnTo>
                    <a:lnTo>
                      <a:pt x="220" y="46"/>
                    </a:lnTo>
                    <a:lnTo>
                      <a:pt x="235" y="68"/>
                    </a:lnTo>
                    <a:lnTo>
                      <a:pt x="244" y="94"/>
                    </a:lnTo>
                    <a:lnTo>
                      <a:pt x="247" y="121"/>
                    </a:lnTo>
                    <a:lnTo>
                      <a:pt x="247" y="526"/>
                    </a:lnTo>
                    <a:lnTo>
                      <a:pt x="244" y="555"/>
                    </a:lnTo>
                    <a:lnTo>
                      <a:pt x="235" y="580"/>
                    </a:lnTo>
                    <a:lnTo>
                      <a:pt x="220" y="603"/>
                    </a:lnTo>
                    <a:lnTo>
                      <a:pt x="201" y="621"/>
                    </a:lnTo>
                    <a:lnTo>
                      <a:pt x="178" y="635"/>
                    </a:lnTo>
                    <a:lnTo>
                      <a:pt x="152" y="645"/>
                    </a:lnTo>
                    <a:lnTo>
                      <a:pt x="124" y="647"/>
                    </a:lnTo>
                    <a:lnTo>
                      <a:pt x="95" y="645"/>
                    </a:lnTo>
                    <a:lnTo>
                      <a:pt x="69" y="635"/>
                    </a:lnTo>
                    <a:lnTo>
                      <a:pt x="46" y="621"/>
                    </a:lnTo>
                    <a:lnTo>
                      <a:pt x="27" y="603"/>
                    </a:lnTo>
                    <a:lnTo>
                      <a:pt x="13" y="580"/>
                    </a:lnTo>
                    <a:lnTo>
                      <a:pt x="3" y="555"/>
                    </a:lnTo>
                    <a:lnTo>
                      <a:pt x="0" y="526"/>
                    </a:lnTo>
                    <a:lnTo>
                      <a:pt x="0" y="121"/>
                    </a:lnTo>
                    <a:lnTo>
                      <a:pt x="3" y="94"/>
                    </a:lnTo>
                    <a:lnTo>
                      <a:pt x="13" y="68"/>
                    </a:lnTo>
                    <a:lnTo>
                      <a:pt x="27" y="46"/>
                    </a:lnTo>
                    <a:lnTo>
                      <a:pt x="46" y="26"/>
                    </a:lnTo>
                    <a:lnTo>
                      <a:pt x="69" y="12"/>
                    </a:lnTo>
                    <a:lnTo>
                      <a:pt x="95" y="3"/>
                    </a:lnTo>
                    <a:lnTo>
                      <a:pt x="1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26" name="Freeform 41"/>
              <p:cNvSpPr>
                <a:spLocks/>
              </p:cNvSpPr>
              <p:nvPr/>
            </p:nvSpPr>
            <p:spPr bwMode="auto">
              <a:xfrm>
                <a:off x="13103226" y="3003550"/>
                <a:ext cx="79375" cy="257175"/>
              </a:xfrm>
              <a:custGeom>
                <a:avLst/>
                <a:gdLst>
                  <a:gd name="T0" fmla="*/ 124 w 247"/>
                  <a:gd name="T1" fmla="*/ 0 h 810"/>
                  <a:gd name="T2" fmla="*/ 152 w 247"/>
                  <a:gd name="T3" fmla="*/ 3 h 810"/>
                  <a:gd name="T4" fmla="*/ 179 w 247"/>
                  <a:gd name="T5" fmla="*/ 13 h 810"/>
                  <a:gd name="T6" fmla="*/ 201 w 247"/>
                  <a:gd name="T7" fmla="*/ 27 h 810"/>
                  <a:gd name="T8" fmla="*/ 221 w 247"/>
                  <a:gd name="T9" fmla="*/ 46 h 810"/>
                  <a:gd name="T10" fmla="*/ 235 w 247"/>
                  <a:gd name="T11" fmla="*/ 69 h 810"/>
                  <a:gd name="T12" fmla="*/ 244 w 247"/>
                  <a:gd name="T13" fmla="*/ 94 h 810"/>
                  <a:gd name="T14" fmla="*/ 247 w 247"/>
                  <a:gd name="T15" fmla="*/ 122 h 810"/>
                  <a:gd name="T16" fmla="*/ 247 w 247"/>
                  <a:gd name="T17" fmla="*/ 689 h 810"/>
                  <a:gd name="T18" fmla="*/ 244 w 247"/>
                  <a:gd name="T19" fmla="*/ 718 h 810"/>
                  <a:gd name="T20" fmla="*/ 235 w 247"/>
                  <a:gd name="T21" fmla="*/ 743 h 810"/>
                  <a:gd name="T22" fmla="*/ 221 w 247"/>
                  <a:gd name="T23" fmla="*/ 766 h 810"/>
                  <a:gd name="T24" fmla="*/ 201 w 247"/>
                  <a:gd name="T25" fmla="*/ 784 h 810"/>
                  <a:gd name="T26" fmla="*/ 179 w 247"/>
                  <a:gd name="T27" fmla="*/ 798 h 810"/>
                  <a:gd name="T28" fmla="*/ 152 w 247"/>
                  <a:gd name="T29" fmla="*/ 808 h 810"/>
                  <a:gd name="T30" fmla="*/ 124 w 247"/>
                  <a:gd name="T31" fmla="*/ 810 h 810"/>
                  <a:gd name="T32" fmla="*/ 95 w 247"/>
                  <a:gd name="T33" fmla="*/ 808 h 810"/>
                  <a:gd name="T34" fmla="*/ 70 w 247"/>
                  <a:gd name="T35" fmla="*/ 798 h 810"/>
                  <a:gd name="T36" fmla="*/ 47 w 247"/>
                  <a:gd name="T37" fmla="*/ 784 h 810"/>
                  <a:gd name="T38" fmla="*/ 28 w 247"/>
                  <a:gd name="T39" fmla="*/ 766 h 810"/>
                  <a:gd name="T40" fmla="*/ 13 w 247"/>
                  <a:gd name="T41" fmla="*/ 743 h 810"/>
                  <a:gd name="T42" fmla="*/ 3 w 247"/>
                  <a:gd name="T43" fmla="*/ 718 h 810"/>
                  <a:gd name="T44" fmla="*/ 0 w 247"/>
                  <a:gd name="T45" fmla="*/ 689 h 810"/>
                  <a:gd name="T46" fmla="*/ 0 w 247"/>
                  <a:gd name="T47" fmla="*/ 122 h 810"/>
                  <a:gd name="T48" fmla="*/ 3 w 247"/>
                  <a:gd name="T49" fmla="*/ 94 h 810"/>
                  <a:gd name="T50" fmla="*/ 13 w 247"/>
                  <a:gd name="T51" fmla="*/ 69 h 810"/>
                  <a:gd name="T52" fmla="*/ 28 w 247"/>
                  <a:gd name="T53" fmla="*/ 46 h 810"/>
                  <a:gd name="T54" fmla="*/ 47 w 247"/>
                  <a:gd name="T55" fmla="*/ 27 h 810"/>
                  <a:gd name="T56" fmla="*/ 70 w 247"/>
                  <a:gd name="T57" fmla="*/ 13 h 810"/>
                  <a:gd name="T58" fmla="*/ 95 w 247"/>
                  <a:gd name="T59" fmla="*/ 3 h 810"/>
                  <a:gd name="T60" fmla="*/ 124 w 247"/>
                  <a:gd name="T61" fmla="*/ 0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7" h="810">
                    <a:moveTo>
                      <a:pt x="124" y="0"/>
                    </a:moveTo>
                    <a:lnTo>
                      <a:pt x="152" y="3"/>
                    </a:lnTo>
                    <a:lnTo>
                      <a:pt x="179" y="13"/>
                    </a:lnTo>
                    <a:lnTo>
                      <a:pt x="201" y="27"/>
                    </a:lnTo>
                    <a:lnTo>
                      <a:pt x="221" y="46"/>
                    </a:lnTo>
                    <a:lnTo>
                      <a:pt x="235" y="69"/>
                    </a:lnTo>
                    <a:lnTo>
                      <a:pt x="244" y="94"/>
                    </a:lnTo>
                    <a:lnTo>
                      <a:pt x="247" y="122"/>
                    </a:lnTo>
                    <a:lnTo>
                      <a:pt x="247" y="689"/>
                    </a:lnTo>
                    <a:lnTo>
                      <a:pt x="244" y="718"/>
                    </a:lnTo>
                    <a:lnTo>
                      <a:pt x="235" y="743"/>
                    </a:lnTo>
                    <a:lnTo>
                      <a:pt x="221" y="766"/>
                    </a:lnTo>
                    <a:lnTo>
                      <a:pt x="201" y="784"/>
                    </a:lnTo>
                    <a:lnTo>
                      <a:pt x="179" y="798"/>
                    </a:lnTo>
                    <a:lnTo>
                      <a:pt x="152" y="808"/>
                    </a:lnTo>
                    <a:lnTo>
                      <a:pt x="124" y="810"/>
                    </a:lnTo>
                    <a:lnTo>
                      <a:pt x="95" y="808"/>
                    </a:lnTo>
                    <a:lnTo>
                      <a:pt x="70" y="798"/>
                    </a:lnTo>
                    <a:lnTo>
                      <a:pt x="47" y="784"/>
                    </a:lnTo>
                    <a:lnTo>
                      <a:pt x="28" y="766"/>
                    </a:lnTo>
                    <a:lnTo>
                      <a:pt x="13" y="743"/>
                    </a:lnTo>
                    <a:lnTo>
                      <a:pt x="3" y="718"/>
                    </a:lnTo>
                    <a:lnTo>
                      <a:pt x="0" y="689"/>
                    </a:lnTo>
                    <a:lnTo>
                      <a:pt x="0" y="122"/>
                    </a:lnTo>
                    <a:lnTo>
                      <a:pt x="3" y="94"/>
                    </a:lnTo>
                    <a:lnTo>
                      <a:pt x="13" y="69"/>
                    </a:lnTo>
                    <a:lnTo>
                      <a:pt x="28" y="46"/>
                    </a:lnTo>
                    <a:lnTo>
                      <a:pt x="47" y="27"/>
                    </a:lnTo>
                    <a:lnTo>
                      <a:pt x="70" y="13"/>
                    </a:lnTo>
                    <a:lnTo>
                      <a:pt x="95" y="3"/>
                    </a:lnTo>
                    <a:lnTo>
                      <a:pt x="1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27" name="Freeform 42"/>
              <p:cNvSpPr>
                <a:spLocks/>
              </p:cNvSpPr>
              <p:nvPr/>
            </p:nvSpPr>
            <p:spPr bwMode="auto">
              <a:xfrm>
                <a:off x="13234988" y="2952750"/>
                <a:ext cx="77788" cy="307975"/>
              </a:xfrm>
              <a:custGeom>
                <a:avLst/>
                <a:gdLst>
                  <a:gd name="T0" fmla="*/ 123 w 246"/>
                  <a:gd name="T1" fmla="*/ 0 h 971"/>
                  <a:gd name="T2" fmla="*/ 151 w 246"/>
                  <a:gd name="T3" fmla="*/ 3 h 971"/>
                  <a:gd name="T4" fmla="*/ 177 w 246"/>
                  <a:gd name="T5" fmla="*/ 12 h 971"/>
                  <a:gd name="T6" fmla="*/ 199 w 246"/>
                  <a:gd name="T7" fmla="*/ 26 h 971"/>
                  <a:gd name="T8" fmla="*/ 219 w 246"/>
                  <a:gd name="T9" fmla="*/ 45 h 971"/>
                  <a:gd name="T10" fmla="*/ 234 w 246"/>
                  <a:gd name="T11" fmla="*/ 67 h 971"/>
                  <a:gd name="T12" fmla="*/ 243 w 246"/>
                  <a:gd name="T13" fmla="*/ 93 h 971"/>
                  <a:gd name="T14" fmla="*/ 246 w 246"/>
                  <a:gd name="T15" fmla="*/ 121 h 971"/>
                  <a:gd name="T16" fmla="*/ 246 w 246"/>
                  <a:gd name="T17" fmla="*/ 850 h 971"/>
                  <a:gd name="T18" fmla="*/ 243 w 246"/>
                  <a:gd name="T19" fmla="*/ 879 h 971"/>
                  <a:gd name="T20" fmla="*/ 234 w 246"/>
                  <a:gd name="T21" fmla="*/ 904 h 971"/>
                  <a:gd name="T22" fmla="*/ 219 w 246"/>
                  <a:gd name="T23" fmla="*/ 927 h 971"/>
                  <a:gd name="T24" fmla="*/ 199 w 246"/>
                  <a:gd name="T25" fmla="*/ 945 h 971"/>
                  <a:gd name="T26" fmla="*/ 177 w 246"/>
                  <a:gd name="T27" fmla="*/ 959 h 971"/>
                  <a:gd name="T28" fmla="*/ 151 w 246"/>
                  <a:gd name="T29" fmla="*/ 969 h 971"/>
                  <a:gd name="T30" fmla="*/ 123 w 246"/>
                  <a:gd name="T31" fmla="*/ 971 h 971"/>
                  <a:gd name="T32" fmla="*/ 94 w 246"/>
                  <a:gd name="T33" fmla="*/ 969 h 971"/>
                  <a:gd name="T34" fmla="*/ 68 w 246"/>
                  <a:gd name="T35" fmla="*/ 959 h 971"/>
                  <a:gd name="T36" fmla="*/ 45 w 246"/>
                  <a:gd name="T37" fmla="*/ 945 h 971"/>
                  <a:gd name="T38" fmla="*/ 26 w 246"/>
                  <a:gd name="T39" fmla="*/ 927 h 971"/>
                  <a:gd name="T40" fmla="*/ 12 w 246"/>
                  <a:gd name="T41" fmla="*/ 904 h 971"/>
                  <a:gd name="T42" fmla="*/ 3 w 246"/>
                  <a:gd name="T43" fmla="*/ 879 h 971"/>
                  <a:gd name="T44" fmla="*/ 0 w 246"/>
                  <a:gd name="T45" fmla="*/ 850 h 971"/>
                  <a:gd name="T46" fmla="*/ 0 w 246"/>
                  <a:gd name="T47" fmla="*/ 121 h 971"/>
                  <a:gd name="T48" fmla="*/ 3 w 246"/>
                  <a:gd name="T49" fmla="*/ 93 h 971"/>
                  <a:gd name="T50" fmla="*/ 12 w 246"/>
                  <a:gd name="T51" fmla="*/ 67 h 971"/>
                  <a:gd name="T52" fmla="*/ 26 w 246"/>
                  <a:gd name="T53" fmla="*/ 45 h 971"/>
                  <a:gd name="T54" fmla="*/ 45 w 246"/>
                  <a:gd name="T55" fmla="*/ 26 h 971"/>
                  <a:gd name="T56" fmla="*/ 68 w 246"/>
                  <a:gd name="T57" fmla="*/ 12 h 971"/>
                  <a:gd name="T58" fmla="*/ 94 w 246"/>
                  <a:gd name="T59" fmla="*/ 3 h 971"/>
                  <a:gd name="T60" fmla="*/ 123 w 246"/>
                  <a:gd name="T61" fmla="*/ 0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6" h="971">
                    <a:moveTo>
                      <a:pt x="123" y="0"/>
                    </a:moveTo>
                    <a:lnTo>
                      <a:pt x="151" y="3"/>
                    </a:lnTo>
                    <a:lnTo>
                      <a:pt x="177" y="12"/>
                    </a:lnTo>
                    <a:lnTo>
                      <a:pt x="199" y="26"/>
                    </a:lnTo>
                    <a:lnTo>
                      <a:pt x="219" y="45"/>
                    </a:lnTo>
                    <a:lnTo>
                      <a:pt x="234" y="67"/>
                    </a:lnTo>
                    <a:lnTo>
                      <a:pt x="243" y="93"/>
                    </a:lnTo>
                    <a:lnTo>
                      <a:pt x="246" y="121"/>
                    </a:lnTo>
                    <a:lnTo>
                      <a:pt x="246" y="850"/>
                    </a:lnTo>
                    <a:lnTo>
                      <a:pt x="243" y="879"/>
                    </a:lnTo>
                    <a:lnTo>
                      <a:pt x="234" y="904"/>
                    </a:lnTo>
                    <a:lnTo>
                      <a:pt x="219" y="927"/>
                    </a:lnTo>
                    <a:lnTo>
                      <a:pt x="199" y="945"/>
                    </a:lnTo>
                    <a:lnTo>
                      <a:pt x="177" y="959"/>
                    </a:lnTo>
                    <a:lnTo>
                      <a:pt x="151" y="969"/>
                    </a:lnTo>
                    <a:lnTo>
                      <a:pt x="123" y="971"/>
                    </a:lnTo>
                    <a:lnTo>
                      <a:pt x="94" y="969"/>
                    </a:lnTo>
                    <a:lnTo>
                      <a:pt x="68" y="959"/>
                    </a:lnTo>
                    <a:lnTo>
                      <a:pt x="45" y="945"/>
                    </a:lnTo>
                    <a:lnTo>
                      <a:pt x="26" y="927"/>
                    </a:lnTo>
                    <a:lnTo>
                      <a:pt x="12" y="904"/>
                    </a:lnTo>
                    <a:lnTo>
                      <a:pt x="3" y="879"/>
                    </a:lnTo>
                    <a:lnTo>
                      <a:pt x="0" y="850"/>
                    </a:lnTo>
                    <a:lnTo>
                      <a:pt x="0" y="121"/>
                    </a:lnTo>
                    <a:lnTo>
                      <a:pt x="3" y="93"/>
                    </a:lnTo>
                    <a:lnTo>
                      <a:pt x="12" y="67"/>
                    </a:lnTo>
                    <a:lnTo>
                      <a:pt x="26" y="45"/>
                    </a:lnTo>
                    <a:lnTo>
                      <a:pt x="45" y="26"/>
                    </a:lnTo>
                    <a:lnTo>
                      <a:pt x="68" y="12"/>
                    </a:lnTo>
                    <a:lnTo>
                      <a:pt x="94" y="3"/>
                    </a:lnTo>
                    <a:lnTo>
                      <a:pt x="1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28" name="Freeform 43"/>
              <p:cNvSpPr>
                <a:spLocks/>
              </p:cNvSpPr>
              <p:nvPr/>
            </p:nvSpPr>
            <p:spPr bwMode="auto">
              <a:xfrm>
                <a:off x="12790488" y="2682875"/>
                <a:ext cx="1149350" cy="746125"/>
              </a:xfrm>
              <a:custGeom>
                <a:avLst/>
                <a:gdLst>
                  <a:gd name="T0" fmla="*/ 3457 w 3621"/>
                  <a:gd name="T1" fmla="*/ 0 h 2350"/>
                  <a:gd name="T2" fmla="*/ 3521 w 3621"/>
                  <a:gd name="T3" fmla="*/ 12 h 2350"/>
                  <a:gd name="T4" fmla="*/ 3573 w 3621"/>
                  <a:gd name="T5" fmla="*/ 47 h 2350"/>
                  <a:gd name="T6" fmla="*/ 3609 w 3621"/>
                  <a:gd name="T7" fmla="*/ 98 h 2350"/>
                  <a:gd name="T8" fmla="*/ 3621 w 3621"/>
                  <a:gd name="T9" fmla="*/ 161 h 2350"/>
                  <a:gd name="T10" fmla="*/ 3400 w 3621"/>
                  <a:gd name="T11" fmla="*/ 1781 h 2350"/>
                  <a:gd name="T12" fmla="*/ 3463 w 3621"/>
                  <a:gd name="T13" fmla="*/ 1647 h 2350"/>
                  <a:gd name="T14" fmla="*/ 3501 w 3621"/>
                  <a:gd name="T15" fmla="*/ 1504 h 2350"/>
                  <a:gd name="T16" fmla="*/ 3515 w 3621"/>
                  <a:gd name="T17" fmla="*/ 1356 h 2350"/>
                  <a:gd name="T18" fmla="*/ 3503 w 3621"/>
                  <a:gd name="T19" fmla="*/ 1215 h 2350"/>
                  <a:gd name="T20" fmla="*/ 3469 w 3621"/>
                  <a:gd name="T21" fmla="*/ 1080 h 2350"/>
                  <a:gd name="T22" fmla="*/ 3414 w 3621"/>
                  <a:gd name="T23" fmla="*/ 953 h 2350"/>
                  <a:gd name="T24" fmla="*/ 3337 w 3621"/>
                  <a:gd name="T25" fmla="*/ 835 h 2350"/>
                  <a:gd name="T26" fmla="*/ 3292 w 3621"/>
                  <a:gd name="T27" fmla="*/ 324 h 2350"/>
                  <a:gd name="T28" fmla="*/ 329 w 3621"/>
                  <a:gd name="T29" fmla="*/ 2026 h 2350"/>
                  <a:gd name="T30" fmla="*/ 2123 w 3621"/>
                  <a:gd name="T31" fmla="*/ 2067 h 2350"/>
                  <a:gd name="T32" fmla="*/ 2238 w 3621"/>
                  <a:gd name="T33" fmla="*/ 2135 h 2350"/>
                  <a:gd name="T34" fmla="*/ 2362 w 3621"/>
                  <a:gd name="T35" fmla="*/ 2185 h 2350"/>
                  <a:gd name="T36" fmla="*/ 2494 w 3621"/>
                  <a:gd name="T37" fmla="*/ 2216 h 2350"/>
                  <a:gd name="T38" fmla="*/ 2631 w 3621"/>
                  <a:gd name="T39" fmla="*/ 2225 h 2350"/>
                  <a:gd name="T40" fmla="*/ 2782 w 3621"/>
                  <a:gd name="T41" fmla="*/ 2212 h 2350"/>
                  <a:gd name="T42" fmla="*/ 2927 w 3621"/>
                  <a:gd name="T43" fmla="*/ 2175 h 2350"/>
                  <a:gd name="T44" fmla="*/ 3063 w 3621"/>
                  <a:gd name="T45" fmla="*/ 2113 h 2350"/>
                  <a:gd name="T46" fmla="*/ 3296 w 3621"/>
                  <a:gd name="T47" fmla="*/ 2342 h 2350"/>
                  <a:gd name="T48" fmla="*/ 3306 w 3621"/>
                  <a:gd name="T49" fmla="*/ 2350 h 2350"/>
                  <a:gd name="T50" fmla="*/ 132 w 3621"/>
                  <a:gd name="T51" fmla="*/ 2347 h 2350"/>
                  <a:gd name="T52" fmla="*/ 73 w 3621"/>
                  <a:gd name="T53" fmla="*/ 2323 h 2350"/>
                  <a:gd name="T54" fmla="*/ 28 w 3621"/>
                  <a:gd name="T55" fmla="*/ 2278 h 2350"/>
                  <a:gd name="T56" fmla="*/ 3 w 3621"/>
                  <a:gd name="T57" fmla="*/ 2220 h 2350"/>
                  <a:gd name="T58" fmla="*/ 0 w 3621"/>
                  <a:gd name="T59" fmla="*/ 161 h 2350"/>
                  <a:gd name="T60" fmla="*/ 13 w 3621"/>
                  <a:gd name="T61" fmla="*/ 99 h 2350"/>
                  <a:gd name="T62" fmla="*/ 49 w 3621"/>
                  <a:gd name="T63" fmla="*/ 47 h 2350"/>
                  <a:gd name="T64" fmla="*/ 101 w 3621"/>
                  <a:gd name="T65" fmla="*/ 12 h 2350"/>
                  <a:gd name="T66" fmla="*/ 165 w 3621"/>
                  <a:gd name="T67" fmla="*/ 0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21" h="2350">
                    <a:moveTo>
                      <a:pt x="165" y="0"/>
                    </a:moveTo>
                    <a:lnTo>
                      <a:pt x="3457" y="0"/>
                    </a:lnTo>
                    <a:lnTo>
                      <a:pt x="3490" y="3"/>
                    </a:lnTo>
                    <a:lnTo>
                      <a:pt x="3521" y="12"/>
                    </a:lnTo>
                    <a:lnTo>
                      <a:pt x="3549" y="27"/>
                    </a:lnTo>
                    <a:lnTo>
                      <a:pt x="3573" y="47"/>
                    </a:lnTo>
                    <a:lnTo>
                      <a:pt x="3593" y="71"/>
                    </a:lnTo>
                    <a:lnTo>
                      <a:pt x="3609" y="98"/>
                    </a:lnTo>
                    <a:lnTo>
                      <a:pt x="3618" y="129"/>
                    </a:lnTo>
                    <a:lnTo>
                      <a:pt x="3621" y="161"/>
                    </a:lnTo>
                    <a:lnTo>
                      <a:pt x="3621" y="1999"/>
                    </a:lnTo>
                    <a:lnTo>
                      <a:pt x="3400" y="1781"/>
                    </a:lnTo>
                    <a:lnTo>
                      <a:pt x="3435" y="1715"/>
                    </a:lnTo>
                    <a:lnTo>
                      <a:pt x="3463" y="1647"/>
                    </a:lnTo>
                    <a:lnTo>
                      <a:pt x="3485" y="1577"/>
                    </a:lnTo>
                    <a:lnTo>
                      <a:pt x="3501" y="1504"/>
                    </a:lnTo>
                    <a:lnTo>
                      <a:pt x="3511" y="1430"/>
                    </a:lnTo>
                    <a:lnTo>
                      <a:pt x="3515" y="1356"/>
                    </a:lnTo>
                    <a:lnTo>
                      <a:pt x="3511" y="1285"/>
                    </a:lnTo>
                    <a:lnTo>
                      <a:pt x="3503" y="1215"/>
                    </a:lnTo>
                    <a:lnTo>
                      <a:pt x="3488" y="1146"/>
                    </a:lnTo>
                    <a:lnTo>
                      <a:pt x="3469" y="1080"/>
                    </a:lnTo>
                    <a:lnTo>
                      <a:pt x="3444" y="1015"/>
                    </a:lnTo>
                    <a:lnTo>
                      <a:pt x="3414" y="953"/>
                    </a:lnTo>
                    <a:lnTo>
                      <a:pt x="3378" y="892"/>
                    </a:lnTo>
                    <a:lnTo>
                      <a:pt x="3337" y="835"/>
                    </a:lnTo>
                    <a:lnTo>
                      <a:pt x="3292" y="781"/>
                    </a:lnTo>
                    <a:lnTo>
                      <a:pt x="3292" y="324"/>
                    </a:lnTo>
                    <a:lnTo>
                      <a:pt x="329" y="324"/>
                    </a:lnTo>
                    <a:lnTo>
                      <a:pt x="329" y="2026"/>
                    </a:lnTo>
                    <a:lnTo>
                      <a:pt x="2068" y="2026"/>
                    </a:lnTo>
                    <a:lnTo>
                      <a:pt x="2123" y="2067"/>
                    </a:lnTo>
                    <a:lnTo>
                      <a:pt x="2179" y="2103"/>
                    </a:lnTo>
                    <a:lnTo>
                      <a:pt x="2238" y="2135"/>
                    </a:lnTo>
                    <a:lnTo>
                      <a:pt x="2299" y="2162"/>
                    </a:lnTo>
                    <a:lnTo>
                      <a:pt x="2362" y="2185"/>
                    </a:lnTo>
                    <a:lnTo>
                      <a:pt x="2428" y="2203"/>
                    </a:lnTo>
                    <a:lnTo>
                      <a:pt x="2494" y="2216"/>
                    </a:lnTo>
                    <a:lnTo>
                      <a:pt x="2562" y="2223"/>
                    </a:lnTo>
                    <a:lnTo>
                      <a:pt x="2631" y="2225"/>
                    </a:lnTo>
                    <a:lnTo>
                      <a:pt x="2707" y="2222"/>
                    </a:lnTo>
                    <a:lnTo>
                      <a:pt x="2782" y="2212"/>
                    </a:lnTo>
                    <a:lnTo>
                      <a:pt x="2855" y="2197"/>
                    </a:lnTo>
                    <a:lnTo>
                      <a:pt x="2927" y="2175"/>
                    </a:lnTo>
                    <a:lnTo>
                      <a:pt x="2997" y="2147"/>
                    </a:lnTo>
                    <a:lnTo>
                      <a:pt x="3063" y="2113"/>
                    </a:lnTo>
                    <a:lnTo>
                      <a:pt x="3292" y="2338"/>
                    </a:lnTo>
                    <a:lnTo>
                      <a:pt x="3296" y="2342"/>
                    </a:lnTo>
                    <a:lnTo>
                      <a:pt x="3302" y="2346"/>
                    </a:lnTo>
                    <a:lnTo>
                      <a:pt x="3306" y="2350"/>
                    </a:lnTo>
                    <a:lnTo>
                      <a:pt x="165" y="2350"/>
                    </a:lnTo>
                    <a:lnTo>
                      <a:pt x="132" y="2347"/>
                    </a:lnTo>
                    <a:lnTo>
                      <a:pt x="101" y="2337"/>
                    </a:lnTo>
                    <a:lnTo>
                      <a:pt x="73" y="2323"/>
                    </a:lnTo>
                    <a:lnTo>
                      <a:pt x="49" y="2302"/>
                    </a:lnTo>
                    <a:lnTo>
                      <a:pt x="28" y="2278"/>
                    </a:lnTo>
                    <a:lnTo>
                      <a:pt x="13" y="2251"/>
                    </a:lnTo>
                    <a:lnTo>
                      <a:pt x="3" y="2220"/>
                    </a:lnTo>
                    <a:lnTo>
                      <a:pt x="0" y="2188"/>
                    </a:lnTo>
                    <a:lnTo>
                      <a:pt x="0" y="161"/>
                    </a:lnTo>
                    <a:lnTo>
                      <a:pt x="3" y="129"/>
                    </a:lnTo>
                    <a:lnTo>
                      <a:pt x="13" y="99"/>
                    </a:lnTo>
                    <a:lnTo>
                      <a:pt x="28" y="71"/>
                    </a:lnTo>
                    <a:lnTo>
                      <a:pt x="49" y="47"/>
                    </a:lnTo>
                    <a:lnTo>
                      <a:pt x="73" y="27"/>
                    </a:lnTo>
                    <a:lnTo>
                      <a:pt x="101" y="12"/>
                    </a:lnTo>
                    <a:lnTo>
                      <a:pt x="132" y="3"/>
                    </a:lnTo>
                    <a:lnTo>
                      <a:pt x="1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29" name="Freeform 44"/>
              <p:cNvSpPr>
                <a:spLocks noEditPoints="1"/>
              </p:cNvSpPr>
              <p:nvPr/>
            </p:nvSpPr>
            <p:spPr bwMode="auto">
              <a:xfrm>
                <a:off x="13396913" y="2887663"/>
                <a:ext cx="515938" cy="508000"/>
              </a:xfrm>
              <a:custGeom>
                <a:avLst/>
                <a:gdLst>
                  <a:gd name="T0" fmla="*/ 607 w 1622"/>
                  <a:gd name="T1" fmla="*/ 157 h 1596"/>
                  <a:gd name="T2" fmla="*/ 450 w 1622"/>
                  <a:gd name="T3" fmla="*/ 211 h 1596"/>
                  <a:gd name="T4" fmla="*/ 315 w 1622"/>
                  <a:gd name="T5" fmla="*/ 311 h 1596"/>
                  <a:gd name="T6" fmla="*/ 215 w 1622"/>
                  <a:gd name="T7" fmla="*/ 443 h 1596"/>
                  <a:gd name="T8" fmla="*/ 159 w 1622"/>
                  <a:gd name="T9" fmla="*/ 598 h 1596"/>
                  <a:gd name="T10" fmla="*/ 151 w 1622"/>
                  <a:gd name="T11" fmla="*/ 764 h 1596"/>
                  <a:gd name="T12" fmla="*/ 191 w 1622"/>
                  <a:gd name="T13" fmla="*/ 923 h 1596"/>
                  <a:gd name="T14" fmla="*/ 277 w 1622"/>
                  <a:gd name="T15" fmla="*/ 1064 h 1596"/>
                  <a:gd name="T16" fmla="*/ 403 w 1622"/>
                  <a:gd name="T17" fmla="*/ 1176 h 1596"/>
                  <a:gd name="T18" fmla="*/ 552 w 1622"/>
                  <a:gd name="T19" fmla="*/ 1247 h 1596"/>
                  <a:gd name="T20" fmla="*/ 719 w 1622"/>
                  <a:gd name="T21" fmla="*/ 1271 h 1596"/>
                  <a:gd name="T22" fmla="*/ 885 w 1622"/>
                  <a:gd name="T23" fmla="*/ 1247 h 1596"/>
                  <a:gd name="T24" fmla="*/ 1036 w 1622"/>
                  <a:gd name="T25" fmla="*/ 1176 h 1596"/>
                  <a:gd name="T26" fmla="*/ 1161 w 1622"/>
                  <a:gd name="T27" fmla="*/ 1064 h 1596"/>
                  <a:gd name="T28" fmla="*/ 1247 w 1622"/>
                  <a:gd name="T29" fmla="*/ 923 h 1596"/>
                  <a:gd name="T30" fmla="*/ 1288 w 1622"/>
                  <a:gd name="T31" fmla="*/ 764 h 1596"/>
                  <a:gd name="T32" fmla="*/ 1279 w 1622"/>
                  <a:gd name="T33" fmla="*/ 598 h 1596"/>
                  <a:gd name="T34" fmla="*/ 1223 w 1622"/>
                  <a:gd name="T35" fmla="*/ 443 h 1596"/>
                  <a:gd name="T36" fmla="*/ 1124 w 1622"/>
                  <a:gd name="T37" fmla="*/ 311 h 1596"/>
                  <a:gd name="T38" fmla="*/ 988 w 1622"/>
                  <a:gd name="T39" fmla="*/ 211 h 1596"/>
                  <a:gd name="T40" fmla="*/ 832 w 1622"/>
                  <a:gd name="T41" fmla="*/ 157 h 1596"/>
                  <a:gd name="T42" fmla="*/ 719 w 1622"/>
                  <a:gd name="T43" fmla="*/ 0 h 1596"/>
                  <a:gd name="T44" fmla="*/ 906 w 1622"/>
                  <a:gd name="T45" fmla="*/ 24 h 1596"/>
                  <a:gd name="T46" fmla="*/ 1078 w 1622"/>
                  <a:gd name="T47" fmla="*/ 94 h 1596"/>
                  <a:gd name="T48" fmla="*/ 1228 w 1622"/>
                  <a:gd name="T49" fmla="*/ 208 h 1596"/>
                  <a:gd name="T50" fmla="*/ 1342 w 1622"/>
                  <a:gd name="T51" fmla="*/ 354 h 1596"/>
                  <a:gd name="T52" fmla="*/ 1413 w 1622"/>
                  <a:gd name="T53" fmla="*/ 524 h 1596"/>
                  <a:gd name="T54" fmla="*/ 1437 w 1622"/>
                  <a:gd name="T55" fmla="*/ 708 h 1596"/>
                  <a:gd name="T56" fmla="*/ 1411 w 1622"/>
                  <a:gd name="T57" fmla="*/ 898 h 1596"/>
                  <a:gd name="T58" fmla="*/ 1335 w 1622"/>
                  <a:gd name="T59" fmla="*/ 1072 h 1596"/>
                  <a:gd name="T60" fmla="*/ 1292 w 1622"/>
                  <a:gd name="T61" fmla="*/ 1208 h 1596"/>
                  <a:gd name="T62" fmla="*/ 1340 w 1622"/>
                  <a:gd name="T63" fmla="*/ 1219 h 1596"/>
                  <a:gd name="T64" fmla="*/ 1613 w 1622"/>
                  <a:gd name="T65" fmla="*/ 1489 h 1596"/>
                  <a:gd name="T66" fmla="*/ 1619 w 1622"/>
                  <a:gd name="T67" fmla="*/ 1543 h 1596"/>
                  <a:gd name="T68" fmla="*/ 1585 w 1622"/>
                  <a:gd name="T69" fmla="*/ 1587 h 1596"/>
                  <a:gd name="T70" fmla="*/ 1530 w 1622"/>
                  <a:gd name="T71" fmla="*/ 1594 h 1596"/>
                  <a:gd name="T72" fmla="*/ 1249 w 1622"/>
                  <a:gd name="T73" fmla="*/ 1332 h 1596"/>
                  <a:gd name="T74" fmla="*/ 1228 w 1622"/>
                  <a:gd name="T75" fmla="*/ 1289 h 1596"/>
                  <a:gd name="T76" fmla="*/ 1142 w 1622"/>
                  <a:gd name="T77" fmla="*/ 1279 h 1596"/>
                  <a:gd name="T78" fmla="*/ 973 w 1622"/>
                  <a:gd name="T79" fmla="*/ 1370 h 1596"/>
                  <a:gd name="T80" fmla="*/ 784 w 1622"/>
                  <a:gd name="T81" fmla="*/ 1413 h 1596"/>
                  <a:gd name="T82" fmla="*/ 593 w 1622"/>
                  <a:gd name="T83" fmla="*/ 1405 h 1596"/>
                  <a:gd name="T84" fmla="*/ 416 w 1622"/>
                  <a:gd name="T85" fmla="*/ 1349 h 1596"/>
                  <a:gd name="T86" fmla="*/ 258 w 1622"/>
                  <a:gd name="T87" fmla="*/ 1251 h 1596"/>
                  <a:gd name="T88" fmla="*/ 130 w 1622"/>
                  <a:gd name="T89" fmla="*/ 1113 h 1596"/>
                  <a:gd name="T90" fmla="*/ 43 w 1622"/>
                  <a:gd name="T91" fmla="*/ 951 h 1596"/>
                  <a:gd name="T92" fmla="*/ 3 w 1622"/>
                  <a:gd name="T93" fmla="*/ 770 h 1596"/>
                  <a:gd name="T94" fmla="*/ 11 w 1622"/>
                  <a:gd name="T95" fmla="*/ 584 h 1596"/>
                  <a:gd name="T96" fmla="*/ 68 w 1622"/>
                  <a:gd name="T97" fmla="*/ 409 h 1596"/>
                  <a:gd name="T98" fmla="*/ 168 w 1622"/>
                  <a:gd name="T99" fmla="*/ 254 h 1596"/>
                  <a:gd name="T100" fmla="*/ 307 w 1622"/>
                  <a:gd name="T101" fmla="*/ 127 h 1596"/>
                  <a:gd name="T102" fmla="*/ 473 w 1622"/>
                  <a:gd name="T103" fmla="*/ 43 h 1596"/>
                  <a:gd name="T104" fmla="*/ 656 w 1622"/>
                  <a:gd name="T105" fmla="*/ 3 h 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22" h="1596">
                    <a:moveTo>
                      <a:pt x="719" y="146"/>
                    </a:moveTo>
                    <a:lnTo>
                      <a:pt x="662" y="148"/>
                    </a:lnTo>
                    <a:lnTo>
                      <a:pt x="607" y="157"/>
                    </a:lnTo>
                    <a:lnTo>
                      <a:pt x="552" y="170"/>
                    </a:lnTo>
                    <a:lnTo>
                      <a:pt x="500" y="188"/>
                    </a:lnTo>
                    <a:lnTo>
                      <a:pt x="450" y="211"/>
                    </a:lnTo>
                    <a:lnTo>
                      <a:pt x="403" y="240"/>
                    </a:lnTo>
                    <a:lnTo>
                      <a:pt x="357" y="272"/>
                    </a:lnTo>
                    <a:lnTo>
                      <a:pt x="315" y="311"/>
                    </a:lnTo>
                    <a:lnTo>
                      <a:pt x="277" y="352"/>
                    </a:lnTo>
                    <a:lnTo>
                      <a:pt x="244" y="396"/>
                    </a:lnTo>
                    <a:lnTo>
                      <a:pt x="215" y="443"/>
                    </a:lnTo>
                    <a:lnTo>
                      <a:pt x="191" y="493"/>
                    </a:lnTo>
                    <a:lnTo>
                      <a:pt x="172" y="544"/>
                    </a:lnTo>
                    <a:lnTo>
                      <a:pt x="159" y="598"/>
                    </a:lnTo>
                    <a:lnTo>
                      <a:pt x="151" y="652"/>
                    </a:lnTo>
                    <a:lnTo>
                      <a:pt x="148" y="708"/>
                    </a:lnTo>
                    <a:lnTo>
                      <a:pt x="151" y="764"/>
                    </a:lnTo>
                    <a:lnTo>
                      <a:pt x="159" y="818"/>
                    </a:lnTo>
                    <a:lnTo>
                      <a:pt x="172" y="872"/>
                    </a:lnTo>
                    <a:lnTo>
                      <a:pt x="191" y="923"/>
                    </a:lnTo>
                    <a:lnTo>
                      <a:pt x="215" y="972"/>
                    </a:lnTo>
                    <a:lnTo>
                      <a:pt x="244" y="1019"/>
                    </a:lnTo>
                    <a:lnTo>
                      <a:pt x="277" y="1064"/>
                    </a:lnTo>
                    <a:lnTo>
                      <a:pt x="315" y="1106"/>
                    </a:lnTo>
                    <a:lnTo>
                      <a:pt x="357" y="1143"/>
                    </a:lnTo>
                    <a:lnTo>
                      <a:pt x="403" y="1176"/>
                    </a:lnTo>
                    <a:lnTo>
                      <a:pt x="450" y="1204"/>
                    </a:lnTo>
                    <a:lnTo>
                      <a:pt x="500" y="1228"/>
                    </a:lnTo>
                    <a:lnTo>
                      <a:pt x="552" y="1247"/>
                    </a:lnTo>
                    <a:lnTo>
                      <a:pt x="607" y="1260"/>
                    </a:lnTo>
                    <a:lnTo>
                      <a:pt x="662" y="1267"/>
                    </a:lnTo>
                    <a:lnTo>
                      <a:pt x="719" y="1271"/>
                    </a:lnTo>
                    <a:lnTo>
                      <a:pt x="775" y="1267"/>
                    </a:lnTo>
                    <a:lnTo>
                      <a:pt x="832" y="1260"/>
                    </a:lnTo>
                    <a:lnTo>
                      <a:pt x="885" y="1247"/>
                    </a:lnTo>
                    <a:lnTo>
                      <a:pt x="938" y="1228"/>
                    </a:lnTo>
                    <a:lnTo>
                      <a:pt x="988" y="1204"/>
                    </a:lnTo>
                    <a:lnTo>
                      <a:pt x="1036" y="1176"/>
                    </a:lnTo>
                    <a:lnTo>
                      <a:pt x="1081" y="1143"/>
                    </a:lnTo>
                    <a:lnTo>
                      <a:pt x="1124" y="1106"/>
                    </a:lnTo>
                    <a:lnTo>
                      <a:pt x="1161" y="1064"/>
                    </a:lnTo>
                    <a:lnTo>
                      <a:pt x="1195" y="1019"/>
                    </a:lnTo>
                    <a:lnTo>
                      <a:pt x="1223" y="972"/>
                    </a:lnTo>
                    <a:lnTo>
                      <a:pt x="1247" y="923"/>
                    </a:lnTo>
                    <a:lnTo>
                      <a:pt x="1266" y="872"/>
                    </a:lnTo>
                    <a:lnTo>
                      <a:pt x="1279" y="818"/>
                    </a:lnTo>
                    <a:lnTo>
                      <a:pt x="1288" y="764"/>
                    </a:lnTo>
                    <a:lnTo>
                      <a:pt x="1290" y="708"/>
                    </a:lnTo>
                    <a:lnTo>
                      <a:pt x="1288" y="652"/>
                    </a:lnTo>
                    <a:lnTo>
                      <a:pt x="1279" y="598"/>
                    </a:lnTo>
                    <a:lnTo>
                      <a:pt x="1266" y="544"/>
                    </a:lnTo>
                    <a:lnTo>
                      <a:pt x="1247" y="493"/>
                    </a:lnTo>
                    <a:lnTo>
                      <a:pt x="1223" y="443"/>
                    </a:lnTo>
                    <a:lnTo>
                      <a:pt x="1195" y="396"/>
                    </a:lnTo>
                    <a:lnTo>
                      <a:pt x="1161" y="352"/>
                    </a:lnTo>
                    <a:lnTo>
                      <a:pt x="1124" y="311"/>
                    </a:lnTo>
                    <a:lnTo>
                      <a:pt x="1081" y="272"/>
                    </a:lnTo>
                    <a:lnTo>
                      <a:pt x="1036" y="240"/>
                    </a:lnTo>
                    <a:lnTo>
                      <a:pt x="988" y="211"/>
                    </a:lnTo>
                    <a:lnTo>
                      <a:pt x="938" y="188"/>
                    </a:lnTo>
                    <a:lnTo>
                      <a:pt x="885" y="170"/>
                    </a:lnTo>
                    <a:lnTo>
                      <a:pt x="832" y="157"/>
                    </a:lnTo>
                    <a:lnTo>
                      <a:pt x="775" y="148"/>
                    </a:lnTo>
                    <a:lnTo>
                      <a:pt x="719" y="146"/>
                    </a:lnTo>
                    <a:close/>
                    <a:moveTo>
                      <a:pt x="719" y="0"/>
                    </a:moveTo>
                    <a:lnTo>
                      <a:pt x="783" y="3"/>
                    </a:lnTo>
                    <a:lnTo>
                      <a:pt x="845" y="11"/>
                    </a:lnTo>
                    <a:lnTo>
                      <a:pt x="906" y="24"/>
                    </a:lnTo>
                    <a:lnTo>
                      <a:pt x="965" y="43"/>
                    </a:lnTo>
                    <a:lnTo>
                      <a:pt x="1023" y="66"/>
                    </a:lnTo>
                    <a:lnTo>
                      <a:pt x="1078" y="94"/>
                    </a:lnTo>
                    <a:lnTo>
                      <a:pt x="1130" y="127"/>
                    </a:lnTo>
                    <a:lnTo>
                      <a:pt x="1180" y="165"/>
                    </a:lnTo>
                    <a:lnTo>
                      <a:pt x="1228" y="208"/>
                    </a:lnTo>
                    <a:lnTo>
                      <a:pt x="1270" y="254"/>
                    </a:lnTo>
                    <a:lnTo>
                      <a:pt x="1309" y="303"/>
                    </a:lnTo>
                    <a:lnTo>
                      <a:pt x="1342" y="354"/>
                    </a:lnTo>
                    <a:lnTo>
                      <a:pt x="1371" y="409"/>
                    </a:lnTo>
                    <a:lnTo>
                      <a:pt x="1394" y="466"/>
                    </a:lnTo>
                    <a:lnTo>
                      <a:pt x="1413" y="524"/>
                    </a:lnTo>
                    <a:lnTo>
                      <a:pt x="1426" y="584"/>
                    </a:lnTo>
                    <a:lnTo>
                      <a:pt x="1435" y="645"/>
                    </a:lnTo>
                    <a:lnTo>
                      <a:pt x="1437" y="708"/>
                    </a:lnTo>
                    <a:lnTo>
                      <a:pt x="1434" y="773"/>
                    </a:lnTo>
                    <a:lnTo>
                      <a:pt x="1426" y="836"/>
                    </a:lnTo>
                    <a:lnTo>
                      <a:pt x="1411" y="898"/>
                    </a:lnTo>
                    <a:lnTo>
                      <a:pt x="1391" y="958"/>
                    </a:lnTo>
                    <a:lnTo>
                      <a:pt x="1365" y="1016"/>
                    </a:lnTo>
                    <a:lnTo>
                      <a:pt x="1335" y="1072"/>
                    </a:lnTo>
                    <a:lnTo>
                      <a:pt x="1299" y="1124"/>
                    </a:lnTo>
                    <a:lnTo>
                      <a:pt x="1258" y="1174"/>
                    </a:lnTo>
                    <a:lnTo>
                      <a:pt x="1292" y="1208"/>
                    </a:lnTo>
                    <a:lnTo>
                      <a:pt x="1309" y="1208"/>
                    </a:lnTo>
                    <a:lnTo>
                      <a:pt x="1324" y="1212"/>
                    </a:lnTo>
                    <a:lnTo>
                      <a:pt x="1340" y="1219"/>
                    </a:lnTo>
                    <a:lnTo>
                      <a:pt x="1353" y="1229"/>
                    </a:lnTo>
                    <a:lnTo>
                      <a:pt x="1600" y="1474"/>
                    </a:lnTo>
                    <a:lnTo>
                      <a:pt x="1613" y="1489"/>
                    </a:lnTo>
                    <a:lnTo>
                      <a:pt x="1619" y="1506"/>
                    </a:lnTo>
                    <a:lnTo>
                      <a:pt x="1622" y="1524"/>
                    </a:lnTo>
                    <a:lnTo>
                      <a:pt x="1619" y="1543"/>
                    </a:lnTo>
                    <a:lnTo>
                      <a:pt x="1613" y="1560"/>
                    </a:lnTo>
                    <a:lnTo>
                      <a:pt x="1600" y="1575"/>
                    </a:lnTo>
                    <a:lnTo>
                      <a:pt x="1585" y="1587"/>
                    </a:lnTo>
                    <a:lnTo>
                      <a:pt x="1567" y="1594"/>
                    </a:lnTo>
                    <a:lnTo>
                      <a:pt x="1548" y="1596"/>
                    </a:lnTo>
                    <a:lnTo>
                      <a:pt x="1530" y="1594"/>
                    </a:lnTo>
                    <a:lnTo>
                      <a:pt x="1512" y="1587"/>
                    </a:lnTo>
                    <a:lnTo>
                      <a:pt x="1496" y="1575"/>
                    </a:lnTo>
                    <a:lnTo>
                      <a:pt x="1249" y="1332"/>
                    </a:lnTo>
                    <a:lnTo>
                      <a:pt x="1238" y="1319"/>
                    </a:lnTo>
                    <a:lnTo>
                      <a:pt x="1231" y="1304"/>
                    </a:lnTo>
                    <a:lnTo>
                      <a:pt x="1228" y="1289"/>
                    </a:lnTo>
                    <a:lnTo>
                      <a:pt x="1228" y="1273"/>
                    </a:lnTo>
                    <a:lnTo>
                      <a:pt x="1193" y="1239"/>
                    </a:lnTo>
                    <a:lnTo>
                      <a:pt x="1142" y="1279"/>
                    </a:lnTo>
                    <a:lnTo>
                      <a:pt x="1088" y="1314"/>
                    </a:lnTo>
                    <a:lnTo>
                      <a:pt x="1032" y="1345"/>
                    </a:lnTo>
                    <a:lnTo>
                      <a:pt x="973" y="1370"/>
                    </a:lnTo>
                    <a:lnTo>
                      <a:pt x="912" y="1390"/>
                    </a:lnTo>
                    <a:lnTo>
                      <a:pt x="850" y="1404"/>
                    </a:lnTo>
                    <a:lnTo>
                      <a:pt x="784" y="1413"/>
                    </a:lnTo>
                    <a:lnTo>
                      <a:pt x="719" y="1416"/>
                    </a:lnTo>
                    <a:lnTo>
                      <a:pt x="656" y="1413"/>
                    </a:lnTo>
                    <a:lnTo>
                      <a:pt x="593" y="1405"/>
                    </a:lnTo>
                    <a:lnTo>
                      <a:pt x="532" y="1392"/>
                    </a:lnTo>
                    <a:lnTo>
                      <a:pt x="473" y="1373"/>
                    </a:lnTo>
                    <a:lnTo>
                      <a:pt x="416" y="1349"/>
                    </a:lnTo>
                    <a:lnTo>
                      <a:pt x="361" y="1322"/>
                    </a:lnTo>
                    <a:lnTo>
                      <a:pt x="307" y="1288"/>
                    </a:lnTo>
                    <a:lnTo>
                      <a:pt x="258" y="1251"/>
                    </a:lnTo>
                    <a:lnTo>
                      <a:pt x="211" y="1208"/>
                    </a:lnTo>
                    <a:lnTo>
                      <a:pt x="168" y="1162"/>
                    </a:lnTo>
                    <a:lnTo>
                      <a:pt x="130" y="1113"/>
                    </a:lnTo>
                    <a:lnTo>
                      <a:pt x="97" y="1061"/>
                    </a:lnTo>
                    <a:lnTo>
                      <a:pt x="68" y="1006"/>
                    </a:lnTo>
                    <a:lnTo>
                      <a:pt x="43" y="951"/>
                    </a:lnTo>
                    <a:lnTo>
                      <a:pt x="24" y="892"/>
                    </a:lnTo>
                    <a:lnTo>
                      <a:pt x="11" y="832"/>
                    </a:lnTo>
                    <a:lnTo>
                      <a:pt x="3" y="770"/>
                    </a:lnTo>
                    <a:lnTo>
                      <a:pt x="0" y="708"/>
                    </a:lnTo>
                    <a:lnTo>
                      <a:pt x="3" y="645"/>
                    </a:lnTo>
                    <a:lnTo>
                      <a:pt x="11" y="584"/>
                    </a:lnTo>
                    <a:lnTo>
                      <a:pt x="24" y="524"/>
                    </a:lnTo>
                    <a:lnTo>
                      <a:pt x="43" y="466"/>
                    </a:lnTo>
                    <a:lnTo>
                      <a:pt x="68" y="409"/>
                    </a:lnTo>
                    <a:lnTo>
                      <a:pt x="97" y="354"/>
                    </a:lnTo>
                    <a:lnTo>
                      <a:pt x="130" y="303"/>
                    </a:lnTo>
                    <a:lnTo>
                      <a:pt x="168" y="254"/>
                    </a:lnTo>
                    <a:lnTo>
                      <a:pt x="211" y="208"/>
                    </a:lnTo>
                    <a:lnTo>
                      <a:pt x="258" y="165"/>
                    </a:lnTo>
                    <a:lnTo>
                      <a:pt x="307" y="127"/>
                    </a:lnTo>
                    <a:lnTo>
                      <a:pt x="361" y="94"/>
                    </a:lnTo>
                    <a:lnTo>
                      <a:pt x="416" y="66"/>
                    </a:lnTo>
                    <a:lnTo>
                      <a:pt x="473" y="43"/>
                    </a:lnTo>
                    <a:lnTo>
                      <a:pt x="532" y="24"/>
                    </a:lnTo>
                    <a:lnTo>
                      <a:pt x="593" y="11"/>
                    </a:lnTo>
                    <a:lnTo>
                      <a:pt x="656" y="3"/>
                    </a:lnTo>
                    <a:lnTo>
                      <a:pt x="7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grpSp>
      <p:grpSp>
        <p:nvGrpSpPr>
          <p:cNvPr id="44" name="Group 43"/>
          <p:cNvGrpSpPr/>
          <p:nvPr/>
        </p:nvGrpSpPr>
        <p:grpSpPr>
          <a:xfrm>
            <a:off x="7145627" y="2928080"/>
            <a:ext cx="1786991" cy="1640616"/>
            <a:chOff x="5297858" y="2793610"/>
            <a:chExt cx="1786991" cy="1640616"/>
          </a:xfrm>
        </p:grpSpPr>
        <p:sp>
          <p:nvSpPr>
            <p:cNvPr id="45" name="Rectangle 44"/>
            <p:cNvSpPr/>
            <p:nvPr/>
          </p:nvSpPr>
          <p:spPr>
            <a:xfrm>
              <a:off x="5297858" y="2793610"/>
              <a:ext cx="1786991" cy="1640616"/>
            </a:xfrm>
            <a:prstGeom prst="rect">
              <a:avLst/>
            </a:prstGeom>
            <a:solidFill>
              <a:schemeClr val="accent1">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Calibri" panose="020F0502020204030204" pitchFamily="34" charset="0"/>
                <a:cs typeface="Calibri" panose="020F0502020204030204" pitchFamily="34" charset="0"/>
              </a:endParaRPr>
            </a:p>
          </p:txBody>
        </p:sp>
        <p:sp>
          <p:nvSpPr>
            <p:cNvPr id="46" name="Content Placeholder 1"/>
            <p:cNvSpPr txBox="1">
              <a:spLocks/>
            </p:cNvSpPr>
            <p:nvPr/>
          </p:nvSpPr>
          <p:spPr bwMode="gray">
            <a:xfrm>
              <a:off x="5300412" y="2844910"/>
              <a:ext cx="1781898" cy="215444"/>
            </a:xfrm>
            <a:prstGeom prst="rect">
              <a:avLst/>
            </a:prstGeom>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400" b="1" dirty="0">
                  <a:latin typeface="Calibri" panose="020F0502020204030204" pitchFamily="34" charset="0"/>
                  <a:cs typeface="Calibri" panose="020F0502020204030204" pitchFamily="34" charset="0"/>
                </a:rPr>
                <a:t>Retail Back End Systems</a:t>
              </a:r>
            </a:p>
          </p:txBody>
        </p:sp>
        <p:sp>
          <p:nvSpPr>
            <p:cNvPr id="47" name="Content Placeholder 1"/>
            <p:cNvSpPr txBox="1">
              <a:spLocks/>
            </p:cNvSpPr>
            <p:nvPr/>
          </p:nvSpPr>
          <p:spPr bwMode="gray">
            <a:xfrm>
              <a:off x="5473659" y="3961816"/>
              <a:ext cx="338042" cy="215444"/>
            </a:xfrm>
            <a:prstGeom prst="rect">
              <a:avLst/>
            </a:prstGeom>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400" dirty="0">
                  <a:latin typeface="Calibri" panose="020F0502020204030204" pitchFamily="34" charset="0"/>
                  <a:cs typeface="Calibri" panose="020F0502020204030204" pitchFamily="34" charset="0"/>
                </a:rPr>
                <a:t>Web</a:t>
              </a:r>
            </a:p>
          </p:txBody>
        </p:sp>
        <p:grpSp>
          <p:nvGrpSpPr>
            <p:cNvPr id="48" name="Group 47"/>
            <p:cNvGrpSpPr/>
            <p:nvPr/>
          </p:nvGrpSpPr>
          <p:grpSpPr>
            <a:xfrm>
              <a:off x="5423667" y="3432506"/>
              <a:ext cx="438027" cy="406364"/>
              <a:chOff x="9190038" y="4740275"/>
              <a:chExt cx="263525" cy="244476"/>
            </a:xfrm>
            <a:solidFill>
              <a:schemeClr val="tx1">
                <a:lumMod val="65000"/>
                <a:lumOff val="35000"/>
              </a:schemeClr>
            </a:solidFill>
          </p:grpSpPr>
          <p:sp>
            <p:nvSpPr>
              <p:cNvPr id="69" name="Freeform 54"/>
              <p:cNvSpPr>
                <a:spLocks/>
              </p:cNvSpPr>
              <p:nvPr/>
            </p:nvSpPr>
            <p:spPr bwMode="auto">
              <a:xfrm>
                <a:off x="9282113" y="4964113"/>
                <a:ext cx="101600" cy="20638"/>
              </a:xfrm>
              <a:custGeom>
                <a:avLst/>
                <a:gdLst>
                  <a:gd name="T0" fmla="*/ 128 w 1279"/>
                  <a:gd name="T1" fmla="*/ 0 h 255"/>
                  <a:gd name="T2" fmla="*/ 1152 w 1279"/>
                  <a:gd name="T3" fmla="*/ 0 h 255"/>
                  <a:gd name="T4" fmla="*/ 1178 w 1279"/>
                  <a:gd name="T5" fmla="*/ 2 h 255"/>
                  <a:gd name="T6" fmla="*/ 1202 w 1279"/>
                  <a:gd name="T7" fmla="*/ 10 h 255"/>
                  <a:gd name="T8" fmla="*/ 1223 w 1279"/>
                  <a:gd name="T9" fmla="*/ 21 h 255"/>
                  <a:gd name="T10" fmla="*/ 1243 w 1279"/>
                  <a:gd name="T11" fmla="*/ 37 h 255"/>
                  <a:gd name="T12" fmla="*/ 1258 w 1279"/>
                  <a:gd name="T13" fmla="*/ 56 h 255"/>
                  <a:gd name="T14" fmla="*/ 1270 w 1279"/>
                  <a:gd name="T15" fmla="*/ 77 h 255"/>
                  <a:gd name="T16" fmla="*/ 1277 w 1279"/>
                  <a:gd name="T17" fmla="*/ 101 h 255"/>
                  <a:gd name="T18" fmla="*/ 1279 w 1279"/>
                  <a:gd name="T19" fmla="*/ 127 h 255"/>
                  <a:gd name="T20" fmla="*/ 1279 w 1279"/>
                  <a:gd name="T21" fmla="*/ 255 h 255"/>
                  <a:gd name="T22" fmla="*/ 0 w 1279"/>
                  <a:gd name="T23" fmla="*/ 255 h 255"/>
                  <a:gd name="T24" fmla="*/ 0 w 1279"/>
                  <a:gd name="T25" fmla="*/ 127 h 255"/>
                  <a:gd name="T26" fmla="*/ 3 w 1279"/>
                  <a:gd name="T27" fmla="*/ 100 h 255"/>
                  <a:gd name="T28" fmla="*/ 10 w 1279"/>
                  <a:gd name="T29" fmla="*/ 77 h 255"/>
                  <a:gd name="T30" fmla="*/ 22 w 1279"/>
                  <a:gd name="T31" fmla="*/ 55 h 255"/>
                  <a:gd name="T32" fmla="*/ 37 w 1279"/>
                  <a:gd name="T33" fmla="*/ 36 h 255"/>
                  <a:gd name="T34" fmla="*/ 57 w 1279"/>
                  <a:gd name="T35" fmla="*/ 21 h 255"/>
                  <a:gd name="T36" fmla="*/ 78 w 1279"/>
                  <a:gd name="T37" fmla="*/ 9 h 255"/>
                  <a:gd name="T38" fmla="*/ 102 w 1279"/>
                  <a:gd name="T39" fmla="*/ 2 h 255"/>
                  <a:gd name="T40" fmla="*/ 128 w 1279"/>
                  <a:gd name="T4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9" h="255">
                    <a:moveTo>
                      <a:pt x="128" y="0"/>
                    </a:moveTo>
                    <a:lnTo>
                      <a:pt x="1152" y="0"/>
                    </a:lnTo>
                    <a:lnTo>
                      <a:pt x="1178" y="2"/>
                    </a:lnTo>
                    <a:lnTo>
                      <a:pt x="1202" y="10"/>
                    </a:lnTo>
                    <a:lnTo>
                      <a:pt x="1223" y="21"/>
                    </a:lnTo>
                    <a:lnTo>
                      <a:pt x="1243" y="37"/>
                    </a:lnTo>
                    <a:lnTo>
                      <a:pt x="1258" y="56"/>
                    </a:lnTo>
                    <a:lnTo>
                      <a:pt x="1270" y="77"/>
                    </a:lnTo>
                    <a:lnTo>
                      <a:pt x="1277" y="101"/>
                    </a:lnTo>
                    <a:lnTo>
                      <a:pt x="1279" y="127"/>
                    </a:lnTo>
                    <a:lnTo>
                      <a:pt x="1279" y="255"/>
                    </a:lnTo>
                    <a:lnTo>
                      <a:pt x="0" y="255"/>
                    </a:lnTo>
                    <a:lnTo>
                      <a:pt x="0" y="127"/>
                    </a:lnTo>
                    <a:lnTo>
                      <a:pt x="3" y="100"/>
                    </a:lnTo>
                    <a:lnTo>
                      <a:pt x="10" y="77"/>
                    </a:lnTo>
                    <a:lnTo>
                      <a:pt x="22" y="55"/>
                    </a:lnTo>
                    <a:lnTo>
                      <a:pt x="37" y="36"/>
                    </a:lnTo>
                    <a:lnTo>
                      <a:pt x="57" y="21"/>
                    </a:lnTo>
                    <a:lnTo>
                      <a:pt x="78" y="9"/>
                    </a:lnTo>
                    <a:lnTo>
                      <a:pt x="102" y="2"/>
                    </a:lnTo>
                    <a:lnTo>
                      <a:pt x="1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70" name="Freeform 55"/>
              <p:cNvSpPr>
                <a:spLocks noEditPoints="1"/>
              </p:cNvSpPr>
              <p:nvPr/>
            </p:nvSpPr>
            <p:spPr bwMode="auto">
              <a:xfrm>
                <a:off x="9190038" y="4740275"/>
                <a:ext cx="71438" cy="244475"/>
              </a:xfrm>
              <a:custGeom>
                <a:avLst/>
                <a:gdLst>
                  <a:gd name="T0" fmla="*/ 413 w 896"/>
                  <a:gd name="T1" fmla="*/ 2159 h 3072"/>
                  <a:gd name="T2" fmla="*/ 350 w 896"/>
                  <a:gd name="T3" fmla="*/ 2180 h 3072"/>
                  <a:gd name="T4" fmla="*/ 298 w 896"/>
                  <a:gd name="T5" fmla="*/ 2218 h 3072"/>
                  <a:gd name="T6" fmla="*/ 260 w 896"/>
                  <a:gd name="T7" fmla="*/ 2271 h 3072"/>
                  <a:gd name="T8" fmla="*/ 239 w 896"/>
                  <a:gd name="T9" fmla="*/ 2334 h 3072"/>
                  <a:gd name="T10" fmla="*/ 239 w 896"/>
                  <a:gd name="T11" fmla="*/ 2402 h 3072"/>
                  <a:gd name="T12" fmla="*/ 260 w 896"/>
                  <a:gd name="T13" fmla="*/ 2465 h 3072"/>
                  <a:gd name="T14" fmla="*/ 298 w 896"/>
                  <a:gd name="T15" fmla="*/ 2518 h 3072"/>
                  <a:gd name="T16" fmla="*/ 350 w 896"/>
                  <a:gd name="T17" fmla="*/ 2556 h 3072"/>
                  <a:gd name="T18" fmla="*/ 413 w 896"/>
                  <a:gd name="T19" fmla="*/ 2577 h 3072"/>
                  <a:gd name="T20" fmla="*/ 483 w 896"/>
                  <a:gd name="T21" fmla="*/ 2577 h 3072"/>
                  <a:gd name="T22" fmla="*/ 546 w 896"/>
                  <a:gd name="T23" fmla="*/ 2556 h 3072"/>
                  <a:gd name="T24" fmla="*/ 598 w 896"/>
                  <a:gd name="T25" fmla="*/ 2518 h 3072"/>
                  <a:gd name="T26" fmla="*/ 636 w 896"/>
                  <a:gd name="T27" fmla="*/ 2465 h 3072"/>
                  <a:gd name="T28" fmla="*/ 657 w 896"/>
                  <a:gd name="T29" fmla="*/ 2402 h 3072"/>
                  <a:gd name="T30" fmla="*/ 657 w 896"/>
                  <a:gd name="T31" fmla="*/ 2334 h 3072"/>
                  <a:gd name="T32" fmla="*/ 636 w 896"/>
                  <a:gd name="T33" fmla="*/ 2271 h 3072"/>
                  <a:gd name="T34" fmla="*/ 598 w 896"/>
                  <a:gd name="T35" fmla="*/ 2218 h 3072"/>
                  <a:gd name="T36" fmla="*/ 546 w 896"/>
                  <a:gd name="T37" fmla="*/ 2180 h 3072"/>
                  <a:gd name="T38" fmla="*/ 483 w 896"/>
                  <a:gd name="T39" fmla="*/ 2159 h 3072"/>
                  <a:gd name="T40" fmla="*/ 128 w 896"/>
                  <a:gd name="T41" fmla="*/ 0 h 3072"/>
                  <a:gd name="T42" fmla="*/ 794 w 896"/>
                  <a:gd name="T43" fmla="*/ 2 h 3072"/>
                  <a:gd name="T44" fmla="*/ 840 w 896"/>
                  <a:gd name="T45" fmla="*/ 22 h 3072"/>
                  <a:gd name="T46" fmla="*/ 875 w 896"/>
                  <a:gd name="T47" fmla="*/ 56 h 3072"/>
                  <a:gd name="T48" fmla="*/ 894 w 896"/>
                  <a:gd name="T49" fmla="*/ 102 h 3072"/>
                  <a:gd name="T50" fmla="*/ 896 w 896"/>
                  <a:gd name="T51" fmla="*/ 2944 h 3072"/>
                  <a:gd name="T52" fmla="*/ 886 w 896"/>
                  <a:gd name="T53" fmla="*/ 2994 h 3072"/>
                  <a:gd name="T54" fmla="*/ 858 w 896"/>
                  <a:gd name="T55" fmla="*/ 3034 h 3072"/>
                  <a:gd name="T56" fmla="*/ 818 w 896"/>
                  <a:gd name="T57" fmla="*/ 3062 h 3072"/>
                  <a:gd name="T58" fmla="*/ 768 w 896"/>
                  <a:gd name="T59" fmla="*/ 3072 h 3072"/>
                  <a:gd name="T60" fmla="*/ 103 w 896"/>
                  <a:gd name="T61" fmla="*/ 3069 h 3072"/>
                  <a:gd name="T62" fmla="*/ 57 w 896"/>
                  <a:gd name="T63" fmla="*/ 3050 h 3072"/>
                  <a:gd name="T64" fmla="*/ 22 w 896"/>
                  <a:gd name="T65" fmla="*/ 3015 h 3072"/>
                  <a:gd name="T66" fmla="*/ 3 w 896"/>
                  <a:gd name="T67" fmla="*/ 2969 h 3072"/>
                  <a:gd name="T68" fmla="*/ 0 w 896"/>
                  <a:gd name="T69" fmla="*/ 129 h 3072"/>
                  <a:gd name="T70" fmla="*/ 10 w 896"/>
                  <a:gd name="T71" fmla="*/ 79 h 3072"/>
                  <a:gd name="T72" fmla="*/ 38 w 896"/>
                  <a:gd name="T73" fmla="*/ 38 h 3072"/>
                  <a:gd name="T74" fmla="*/ 78 w 896"/>
                  <a:gd name="T75" fmla="*/ 10 h 3072"/>
                  <a:gd name="T76" fmla="*/ 128 w 896"/>
                  <a:gd name="T77" fmla="*/ 0 h 3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6" h="3072">
                    <a:moveTo>
                      <a:pt x="448" y="2157"/>
                    </a:moveTo>
                    <a:lnTo>
                      <a:pt x="413" y="2159"/>
                    </a:lnTo>
                    <a:lnTo>
                      <a:pt x="381" y="2167"/>
                    </a:lnTo>
                    <a:lnTo>
                      <a:pt x="350" y="2180"/>
                    </a:lnTo>
                    <a:lnTo>
                      <a:pt x="323" y="2198"/>
                    </a:lnTo>
                    <a:lnTo>
                      <a:pt x="298" y="2218"/>
                    </a:lnTo>
                    <a:lnTo>
                      <a:pt x="277" y="2242"/>
                    </a:lnTo>
                    <a:lnTo>
                      <a:pt x="260" y="2271"/>
                    </a:lnTo>
                    <a:lnTo>
                      <a:pt x="247" y="2301"/>
                    </a:lnTo>
                    <a:lnTo>
                      <a:pt x="239" y="2334"/>
                    </a:lnTo>
                    <a:lnTo>
                      <a:pt x="236" y="2369"/>
                    </a:lnTo>
                    <a:lnTo>
                      <a:pt x="239" y="2402"/>
                    </a:lnTo>
                    <a:lnTo>
                      <a:pt x="247" y="2435"/>
                    </a:lnTo>
                    <a:lnTo>
                      <a:pt x="260" y="2465"/>
                    </a:lnTo>
                    <a:lnTo>
                      <a:pt x="277" y="2493"/>
                    </a:lnTo>
                    <a:lnTo>
                      <a:pt x="298" y="2518"/>
                    </a:lnTo>
                    <a:lnTo>
                      <a:pt x="323" y="2539"/>
                    </a:lnTo>
                    <a:lnTo>
                      <a:pt x="350" y="2556"/>
                    </a:lnTo>
                    <a:lnTo>
                      <a:pt x="381" y="2569"/>
                    </a:lnTo>
                    <a:lnTo>
                      <a:pt x="413" y="2577"/>
                    </a:lnTo>
                    <a:lnTo>
                      <a:pt x="448" y="2580"/>
                    </a:lnTo>
                    <a:lnTo>
                      <a:pt x="483" y="2577"/>
                    </a:lnTo>
                    <a:lnTo>
                      <a:pt x="515" y="2569"/>
                    </a:lnTo>
                    <a:lnTo>
                      <a:pt x="546" y="2556"/>
                    </a:lnTo>
                    <a:lnTo>
                      <a:pt x="573" y="2539"/>
                    </a:lnTo>
                    <a:lnTo>
                      <a:pt x="598" y="2518"/>
                    </a:lnTo>
                    <a:lnTo>
                      <a:pt x="619" y="2493"/>
                    </a:lnTo>
                    <a:lnTo>
                      <a:pt x="636" y="2465"/>
                    </a:lnTo>
                    <a:lnTo>
                      <a:pt x="650" y="2435"/>
                    </a:lnTo>
                    <a:lnTo>
                      <a:pt x="657" y="2402"/>
                    </a:lnTo>
                    <a:lnTo>
                      <a:pt x="660" y="2369"/>
                    </a:lnTo>
                    <a:lnTo>
                      <a:pt x="657" y="2334"/>
                    </a:lnTo>
                    <a:lnTo>
                      <a:pt x="650" y="2301"/>
                    </a:lnTo>
                    <a:lnTo>
                      <a:pt x="636" y="2271"/>
                    </a:lnTo>
                    <a:lnTo>
                      <a:pt x="619" y="2242"/>
                    </a:lnTo>
                    <a:lnTo>
                      <a:pt x="598" y="2218"/>
                    </a:lnTo>
                    <a:lnTo>
                      <a:pt x="573" y="2198"/>
                    </a:lnTo>
                    <a:lnTo>
                      <a:pt x="546" y="2180"/>
                    </a:lnTo>
                    <a:lnTo>
                      <a:pt x="515" y="2167"/>
                    </a:lnTo>
                    <a:lnTo>
                      <a:pt x="483" y="2159"/>
                    </a:lnTo>
                    <a:lnTo>
                      <a:pt x="448" y="2157"/>
                    </a:lnTo>
                    <a:close/>
                    <a:moveTo>
                      <a:pt x="128" y="0"/>
                    </a:moveTo>
                    <a:lnTo>
                      <a:pt x="768" y="0"/>
                    </a:lnTo>
                    <a:lnTo>
                      <a:pt x="794" y="2"/>
                    </a:lnTo>
                    <a:lnTo>
                      <a:pt x="818" y="10"/>
                    </a:lnTo>
                    <a:lnTo>
                      <a:pt x="840" y="22"/>
                    </a:lnTo>
                    <a:lnTo>
                      <a:pt x="858" y="38"/>
                    </a:lnTo>
                    <a:lnTo>
                      <a:pt x="875" y="56"/>
                    </a:lnTo>
                    <a:lnTo>
                      <a:pt x="886" y="79"/>
                    </a:lnTo>
                    <a:lnTo>
                      <a:pt x="894" y="102"/>
                    </a:lnTo>
                    <a:lnTo>
                      <a:pt x="896" y="129"/>
                    </a:lnTo>
                    <a:lnTo>
                      <a:pt x="896" y="2944"/>
                    </a:lnTo>
                    <a:lnTo>
                      <a:pt x="894" y="2969"/>
                    </a:lnTo>
                    <a:lnTo>
                      <a:pt x="886" y="2994"/>
                    </a:lnTo>
                    <a:lnTo>
                      <a:pt x="875" y="3015"/>
                    </a:lnTo>
                    <a:lnTo>
                      <a:pt x="858" y="3034"/>
                    </a:lnTo>
                    <a:lnTo>
                      <a:pt x="840" y="3050"/>
                    </a:lnTo>
                    <a:lnTo>
                      <a:pt x="818" y="3062"/>
                    </a:lnTo>
                    <a:lnTo>
                      <a:pt x="794" y="3069"/>
                    </a:lnTo>
                    <a:lnTo>
                      <a:pt x="768" y="3072"/>
                    </a:lnTo>
                    <a:lnTo>
                      <a:pt x="128" y="3072"/>
                    </a:lnTo>
                    <a:lnTo>
                      <a:pt x="103" y="3069"/>
                    </a:lnTo>
                    <a:lnTo>
                      <a:pt x="78" y="3062"/>
                    </a:lnTo>
                    <a:lnTo>
                      <a:pt x="57" y="3050"/>
                    </a:lnTo>
                    <a:lnTo>
                      <a:pt x="38" y="3034"/>
                    </a:lnTo>
                    <a:lnTo>
                      <a:pt x="22" y="3015"/>
                    </a:lnTo>
                    <a:lnTo>
                      <a:pt x="10" y="2994"/>
                    </a:lnTo>
                    <a:lnTo>
                      <a:pt x="3" y="2969"/>
                    </a:lnTo>
                    <a:lnTo>
                      <a:pt x="0" y="2944"/>
                    </a:lnTo>
                    <a:lnTo>
                      <a:pt x="0" y="129"/>
                    </a:lnTo>
                    <a:lnTo>
                      <a:pt x="3" y="102"/>
                    </a:lnTo>
                    <a:lnTo>
                      <a:pt x="10" y="79"/>
                    </a:lnTo>
                    <a:lnTo>
                      <a:pt x="22" y="56"/>
                    </a:lnTo>
                    <a:lnTo>
                      <a:pt x="38" y="38"/>
                    </a:lnTo>
                    <a:lnTo>
                      <a:pt x="57" y="22"/>
                    </a:lnTo>
                    <a:lnTo>
                      <a:pt x="78" y="10"/>
                    </a:lnTo>
                    <a:lnTo>
                      <a:pt x="103" y="2"/>
                    </a:lnTo>
                    <a:lnTo>
                      <a:pt x="1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71" name="Freeform 56"/>
              <p:cNvSpPr>
                <a:spLocks/>
              </p:cNvSpPr>
              <p:nvPr/>
            </p:nvSpPr>
            <p:spPr bwMode="auto">
              <a:xfrm>
                <a:off x="9282113" y="4740275"/>
                <a:ext cx="171450" cy="214313"/>
              </a:xfrm>
              <a:custGeom>
                <a:avLst/>
                <a:gdLst>
                  <a:gd name="T0" fmla="*/ 1792 w 2176"/>
                  <a:gd name="T1" fmla="*/ 0 h 2688"/>
                  <a:gd name="T2" fmla="*/ 1886 w 2176"/>
                  <a:gd name="T3" fmla="*/ 11 h 2688"/>
                  <a:gd name="T4" fmla="*/ 1973 w 2176"/>
                  <a:gd name="T5" fmla="*/ 45 h 2688"/>
                  <a:gd name="T6" fmla="*/ 2047 w 2176"/>
                  <a:gd name="T7" fmla="*/ 97 h 2688"/>
                  <a:gd name="T8" fmla="*/ 2107 w 2176"/>
                  <a:gd name="T9" fmla="*/ 164 h 2688"/>
                  <a:gd name="T10" fmla="*/ 2150 w 2176"/>
                  <a:gd name="T11" fmla="*/ 245 h 2688"/>
                  <a:gd name="T12" fmla="*/ 2173 w 2176"/>
                  <a:gd name="T13" fmla="*/ 335 h 2688"/>
                  <a:gd name="T14" fmla="*/ 2176 w 2176"/>
                  <a:gd name="T15" fmla="*/ 2048 h 2688"/>
                  <a:gd name="T16" fmla="*/ 2164 w 2176"/>
                  <a:gd name="T17" fmla="*/ 2143 h 2688"/>
                  <a:gd name="T18" fmla="*/ 2132 w 2176"/>
                  <a:gd name="T19" fmla="*/ 2228 h 2688"/>
                  <a:gd name="T20" fmla="*/ 2080 w 2176"/>
                  <a:gd name="T21" fmla="*/ 2303 h 2688"/>
                  <a:gd name="T22" fmla="*/ 2011 w 2176"/>
                  <a:gd name="T23" fmla="*/ 2363 h 2688"/>
                  <a:gd name="T24" fmla="*/ 1931 w 2176"/>
                  <a:gd name="T25" fmla="*/ 2406 h 2688"/>
                  <a:gd name="T26" fmla="*/ 1840 w 2176"/>
                  <a:gd name="T27" fmla="*/ 2429 h 2688"/>
                  <a:gd name="T28" fmla="*/ 1024 w 2176"/>
                  <a:gd name="T29" fmla="*/ 2432 h 2688"/>
                  <a:gd name="T30" fmla="*/ 1022 w 2176"/>
                  <a:gd name="T31" fmla="*/ 2586 h 2688"/>
                  <a:gd name="T32" fmla="*/ 1002 w 2176"/>
                  <a:gd name="T33" fmla="*/ 2632 h 2688"/>
                  <a:gd name="T34" fmla="*/ 968 w 2176"/>
                  <a:gd name="T35" fmla="*/ 2667 h 2688"/>
                  <a:gd name="T36" fmla="*/ 922 w 2176"/>
                  <a:gd name="T37" fmla="*/ 2685 h 2688"/>
                  <a:gd name="T38" fmla="*/ 384 w 2176"/>
                  <a:gd name="T39" fmla="*/ 2688 h 2688"/>
                  <a:gd name="T40" fmla="*/ 335 w 2176"/>
                  <a:gd name="T41" fmla="*/ 2678 h 2688"/>
                  <a:gd name="T42" fmla="*/ 294 w 2176"/>
                  <a:gd name="T43" fmla="*/ 2651 h 2688"/>
                  <a:gd name="T44" fmla="*/ 266 w 2176"/>
                  <a:gd name="T45" fmla="*/ 2610 h 2688"/>
                  <a:gd name="T46" fmla="*/ 256 w 2176"/>
                  <a:gd name="T47" fmla="*/ 2560 h 2688"/>
                  <a:gd name="T48" fmla="*/ 0 w 2176"/>
                  <a:gd name="T49" fmla="*/ 2432 h 2688"/>
                  <a:gd name="T50" fmla="*/ 1792 w 2176"/>
                  <a:gd name="T51" fmla="*/ 1920 h 2688"/>
                  <a:gd name="T52" fmla="*/ 1841 w 2176"/>
                  <a:gd name="T53" fmla="*/ 1910 h 2688"/>
                  <a:gd name="T54" fmla="*/ 1882 w 2176"/>
                  <a:gd name="T55" fmla="*/ 1883 h 2688"/>
                  <a:gd name="T56" fmla="*/ 1910 w 2176"/>
                  <a:gd name="T57" fmla="*/ 1842 h 2688"/>
                  <a:gd name="T58" fmla="*/ 1920 w 2176"/>
                  <a:gd name="T59" fmla="*/ 1792 h 2688"/>
                  <a:gd name="T60" fmla="*/ 1917 w 2176"/>
                  <a:gd name="T61" fmla="*/ 358 h 2688"/>
                  <a:gd name="T62" fmla="*/ 1897 w 2176"/>
                  <a:gd name="T63" fmla="*/ 313 h 2688"/>
                  <a:gd name="T64" fmla="*/ 1863 w 2176"/>
                  <a:gd name="T65" fmla="*/ 278 h 2688"/>
                  <a:gd name="T66" fmla="*/ 1817 w 2176"/>
                  <a:gd name="T67" fmla="*/ 259 h 2688"/>
                  <a:gd name="T68" fmla="*/ 0 w 2176"/>
                  <a:gd name="T69" fmla="*/ 256 h 2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76" h="2688">
                    <a:moveTo>
                      <a:pt x="0" y="0"/>
                    </a:moveTo>
                    <a:lnTo>
                      <a:pt x="1792" y="0"/>
                    </a:lnTo>
                    <a:lnTo>
                      <a:pt x="1840" y="3"/>
                    </a:lnTo>
                    <a:lnTo>
                      <a:pt x="1886" y="11"/>
                    </a:lnTo>
                    <a:lnTo>
                      <a:pt x="1931" y="26"/>
                    </a:lnTo>
                    <a:lnTo>
                      <a:pt x="1973" y="45"/>
                    </a:lnTo>
                    <a:lnTo>
                      <a:pt x="2011" y="68"/>
                    </a:lnTo>
                    <a:lnTo>
                      <a:pt x="2047" y="97"/>
                    </a:lnTo>
                    <a:lnTo>
                      <a:pt x="2080" y="129"/>
                    </a:lnTo>
                    <a:lnTo>
                      <a:pt x="2107" y="164"/>
                    </a:lnTo>
                    <a:lnTo>
                      <a:pt x="2132" y="203"/>
                    </a:lnTo>
                    <a:lnTo>
                      <a:pt x="2150" y="245"/>
                    </a:lnTo>
                    <a:lnTo>
                      <a:pt x="2164" y="289"/>
                    </a:lnTo>
                    <a:lnTo>
                      <a:pt x="2173" y="335"/>
                    </a:lnTo>
                    <a:lnTo>
                      <a:pt x="2176" y="384"/>
                    </a:lnTo>
                    <a:lnTo>
                      <a:pt x="2176" y="2048"/>
                    </a:lnTo>
                    <a:lnTo>
                      <a:pt x="2173" y="2097"/>
                    </a:lnTo>
                    <a:lnTo>
                      <a:pt x="2164" y="2143"/>
                    </a:lnTo>
                    <a:lnTo>
                      <a:pt x="2150" y="2186"/>
                    </a:lnTo>
                    <a:lnTo>
                      <a:pt x="2132" y="2228"/>
                    </a:lnTo>
                    <a:lnTo>
                      <a:pt x="2107" y="2268"/>
                    </a:lnTo>
                    <a:lnTo>
                      <a:pt x="2080" y="2303"/>
                    </a:lnTo>
                    <a:lnTo>
                      <a:pt x="2047" y="2335"/>
                    </a:lnTo>
                    <a:lnTo>
                      <a:pt x="2011" y="2363"/>
                    </a:lnTo>
                    <a:lnTo>
                      <a:pt x="1973" y="2387"/>
                    </a:lnTo>
                    <a:lnTo>
                      <a:pt x="1931" y="2406"/>
                    </a:lnTo>
                    <a:lnTo>
                      <a:pt x="1886" y="2420"/>
                    </a:lnTo>
                    <a:lnTo>
                      <a:pt x="1840" y="2429"/>
                    </a:lnTo>
                    <a:lnTo>
                      <a:pt x="1792" y="2432"/>
                    </a:lnTo>
                    <a:lnTo>
                      <a:pt x="1024" y="2432"/>
                    </a:lnTo>
                    <a:lnTo>
                      <a:pt x="1024" y="2560"/>
                    </a:lnTo>
                    <a:lnTo>
                      <a:pt x="1022" y="2586"/>
                    </a:lnTo>
                    <a:lnTo>
                      <a:pt x="1015" y="2610"/>
                    </a:lnTo>
                    <a:lnTo>
                      <a:pt x="1002" y="2632"/>
                    </a:lnTo>
                    <a:lnTo>
                      <a:pt x="987" y="2651"/>
                    </a:lnTo>
                    <a:lnTo>
                      <a:pt x="968" y="2667"/>
                    </a:lnTo>
                    <a:lnTo>
                      <a:pt x="945" y="2678"/>
                    </a:lnTo>
                    <a:lnTo>
                      <a:pt x="922" y="2685"/>
                    </a:lnTo>
                    <a:lnTo>
                      <a:pt x="897" y="2688"/>
                    </a:lnTo>
                    <a:lnTo>
                      <a:pt x="384" y="2688"/>
                    </a:lnTo>
                    <a:lnTo>
                      <a:pt x="359" y="2685"/>
                    </a:lnTo>
                    <a:lnTo>
                      <a:pt x="335" y="2678"/>
                    </a:lnTo>
                    <a:lnTo>
                      <a:pt x="313" y="2666"/>
                    </a:lnTo>
                    <a:lnTo>
                      <a:pt x="294" y="2651"/>
                    </a:lnTo>
                    <a:lnTo>
                      <a:pt x="279" y="2631"/>
                    </a:lnTo>
                    <a:lnTo>
                      <a:pt x="266" y="2610"/>
                    </a:lnTo>
                    <a:lnTo>
                      <a:pt x="259" y="2585"/>
                    </a:lnTo>
                    <a:lnTo>
                      <a:pt x="256" y="2560"/>
                    </a:lnTo>
                    <a:lnTo>
                      <a:pt x="256" y="2432"/>
                    </a:lnTo>
                    <a:lnTo>
                      <a:pt x="0" y="2432"/>
                    </a:lnTo>
                    <a:lnTo>
                      <a:pt x="0" y="1920"/>
                    </a:lnTo>
                    <a:lnTo>
                      <a:pt x="1792" y="1920"/>
                    </a:lnTo>
                    <a:lnTo>
                      <a:pt x="1817" y="1918"/>
                    </a:lnTo>
                    <a:lnTo>
                      <a:pt x="1841" y="1910"/>
                    </a:lnTo>
                    <a:lnTo>
                      <a:pt x="1863" y="1898"/>
                    </a:lnTo>
                    <a:lnTo>
                      <a:pt x="1882" y="1883"/>
                    </a:lnTo>
                    <a:lnTo>
                      <a:pt x="1897" y="1864"/>
                    </a:lnTo>
                    <a:lnTo>
                      <a:pt x="1910" y="1842"/>
                    </a:lnTo>
                    <a:lnTo>
                      <a:pt x="1917" y="1818"/>
                    </a:lnTo>
                    <a:lnTo>
                      <a:pt x="1920" y="1792"/>
                    </a:lnTo>
                    <a:lnTo>
                      <a:pt x="1920" y="384"/>
                    </a:lnTo>
                    <a:lnTo>
                      <a:pt x="1917" y="358"/>
                    </a:lnTo>
                    <a:lnTo>
                      <a:pt x="1910" y="334"/>
                    </a:lnTo>
                    <a:lnTo>
                      <a:pt x="1897" y="313"/>
                    </a:lnTo>
                    <a:lnTo>
                      <a:pt x="1882" y="294"/>
                    </a:lnTo>
                    <a:lnTo>
                      <a:pt x="1863" y="278"/>
                    </a:lnTo>
                    <a:lnTo>
                      <a:pt x="1841" y="266"/>
                    </a:lnTo>
                    <a:lnTo>
                      <a:pt x="1817" y="259"/>
                    </a:lnTo>
                    <a:lnTo>
                      <a:pt x="1792" y="256"/>
                    </a:lnTo>
                    <a:lnTo>
                      <a:pt x="0" y="25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sp>
          <p:nvSpPr>
            <p:cNvPr id="49" name="Content Placeholder 1"/>
            <p:cNvSpPr txBox="1">
              <a:spLocks/>
            </p:cNvSpPr>
            <p:nvPr/>
          </p:nvSpPr>
          <p:spPr bwMode="gray">
            <a:xfrm>
              <a:off x="6157806" y="3961816"/>
              <a:ext cx="293350" cy="215444"/>
            </a:xfrm>
            <a:prstGeom prst="rect">
              <a:avLst/>
            </a:prstGeom>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400" dirty="0">
                  <a:latin typeface="Calibri" panose="020F0502020204030204" pitchFamily="34" charset="0"/>
                  <a:cs typeface="Calibri" panose="020F0502020204030204" pitchFamily="34" charset="0"/>
                </a:rPr>
                <a:t>App</a:t>
              </a:r>
            </a:p>
          </p:txBody>
        </p:sp>
        <p:grpSp>
          <p:nvGrpSpPr>
            <p:cNvPr id="50" name="Group 49"/>
            <p:cNvGrpSpPr/>
            <p:nvPr/>
          </p:nvGrpSpPr>
          <p:grpSpPr>
            <a:xfrm>
              <a:off x="6085468" y="3432506"/>
              <a:ext cx="438027" cy="406364"/>
              <a:chOff x="9190038" y="4740275"/>
              <a:chExt cx="263525" cy="244476"/>
            </a:xfrm>
            <a:solidFill>
              <a:schemeClr val="tx1">
                <a:lumMod val="65000"/>
                <a:lumOff val="35000"/>
              </a:schemeClr>
            </a:solidFill>
          </p:grpSpPr>
          <p:sp>
            <p:nvSpPr>
              <p:cNvPr id="66" name="Freeform 54"/>
              <p:cNvSpPr>
                <a:spLocks/>
              </p:cNvSpPr>
              <p:nvPr/>
            </p:nvSpPr>
            <p:spPr bwMode="auto">
              <a:xfrm>
                <a:off x="9282113" y="4964113"/>
                <a:ext cx="101600" cy="20638"/>
              </a:xfrm>
              <a:custGeom>
                <a:avLst/>
                <a:gdLst>
                  <a:gd name="T0" fmla="*/ 128 w 1279"/>
                  <a:gd name="T1" fmla="*/ 0 h 255"/>
                  <a:gd name="T2" fmla="*/ 1152 w 1279"/>
                  <a:gd name="T3" fmla="*/ 0 h 255"/>
                  <a:gd name="T4" fmla="*/ 1178 w 1279"/>
                  <a:gd name="T5" fmla="*/ 2 h 255"/>
                  <a:gd name="T6" fmla="*/ 1202 w 1279"/>
                  <a:gd name="T7" fmla="*/ 10 h 255"/>
                  <a:gd name="T8" fmla="*/ 1223 w 1279"/>
                  <a:gd name="T9" fmla="*/ 21 h 255"/>
                  <a:gd name="T10" fmla="*/ 1243 w 1279"/>
                  <a:gd name="T11" fmla="*/ 37 h 255"/>
                  <a:gd name="T12" fmla="*/ 1258 w 1279"/>
                  <a:gd name="T13" fmla="*/ 56 h 255"/>
                  <a:gd name="T14" fmla="*/ 1270 w 1279"/>
                  <a:gd name="T15" fmla="*/ 77 h 255"/>
                  <a:gd name="T16" fmla="*/ 1277 w 1279"/>
                  <a:gd name="T17" fmla="*/ 101 h 255"/>
                  <a:gd name="T18" fmla="*/ 1279 w 1279"/>
                  <a:gd name="T19" fmla="*/ 127 h 255"/>
                  <a:gd name="T20" fmla="*/ 1279 w 1279"/>
                  <a:gd name="T21" fmla="*/ 255 h 255"/>
                  <a:gd name="T22" fmla="*/ 0 w 1279"/>
                  <a:gd name="T23" fmla="*/ 255 h 255"/>
                  <a:gd name="T24" fmla="*/ 0 w 1279"/>
                  <a:gd name="T25" fmla="*/ 127 h 255"/>
                  <a:gd name="T26" fmla="*/ 3 w 1279"/>
                  <a:gd name="T27" fmla="*/ 100 h 255"/>
                  <a:gd name="T28" fmla="*/ 10 w 1279"/>
                  <a:gd name="T29" fmla="*/ 77 h 255"/>
                  <a:gd name="T30" fmla="*/ 22 w 1279"/>
                  <a:gd name="T31" fmla="*/ 55 h 255"/>
                  <a:gd name="T32" fmla="*/ 37 w 1279"/>
                  <a:gd name="T33" fmla="*/ 36 h 255"/>
                  <a:gd name="T34" fmla="*/ 57 w 1279"/>
                  <a:gd name="T35" fmla="*/ 21 h 255"/>
                  <a:gd name="T36" fmla="*/ 78 w 1279"/>
                  <a:gd name="T37" fmla="*/ 9 h 255"/>
                  <a:gd name="T38" fmla="*/ 102 w 1279"/>
                  <a:gd name="T39" fmla="*/ 2 h 255"/>
                  <a:gd name="T40" fmla="*/ 128 w 1279"/>
                  <a:gd name="T4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9" h="255">
                    <a:moveTo>
                      <a:pt x="128" y="0"/>
                    </a:moveTo>
                    <a:lnTo>
                      <a:pt x="1152" y="0"/>
                    </a:lnTo>
                    <a:lnTo>
                      <a:pt x="1178" y="2"/>
                    </a:lnTo>
                    <a:lnTo>
                      <a:pt x="1202" y="10"/>
                    </a:lnTo>
                    <a:lnTo>
                      <a:pt x="1223" y="21"/>
                    </a:lnTo>
                    <a:lnTo>
                      <a:pt x="1243" y="37"/>
                    </a:lnTo>
                    <a:lnTo>
                      <a:pt x="1258" y="56"/>
                    </a:lnTo>
                    <a:lnTo>
                      <a:pt x="1270" y="77"/>
                    </a:lnTo>
                    <a:lnTo>
                      <a:pt x="1277" y="101"/>
                    </a:lnTo>
                    <a:lnTo>
                      <a:pt x="1279" y="127"/>
                    </a:lnTo>
                    <a:lnTo>
                      <a:pt x="1279" y="255"/>
                    </a:lnTo>
                    <a:lnTo>
                      <a:pt x="0" y="255"/>
                    </a:lnTo>
                    <a:lnTo>
                      <a:pt x="0" y="127"/>
                    </a:lnTo>
                    <a:lnTo>
                      <a:pt x="3" y="100"/>
                    </a:lnTo>
                    <a:lnTo>
                      <a:pt x="10" y="77"/>
                    </a:lnTo>
                    <a:lnTo>
                      <a:pt x="22" y="55"/>
                    </a:lnTo>
                    <a:lnTo>
                      <a:pt x="37" y="36"/>
                    </a:lnTo>
                    <a:lnTo>
                      <a:pt x="57" y="21"/>
                    </a:lnTo>
                    <a:lnTo>
                      <a:pt x="78" y="9"/>
                    </a:lnTo>
                    <a:lnTo>
                      <a:pt x="102" y="2"/>
                    </a:lnTo>
                    <a:lnTo>
                      <a:pt x="1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67" name="Freeform 55"/>
              <p:cNvSpPr>
                <a:spLocks noEditPoints="1"/>
              </p:cNvSpPr>
              <p:nvPr/>
            </p:nvSpPr>
            <p:spPr bwMode="auto">
              <a:xfrm>
                <a:off x="9190038" y="4740275"/>
                <a:ext cx="71438" cy="244475"/>
              </a:xfrm>
              <a:custGeom>
                <a:avLst/>
                <a:gdLst>
                  <a:gd name="T0" fmla="*/ 413 w 896"/>
                  <a:gd name="T1" fmla="*/ 2159 h 3072"/>
                  <a:gd name="T2" fmla="*/ 350 w 896"/>
                  <a:gd name="T3" fmla="*/ 2180 h 3072"/>
                  <a:gd name="T4" fmla="*/ 298 w 896"/>
                  <a:gd name="T5" fmla="*/ 2218 h 3072"/>
                  <a:gd name="T6" fmla="*/ 260 w 896"/>
                  <a:gd name="T7" fmla="*/ 2271 h 3072"/>
                  <a:gd name="T8" fmla="*/ 239 w 896"/>
                  <a:gd name="T9" fmla="*/ 2334 h 3072"/>
                  <a:gd name="T10" fmla="*/ 239 w 896"/>
                  <a:gd name="T11" fmla="*/ 2402 h 3072"/>
                  <a:gd name="T12" fmla="*/ 260 w 896"/>
                  <a:gd name="T13" fmla="*/ 2465 h 3072"/>
                  <a:gd name="T14" fmla="*/ 298 w 896"/>
                  <a:gd name="T15" fmla="*/ 2518 h 3072"/>
                  <a:gd name="T16" fmla="*/ 350 w 896"/>
                  <a:gd name="T17" fmla="*/ 2556 h 3072"/>
                  <a:gd name="T18" fmla="*/ 413 w 896"/>
                  <a:gd name="T19" fmla="*/ 2577 h 3072"/>
                  <a:gd name="T20" fmla="*/ 483 w 896"/>
                  <a:gd name="T21" fmla="*/ 2577 h 3072"/>
                  <a:gd name="T22" fmla="*/ 546 w 896"/>
                  <a:gd name="T23" fmla="*/ 2556 h 3072"/>
                  <a:gd name="T24" fmla="*/ 598 w 896"/>
                  <a:gd name="T25" fmla="*/ 2518 h 3072"/>
                  <a:gd name="T26" fmla="*/ 636 w 896"/>
                  <a:gd name="T27" fmla="*/ 2465 h 3072"/>
                  <a:gd name="T28" fmla="*/ 657 w 896"/>
                  <a:gd name="T29" fmla="*/ 2402 h 3072"/>
                  <a:gd name="T30" fmla="*/ 657 w 896"/>
                  <a:gd name="T31" fmla="*/ 2334 h 3072"/>
                  <a:gd name="T32" fmla="*/ 636 w 896"/>
                  <a:gd name="T33" fmla="*/ 2271 h 3072"/>
                  <a:gd name="T34" fmla="*/ 598 w 896"/>
                  <a:gd name="T35" fmla="*/ 2218 h 3072"/>
                  <a:gd name="T36" fmla="*/ 546 w 896"/>
                  <a:gd name="T37" fmla="*/ 2180 h 3072"/>
                  <a:gd name="T38" fmla="*/ 483 w 896"/>
                  <a:gd name="T39" fmla="*/ 2159 h 3072"/>
                  <a:gd name="T40" fmla="*/ 128 w 896"/>
                  <a:gd name="T41" fmla="*/ 0 h 3072"/>
                  <a:gd name="T42" fmla="*/ 794 w 896"/>
                  <a:gd name="T43" fmla="*/ 2 h 3072"/>
                  <a:gd name="T44" fmla="*/ 840 w 896"/>
                  <a:gd name="T45" fmla="*/ 22 h 3072"/>
                  <a:gd name="T46" fmla="*/ 875 w 896"/>
                  <a:gd name="T47" fmla="*/ 56 h 3072"/>
                  <a:gd name="T48" fmla="*/ 894 w 896"/>
                  <a:gd name="T49" fmla="*/ 102 h 3072"/>
                  <a:gd name="T50" fmla="*/ 896 w 896"/>
                  <a:gd name="T51" fmla="*/ 2944 h 3072"/>
                  <a:gd name="T52" fmla="*/ 886 w 896"/>
                  <a:gd name="T53" fmla="*/ 2994 h 3072"/>
                  <a:gd name="T54" fmla="*/ 858 w 896"/>
                  <a:gd name="T55" fmla="*/ 3034 h 3072"/>
                  <a:gd name="T56" fmla="*/ 818 w 896"/>
                  <a:gd name="T57" fmla="*/ 3062 h 3072"/>
                  <a:gd name="T58" fmla="*/ 768 w 896"/>
                  <a:gd name="T59" fmla="*/ 3072 h 3072"/>
                  <a:gd name="T60" fmla="*/ 103 w 896"/>
                  <a:gd name="T61" fmla="*/ 3069 h 3072"/>
                  <a:gd name="T62" fmla="*/ 57 w 896"/>
                  <a:gd name="T63" fmla="*/ 3050 h 3072"/>
                  <a:gd name="T64" fmla="*/ 22 w 896"/>
                  <a:gd name="T65" fmla="*/ 3015 h 3072"/>
                  <a:gd name="T66" fmla="*/ 3 w 896"/>
                  <a:gd name="T67" fmla="*/ 2969 h 3072"/>
                  <a:gd name="T68" fmla="*/ 0 w 896"/>
                  <a:gd name="T69" fmla="*/ 129 h 3072"/>
                  <a:gd name="T70" fmla="*/ 10 w 896"/>
                  <a:gd name="T71" fmla="*/ 79 h 3072"/>
                  <a:gd name="T72" fmla="*/ 38 w 896"/>
                  <a:gd name="T73" fmla="*/ 38 h 3072"/>
                  <a:gd name="T74" fmla="*/ 78 w 896"/>
                  <a:gd name="T75" fmla="*/ 10 h 3072"/>
                  <a:gd name="T76" fmla="*/ 128 w 896"/>
                  <a:gd name="T77" fmla="*/ 0 h 3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6" h="3072">
                    <a:moveTo>
                      <a:pt x="448" y="2157"/>
                    </a:moveTo>
                    <a:lnTo>
                      <a:pt x="413" y="2159"/>
                    </a:lnTo>
                    <a:lnTo>
                      <a:pt x="381" y="2167"/>
                    </a:lnTo>
                    <a:lnTo>
                      <a:pt x="350" y="2180"/>
                    </a:lnTo>
                    <a:lnTo>
                      <a:pt x="323" y="2198"/>
                    </a:lnTo>
                    <a:lnTo>
                      <a:pt x="298" y="2218"/>
                    </a:lnTo>
                    <a:lnTo>
                      <a:pt x="277" y="2242"/>
                    </a:lnTo>
                    <a:lnTo>
                      <a:pt x="260" y="2271"/>
                    </a:lnTo>
                    <a:lnTo>
                      <a:pt x="247" y="2301"/>
                    </a:lnTo>
                    <a:lnTo>
                      <a:pt x="239" y="2334"/>
                    </a:lnTo>
                    <a:lnTo>
                      <a:pt x="236" y="2369"/>
                    </a:lnTo>
                    <a:lnTo>
                      <a:pt x="239" y="2402"/>
                    </a:lnTo>
                    <a:lnTo>
                      <a:pt x="247" y="2435"/>
                    </a:lnTo>
                    <a:lnTo>
                      <a:pt x="260" y="2465"/>
                    </a:lnTo>
                    <a:lnTo>
                      <a:pt x="277" y="2493"/>
                    </a:lnTo>
                    <a:lnTo>
                      <a:pt x="298" y="2518"/>
                    </a:lnTo>
                    <a:lnTo>
                      <a:pt x="323" y="2539"/>
                    </a:lnTo>
                    <a:lnTo>
                      <a:pt x="350" y="2556"/>
                    </a:lnTo>
                    <a:lnTo>
                      <a:pt x="381" y="2569"/>
                    </a:lnTo>
                    <a:lnTo>
                      <a:pt x="413" y="2577"/>
                    </a:lnTo>
                    <a:lnTo>
                      <a:pt x="448" y="2580"/>
                    </a:lnTo>
                    <a:lnTo>
                      <a:pt x="483" y="2577"/>
                    </a:lnTo>
                    <a:lnTo>
                      <a:pt x="515" y="2569"/>
                    </a:lnTo>
                    <a:lnTo>
                      <a:pt x="546" y="2556"/>
                    </a:lnTo>
                    <a:lnTo>
                      <a:pt x="573" y="2539"/>
                    </a:lnTo>
                    <a:lnTo>
                      <a:pt x="598" y="2518"/>
                    </a:lnTo>
                    <a:lnTo>
                      <a:pt x="619" y="2493"/>
                    </a:lnTo>
                    <a:lnTo>
                      <a:pt x="636" y="2465"/>
                    </a:lnTo>
                    <a:lnTo>
                      <a:pt x="650" y="2435"/>
                    </a:lnTo>
                    <a:lnTo>
                      <a:pt x="657" y="2402"/>
                    </a:lnTo>
                    <a:lnTo>
                      <a:pt x="660" y="2369"/>
                    </a:lnTo>
                    <a:lnTo>
                      <a:pt x="657" y="2334"/>
                    </a:lnTo>
                    <a:lnTo>
                      <a:pt x="650" y="2301"/>
                    </a:lnTo>
                    <a:lnTo>
                      <a:pt x="636" y="2271"/>
                    </a:lnTo>
                    <a:lnTo>
                      <a:pt x="619" y="2242"/>
                    </a:lnTo>
                    <a:lnTo>
                      <a:pt x="598" y="2218"/>
                    </a:lnTo>
                    <a:lnTo>
                      <a:pt x="573" y="2198"/>
                    </a:lnTo>
                    <a:lnTo>
                      <a:pt x="546" y="2180"/>
                    </a:lnTo>
                    <a:lnTo>
                      <a:pt x="515" y="2167"/>
                    </a:lnTo>
                    <a:lnTo>
                      <a:pt x="483" y="2159"/>
                    </a:lnTo>
                    <a:lnTo>
                      <a:pt x="448" y="2157"/>
                    </a:lnTo>
                    <a:close/>
                    <a:moveTo>
                      <a:pt x="128" y="0"/>
                    </a:moveTo>
                    <a:lnTo>
                      <a:pt x="768" y="0"/>
                    </a:lnTo>
                    <a:lnTo>
                      <a:pt x="794" y="2"/>
                    </a:lnTo>
                    <a:lnTo>
                      <a:pt x="818" y="10"/>
                    </a:lnTo>
                    <a:lnTo>
                      <a:pt x="840" y="22"/>
                    </a:lnTo>
                    <a:lnTo>
                      <a:pt x="858" y="38"/>
                    </a:lnTo>
                    <a:lnTo>
                      <a:pt x="875" y="56"/>
                    </a:lnTo>
                    <a:lnTo>
                      <a:pt x="886" y="79"/>
                    </a:lnTo>
                    <a:lnTo>
                      <a:pt x="894" y="102"/>
                    </a:lnTo>
                    <a:lnTo>
                      <a:pt x="896" y="129"/>
                    </a:lnTo>
                    <a:lnTo>
                      <a:pt x="896" y="2944"/>
                    </a:lnTo>
                    <a:lnTo>
                      <a:pt x="894" y="2969"/>
                    </a:lnTo>
                    <a:lnTo>
                      <a:pt x="886" y="2994"/>
                    </a:lnTo>
                    <a:lnTo>
                      <a:pt x="875" y="3015"/>
                    </a:lnTo>
                    <a:lnTo>
                      <a:pt x="858" y="3034"/>
                    </a:lnTo>
                    <a:lnTo>
                      <a:pt x="840" y="3050"/>
                    </a:lnTo>
                    <a:lnTo>
                      <a:pt x="818" y="3062"/>
                    </a:lnTo>
                    <a:lnTo>
                      <a:pt x="794" y="3069"/>
                    </a:lnTo>
                    <a:lnTo>
                      <a:pt x="768" y="3072"/>
                    </a:lnTo>
                    <a:lnTo>
                      <a:pt x="128" y="3072"/>
                    </a:lnTo>
                    <a:lnTo>
                      <a:pt x="103" y="3069"/>
                    </a:lnTo>
                    <a:lnTo>
                      <a:pt x="78" y="3062"/>
                    </a:lnTo>
                    <a:lnTo>
                      <a:pt x="57" y="3050"/>
                    </a:lnTo>
                    <a:lnTo>
                      <a:pt x="38" y="3034"/>
                    </a:lnTo>
                    <a:lnTo>
                      <a:pt x="22" y="3015"/>
                    </a:lnTo>
                    <a:lnTo>
                      <a:pt x="10" y="2994"/>
                    </a:lnTo>
                    <a:lnTo>
                      <a:pt x="3" y="2969"/>
                    </a:lnTo>
                    <a:lnTo>
                      <a:pt x="0" y="2944"/>
                    </a:lnTo>
                    <a:lnTo>
                      <a:pt x="0" y="129"/>
                    </a:lnTo>
                    <a:lnTo>
                      <a:pt x="3" y="102"/>
                    </a:lnTo>
                    <a:lnTo>
                      <a:pt x="10" y="79"/>
                    </a:lnTo>
                    <a:lnTo>
                      <a:pt x="22" y="56"/>
                    </a:lnTo>
                    <a:lnTo>
                      <a:pt x="38" y="38"/>
                    </a:lnTo>
                    <a:lnTo>
                      <a:pt x="57" y="22"/>
                    </a:lnTo>
                    <a:lnTo>
                      <a:pt x="78" y="10"/>
                    </a:lnTo>
                    <a:lnTo>
                      <a:pt x="103" y="2"/>
                    </a:lnTo>
                    <a:lnTo>
                      <a:pt x="1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68" name="Freeform 56"/>
              <p:cNvSpPr>
                <a:spLocks/>
              </p:cNvSpPr>
              <p:nvPr/>
            </p:nvSpPr>
            <p:spPr bwMode="auto">
              <a:xfrm>
                <a:off x="9282113" y="4740275"/>
                <a:ext cx="171450" cy="214313"/>
              </a:xfrm>
              <a:custGeom>
                <a:avLst/>
                <a:gdLst>
                  <a:gd name="T0" fmla="*/ 1792 w 2176"/>
                  <a:gd name="T1" fmla="*/ 0 h 2688"/>
                  <a:gd name="T2" fmla="*/ 1886 w 2176"/>
                  <a:gd name="T3" fmla="*/ 11 h 2688"/>
                  <a:gd name="T4" fmla="*/ 1973 w 2176"/>
                  <a:gd name="T5" fmla="*/ 45 h 2688"/>
                  <a:gd name="T6" fmla="*/ 2047 w 2176"/>
                  <a:gd name="T7" fmla="*/ 97 h 2688"/>
                  <a:gd name="T8" fmla="*/ 2107 w 2176"/>
                  <a:gd name="T9" fmla="*/ 164 h 2688"/>
                  <a:gd name="T10" fmla="*/ 2150 w 2176"/>
                  <a:gd name="T11" fmla="*/ 245 h 2688"/>
                  <a:gd name="T12" fmla="*/ 2173 w 2176"/>
                  <a:gd name="T13" fmla="*/ 335 h 2688"/>
                  <a:gd name="T14" fmla="*/ 2176 w 2176"/>
                  <a:gd name="T15" fmla="*/ 2048 h 2688"/>
                  <a:gd name="T16" fmla="*/ 2164 w 2176"/>
                  <a:gd name="T17" fmla="*/ 2143 h 2688"/>
                  <a:gd name="T18" fmla="*/ 2132 w 2176"/>
                  <a:gd name="T19" fmla="*/ 2228 h 2688"/>
                  <a:gd name="T20" fmla="*/ 2080 w 2176"/>
                  <a:gd name="T21" fmla="*/ 2303 h 2688"/>
                  <a:gd name="T22" fmla="*/ 2011 w 2176"/>
                  <a:gd name="T23" fmla="*/ 2363 h 2688"/>
                  <a:gd name="T24" fmla="*/ 1931 w 2176"/>
                  <a:gd name="T25" fmla="*/ 2406 h 2688"/>
                  <a:gd name="T26" fmla="*/ 1840 w 2176"/>
                  <a:gd name="T27" fmla="*/ 2429 h 2688"/>
                  <a:gd name="T28" fmla="*/ 1024 w 2176"/>
                  <a:gd name="T29" fmla="*/ 2432 h 2688"/>
                  <a:gd name="T30" fmla="*/ 1022 w 2176"/>
                  <a:gd name="T31" fmla="*/ 2586 h 2688"/>
                  <a:gd name="T32" fmla="*/ 1002 w 2176"/>
                  <a:gd name="T33" fmla="*/ 2632 h 2688"/>
                  <a:gd name="T34" fmla="*/ 968 w 2176"/>
                  <a:gd name="T35" fmla="*/ 2667 h 2688"/>
                  <a:gd name="T36" fmla="*/ 922 w 2176"/>
                  <a:gd name="T37" fmla="*/ 2685 h 2688"/>
                  <a:gd name="T38" fmla="*/ 384 w 2176"/>
                  <a:gd name="T39" fmla="*/ 2688 h 2688"/>
                  <a:gd name="T40" fmla="*/ 335 w 2176"/>
                  <a:gd name="T41" fmla="*/ 2678 h 2688"/>
                  <a:gd name="T42" fmla="*/ 294 w 2176"/>
                  <a:gd name="T43" fmla="*/ 2651 h 2688"/>
                  <a:gd name="T44" fmla="*/ 266 w 2176"/>
                  <a:gd name="T45" fmla="*/ 2610 h 2688"/>
                  <a:gd name="T46" fmla="*/ 256 w 2176"/>
                  <a:gd name="T47" fmla="*/ 2560 h 2688"/>
                  <a:gd name="T48" fmla="*/ 0 w 2176"/>
                  <a:gd name="T49" fmla="*/ 2432 h 2688"/>
                  <a:gd name="T50" fmla="*/ 1792 w 2176"/>
                  <a:gd name="T51" fmla="*/ 1920 h 2688"/>
                  <a:gd name="T52" fmla="*/ 1841 w 2176"/>
                  <a:gd name="T53" fmla="*/ 1910 h 2688"/>
                  <a:gd name="T54" fmla="*/ 1882 w 2176"/>
                  <a:gd name="T55" fmla="*/ 1883 h 2688"/>
                  <a:gd name="T56" fmla="*/ 1910 w 2176"/>
                  <a:gd name="T57" fmla="*/ 1842 h 2688"/>
                  <a:gd name="T58" fmla="*/ 1920 w 2176"/>
                  <a:gd name="T59" fmla="*/ 1792 h 2688"/>
                  <a:gd name="T60" fmla="*/ 1917 w 2176"/>
                  <a:gd name="T61" fmla="*/ 358 h 2688"/>
                  <a:gd name="T62" fmla="*/ 1897 w 2176"/>
                  <a:gd name="T63" fmla="*/ 313 h 2688"/>
                  <a:gd name="T64" fmla="*/ 1863 w 2176"/>
                  <a:gd name="T65" fmla="*/ 278 h 2688"/>
                  <a:gd name="T66" fmla="*/ 1817 w 2176"/>
                  <a:gd name="T67" fmla="*/ 259 h 2688"/>
                  <a:gd name="T68" fmla="*/ 0 w 2176"/>
                  <a:gd name="T69" fmla="*/ 256 h 2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76" h="2688">
                    <a:moveTo>
                      <a:pt x="0" y="0"/>
                    </a:moveTo>
                    <a:lnTo>
                      <a:pt x="1792" y="0"/>
                    </a:lnTo>
                    <a:lnTo>
                      <a:pt x="1840" y="3"/>
                    </a:lnTo>
                    <a:lnTo>
                      <a:pt x="1886" y="11"/>
                    </a:lnTo>
                    <a:lnTo>
                      <a:pt x="1931" y="26"/>
                    </a:lnTo>
                    <a:lnTo>
                      <a:pt x="1973" y="45"/>
                    </a:lnTo>
                    <a:lnTo>
                      <a:pt x="2011" y="68"/>
                    </a:lnTo>
                    <a:lnTo>
                      <a:pt x="2047" y="97"/>
                    </a:lnTo>
                    <a:lnTo>
                      <a:pt x="2080" y="129"/>
                    </a:lnTo>
                    <a:lnTo>
                      <a:pt x="2107" y="164"/>
                    </a:lnTo>
                    <a:lnTo>
                      <a:pt x="2132" y="203"/>
                    </a:lnTo>
                    <a:lnTo>
                      <a:pt x="2150" y="245"/>
                    </a:lnTo>
                    <a:lnTo>
                      <a:pt x="2164" y="289"/>
                    </a:lnTo>
                    <a:lnTo>
                      <a:pt x="2173" y="335"/>
                    </a:lnTo>
                    <a:lnTo>
                      <a:pt x="2176" y="384"/>
                    </a:lnTo>
                    <a:lnTo>
                      <a:pt x="2176" y="2048"/>
                    </a:lnTo>
                    <a:lnTo>
                      <a:pt x="2173" y="2097"/>
                    </a:lnTo>
                    <a:lnTo>
                      <a:pt x="2164" y="2143"/>
                    </a:lnTo>
                    <a:lnTo>
                      <a:pt x="2150" y="2186"/>
                    </a:lnTo>
                    <a:lnTo>
                      <a:pt x="2132" y="2228"/>
                    </a:lnTo>
                    <a:lnTo>
                      <a:pt x="2107" y="2268"/>
                    </a:lnTo>
                    <a:lnTo>
                      <a:pt x="2080" y="2303"/>
                    </a:lnTo>
                    <a:lnTo>
                      <a:pt x="2047" y="2335"/>
                    </a:lnTo>
                    <a:lnTo>
                      <a:pt x="2011" y="2363"/>
                    </a:lnTo>
                    <a:lnTo>
                      <a:pt x="1973" y="2387"/>
                    </a:lnTo>
                    <a:lnTo>
                      <a:pt x="1931" y="2406"/>
                    </a:lnTo>
                    <a:lnTo>
                      <a:pt x="1886" y="2420"/>
                    </a:lnTo>
                    <a:lnTo>
                      <a:pt x="1840" y="2429"/>
                    </a:lnTo>
                    <a:lnTo>
                      <a:pt x="1792" y="2432"/>
                    </a:lnTo>
                    <a:lnTo>
                      <a:pt x="1024" y="2432"/>
                    </a:lnTo>
                    <a:lnTo>
                      <a:pt x="1024" y="2560"/>
                    </a:lnTo>
                    <a:lnTo>
                      <a:pt x="1022" y="2586"/>
                    </a:lnTo>
                    <a:lnTo>
                      <a:pt x="1015" y="2610"/>
                    </a:lnTo>
                    <a:lnTo>
                      <a:pt x="1002" y="2632"/>
                    </a:lnTo>
                    <a:lnTo>
                      <a:pt x="987" y="2651"/>
                    </a:lnTo>
                    <a:lnTo>
                      <a:pt x="968" y="2667"/>
                    </a:lnTo>
                    <a:lnTo>
                      <a:pt x="945" y="2678"/>
                    </a:lnTo>
                    <a:lnTo>
                      <a:pt x="922" y="2685"/>
                    </a:lnTo>
                    <a:lnTo>
                      <a:pt x="897" y="2688"/>
                    </a:lnTo>
                    <a:lnTo>
                      <a:pt x="384" y="2688"/>
                    </a:lnTo>
                    <a:lnTo>
                      <a:pt x="359" y="2685"/>
                    </a:lnTo>
                    <a:lnTo>
                      <a:pt x="335" y="2678"/>
                    </a:lnTo>
                    <a:lnTo>
                      <a:pt x="313" y="2666"/>
                    </a:lnTo>
                    <a:lnTo>
                      <a:pt x="294" y="2651"/>
                    </a:lnTo>
                    <a:lnTo>
                      <a:pt x="279" y="2631"/>
                    </a:lnTo>
                    <a:lnTo>
                      <a:pt x="266" y="2610"/>
                    </a:lnTo>
                    <a:lnTo>
                      <a:pt x="259" y="2585"/>
                    </a:lnTo>
                    <a:lnTo>
                      <a:pt x="256" y="2560"/>
                    </a:lnTo>
                    <a:lnTo>
                      <a:pt x="256" y="2432"/>
                    </a:lnTo>
                    <a:lnTo>
                      <a:pt x="0" y="2432"/>
                    </a:lnTo>
                    <a:lnTo>
                      <a:pt x="0" y="1920"/>
                    </a:lnTo>
                    <a:lnTo>
                      <a:pt x="1792" y="1920"/>
                    </a:lnTo>
                    <a:lnTo>
                      <a:pt x="1817" y="1918"/>
                    </a:lnTo>
                    <a:lnTo>
                      <a:pt x="1841" y="1910"/>
                    </a:lnTo>
                    <a:lnTo>
                      <a:pt x="1863" y="1898"/>
                    </a:lnTo>
                    <a:lnTo>
                      <a:pt x="1882" y="1883"/>
                    </a:lnTo>
                    <a:lnTo>
                      <a:pt x="1897" y="1864"/>
                    </a:lnTo>
                    <a:lnTo>
                      <a:pt x="1910" y="1842"/>
                    </a:lnTo>
                    <a:lnTo>
                      <a:pt x="1917" y="1818"/>
                    </a:lnTo>
                    <a:lnTo>
                      <a:pt x="1920" y="1792"/>
                    </a:lnTo>
                    <a:lnTo>
                      <a:pt x="1920" y="384"/>
                    </a:lnTo>
                    <a:lnTo>
                      <a:pt x="1917" y="358"/>
                    </a:lnTo>
                    <a:lnTo>
                      <a:pt x="1910" y="334"/>
                    </a:lnTo>
                    <a:lnTo>
                      <a:pt x="1897" y="313"/>
                    </a:lnTo>
                    <a:lnTo>
                      <a:pt x="1882" y="294"/>
                    </a:lnTo>
                    <a:lnTo>
                      <a:pt x="1863" y="278"/>
                    </a:lnTo>
                    <a:lnTo>
                      <a:pt x="1841" y="266"/>
                    </a:lnTo>
                    <a:lnTo>
                      <a:pt x="1817" y="259"/>
                    </a:lnTo>
                    <a:lnTo>
                      <a:pt x="1792" y="256"/>
                    </a:lnTo>
                    <a:lnTo>
                      <a:pt x="0" y="25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sp>
          <p:nvSpPr>
            <p:cNvPr id="51" name="Content Placeholder 1"/>
            <p:cNvSpPr txBox="1">
              <a:spLocks/>
            </p:cNvSpPr>
            <p:nvPr/>
          </p:nvSpPr>
          <p:spPr bwMode="gray">
            <a:xfrm>
              <a:off x="6754879" y="3961816"/>
              <a:ext cx="208390" cy="215444"/>
            </a:xfrm>
            <a:prstGeom prst="rect">
              <a:avLst/>
            </a:prstGeom>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400" dirty="0">
                  <a:latin typeface="Calibri" panose="020F0502020204030204" pitchFamily="34" charset="0"/>
                  <a:cs typeface="Calibri" panose="020F0502020204030204" pitchFamily="34" charset="0"/>
                </a:rPr>
                <a:t>DB</a:t>
              </a:r>
            </a:p>
          </p:txBody>
        </p:sp>
        <p:grpSp>
          <p:nvGrpSpPr>
            <p:cNvPr id="52" name="Group 51"/>
            <p:cNvGrpSpPr/>
            <p:nvPr/>
          </p:nvGrpSpPr>
          <p:grpSpPr>
            <a:xfrm>
              <a:off x="6742393" y="3402562"/>
              <a:ext cx="233363" cy="401637"/>
              <a:chOff x="2641600" y="3975101"/>
              <a:chExt cx="233363" cy="401637"/>
            </a:xfrm>
            <a:solidFill>
              <a:schemeClr val="tx1">
                <a:lumMod val="65000"/>
                <a:lumOff val="35000"/>
              </a:schemeClr>
            </a:solidFill>
          </p:grpSpPr>
          <p:sp>
            <p:nvSpPr>
              <p:cNvPr id="62" name="Freeform 46"/>
              <p:cNvSpPr>
                <a:spLocks/>
              </p:cNvSpPr>
              <p:nvPr/>
            </p:nvSpPr>
            <p:spPr bwMode="auto">
              <a:xfrm>
                <a:off x="2641600" y="3975101"/>
                <a:ext cx="233363" cy="69850"/>
              </a:xfrm>
              <a:custGeom>
                <a:avLst/>
                <a:gdLst>
                  <a:gd name="T0" fmla="*/ 977 w 1910"/>
                  <a:gd name="T1" fmla="*/ 0 h 580"/>
                  <a:gd name="T2" fmla="*/ 1035 w 1910"/>
                  <a:gd name="T3" fmla="*/ 1 h 580"/>
                  <a:gd name="T4" fmla="*/ 1104 w 1910"/>
                  <a:gd name="T5" fmla="*/ 3 h 580"/>
                  <a:gd name="T6" fmla="*/ 1184 w 1910"/>
                  <a:gd name="T7" fmla="*/ 7 h 580"/>
                  <a:gd name="T8" fmla="*/ 1272 w 1910"/>
                  <a:gd name="T9" fmla="*/ 12 h 580"/>
                  <a:gd name="T10" fmla="*/ 1364 w 1910"/>
                  <a:gd name="T11" fmla="*/ 20 h 580"/>
                  <a:gd name="T12" fmla="*/ 1457 w 1910"/>
                  <a:gd name="T13" fmla="*/ 31 h 580"/>
                  <a:gd name="T14" fmla="*/ 1549 w 1910"/>
                  <a:gd name="T15" fmla="*/ 47 h 580"/>
                  <a:gd name="T16" fmla="*/ 1637 w 1910"/>
                  <a:gd name="T17" fmla="*/ 68 h 580"/>
                  <a:gd name="T18" fmla="*/ 1717 w 1910"/>
                  <a:gd name="T19" fmla="*/ 93 h 580"/>
                  <a:gd name="T20" fmla="*/ 1787 w 1910"/>
                  <a:gd name="T21" fmla="*/ 124 h 580"/>
                  <a:gd name="T22" fmla="*/ 1844 w 1910"/>
                  <a:gd name="T23" fmla="*/ 163 h 580"/>
                  <a:gd name="T24" fmla="*/ 1885 w 1910"/>
                  <a:gd name="T25" fmla="*/ 207 h 580"/>
                  <a:gd name="T26" fmla="*/ 1907 w 1910"/>
                  <a:gd name="T27" fmla="*/ 260 h 580"/>
                  <a:gd name="T28" fmla="*/ 1907 w 1910"/>
                  <a:gd name="T29" fmla="*/ 319 h 580"/>
                  <a:gd name="T30" fmla="*/ 1885 w 1910"/>
                  <a:gd name="T31" fmla="*/ 371 h 580"/>
                  <a:gd name="T32" fmla="*/ 1844 w 1910"/>
                  <a:gd name="T33" fmla="*/ 416 h 580"/>
                  <a:gd name="T34" fmla="*/ 1787 w 1910"/>
                  <a:gd name="T35" fmla="*/ 454 h 580"/>
                  <a:gd name="T36" fmla="*/ 1717 w 1910"/>
                  <a:gd name="T37" fmla="*/ 486 h 580"/>
                  <a:gd name="T38" fmla="*/ 1637 w 1910"/>
                  <a:gd name="T39" fmla="*/ 512 h 580"/>
                  <a:gd name="T40" fmla="*/ 1549 w 1910"/>
                  <a:gd name="T41" fmla="*/ 533 h 580"/>
                  <a:gd name="T42" fmla="*/ 1457 w 1910"/>
                  <a:gd name="T43" fmla="*/ 548 h 580"/>
                  <a:gd name="T44" fmla="*/ 1364 w 1910"/>
                  <a:gd name="T45" fmla="*/ 561 h 580"/>
                  <a:gd name="T46" fmla="*/ 1272 w 1910"/>
                  <a:gd name="T47" fmla="*/ 569 h 580"/>
                  <a:gd name="T48" fmla="*/ 1184 w 1910"/>
                  <a:gd name="T49" fmla="*/ 574 h 580"/>
                  <a:gd name="T50" fmla="*/ 1104 w 1910"/>
                  <a:gd name="T51" fmla="*/ 577 h 580"/>
                  <a:gd name="T52" fmla="*/ 1034 w 1910"/>
                  <a:gd name="T53" fmla="*/ 580 h 580"/>
                  <a:gd name="T54" fmla="*/ 977 w 1910"/>
                  <a:gd name="T55" fmla="*/ 580 h 580"/>
                  <a:gd name="T56" fmla="*/ 933 w 1910"/>
                  <a:gd name="T57" fmla="*/ 579 h 580"/>
                  <a:gd name="T58" fmla="*/ 875 w 1910"/>
                  <a:gd name="T59" fmla="*/ 577 h 580"/>
                  <a:gd name="T60" fmla="*/ 806 w 1910"/>
                  <a:gd name="T61" fmla="*/ 576 h 580"/>
                  <a:gd name="T62" fmla="*/ 726 w 1910"/>
                  <a:gd name="T63" fmla="*/ 572 h 580"/>
                  <a:gd name="T64" fmla="*/ 638 w 1910"/>
                  <a:gd name="T65" fmla="*/ 567 h 580"/>
                  <a:gd name="T66" fmla="*/ 546 w 1910"/>
                  <a:gd name="T67" fmla="*/ 559 h 580"/>
                  <a:gd name="T68" fmla="*/ 453 w 1910"/>
                  <a:gd name="T69" fmla="*/ 547 h 580"/>
                  <a:gd name="T70" fmla="*/ 360 w 1910"/>
                  <a:gd name="T71" fmla="*/ 532 h 580"/>
                  <a:gd name="T72" fmla="*/ 273 w 1910"/>
                  <a:gd name="T73" fmla="*/ 511 h 580"/>
                  <a:gd name="T74" fmla="*/ 193 w 1910"/>
                  <a:gd name="T75" fmla="*/ 486 h 580"/>
                  <a:gd name="T76" fmla="*/ 122 w 1910"/>
                  <a:gd name="T77" fmla="*/ 455 h 580"/>
                  <a:gd name="T78" fmla="*/ 66 w 1910"/>
                  <a:gd name="T79" fmla="*/ 416 h 580"/>
                  <a:gd name="T80" fmla="*/ 25 w 1910"/>
                  <a:gd name="T81" fmla="*/ 372 h 580"/>
                  <a:gd name="T82" fmla="*/ 3 w 1910"/>
                  <a:gd name="T83" fmla="*/ 319 h 580"/>
                  <a:gd name="T84" fmla="*/ 3 w 1910"/>
                  <a:gd name="T85" fmla="*/ 260 h 580"/>
                  <a:gd name="T86" fmla="*/ 25 w 1910"/>
                  <a:gd name="T87" fmla="*/ 207 h 580"/>
                  <a:gd name="T88" fmla="*/ 66 w 1910"/>
                  <a:gd name="T89" fmla="*/ 163 h 580"/>
                  <a:gd name="T90" fmla="*/ 122 w 1910"/>
                  <a:gd name="T91" fmla="*/ 124 h 580"/>
                  <a:gd name="T92" fmla="*/ 193 w 1910"/>
                  <a:gd name="T93" fmla="*/ 93 h 580"/>
                  <a:gd name="T94" fmla="*/ 273 w 1910"/>
                  <a:gd name="T95" fmla="*/ 68 h 580"/>
                  <a:gd name="T96" fmla="*/ 360 w 1910"/>
                  <a:gd name="T97" fmla="*/ 47 h 580"/>
                  <a:gd name="T98" fmla="*/ 453 w 1910"/>
                  <a:gd name="T99" fmla="*/ 31 h 580"/>
                  <a:gd name="T100" fmla="*/ 546 w 1910"/>
                  <a:gd name="T101" fmla="*/ 20 h 580"/>
                  <a:gd name="T102" fmla="*/ 638 w 1910"/>
                  <a:gd name="T103" fmla="*/ 12 h 580"/>
                  <a:gd name="T104" fmla="*/ 726 w 1910"/>
                  <a:gd name="T105" fmla="*/ 7 h 580"/>
                  <a:gd name="T106" fmla="*/ 806 w 1910"/>
                  <a:gd name="T107" fmla="*/ 3 h 580"/>
                  <a:gd name="T108" fmla="*/ 875 w 1910"/>
                  <a:gd name="T109" fmla="*/ 1 h 580"/>
                  <a:gd name="T110" fmla="*/ 933 w 1910"/>
                  <a:gd name="T111" fmla="*/ 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10" h="580">
                    <a:moveTo>
                      <a:pt x="956" y="0"/>
                    </a:moveTo>
                    <a:lnTo>
                      <a:pt x="977" y="0"/>
                    </a:lnTo>
                    <a:lnTo>
                      <a:pt x="1004" y="0"/>
                    </a:lnTo>
                    <a:lnTo>
                      <a:pt x="1035" y="1"/>
                    </a:lnTo>
                    <a:lnTo>
                      <a:pt x="1067" y="2"/>
                    </a:lnTo>
                    <a:lnTo>
                      <a:pt x="1104" y="3"/>
                    </a:lnTo>
                    <a:lnTo>
                      <a:pt x="1143" y="4"/>
                    </a:lnTo>
                    <a:lnTo>
                      <a:pt x="1184" y="7"/>
                    </a:lnTo>
                    <a:lnTo>
                      <a:pt x="1227" y="9"/>
                    </a:lnTo>
                    <a:lnTo>
                      <a:pt x="1272" y="12"/>
                    </a:lnTo>
                    <a:lnTo>
                      <a:pt x="1318" y="16"/>
                    </a:lnTo>
                    <a:lnTo>
                      <a:pt x="1364" y="20"/>
                    </a:lnTo>
                    <a:lnTo>
                      <a:pt x="1410" y="25"/>
                    </a:lnTo>
                    <a:lnTo>
                      <a:pt x="1457" y="31"/>
                    </a:lnTo>
                    <a:lnTo>
                      <a:pt x="1504" y="39"/>
                    </a:lnTo>
                    <a:lnTo>
                      <a:pt x="1549" y="47"/>
                    </a:lnTo>
                    <a:lnTo>
                      <a:pt x="1594" y="56"/>
                    </a:lnTo>
                    <a:lnTo>
                      <a:pt x="1637" y="68"/>
                    </a:lnTo>
                    <a:lnTo>
                      <a:pt x="1678" y="79"/>
                    </a:lnTo>
                    <a:lnTo>
                      <a:pt x="1717" y="93"/>
                    </a:lnTo>
                    <a:lnTo>
                      <a:pt x="1754" y="108"/>
                    </a:lnTo>
                    <a:lnTo>
                      <a:pt x="1787" y="124"/>
                    </a:lnTo>
                    <a:lnTo>
                      <a:pt x="1818" y="143"/>
                    </a:lnTo>
                    <a:lnTo>
                      <a:pt x="1844" y="163"/>
                    </a:lnTo>
                    <a:lnTo>
                      <a:pt x="1867" y="183"/>
                    </a:lnTo>
                    <a:lnTo>
                      <a:pt x="1885" y="207"/>
                    </a:lnTo>
                    <a:lnTo>
                      <a:pt x="1899" y="232"/>
                    </a:lnTo>
                    <a:lnTo>
                      <a:pt x="1907" y="260"/>
                    </a:lnTo>
                    <a:lnTo>
                      <a:pt x="1910" y="289"/>
                    </a:lnTo>
                    <a:lnTo>
                      <a:pt x="1907" y="319"/>
                    </a:lnTo>
                    <a:lnTo>
                      <a:pt x="1899" y="346"/>
                    </a:lnTo>
                    <a:lnTo>
                      <a:pt x="1885" y="371"/>
                    </a:lnTo>
                    <a:lnTo>
                      <a:pt x="1867" y="394"/>
                    </a:lnTo>
                    <a:lnTo>
                      <a:pt x="1844" y="416"/>
                    </a:lnTo>
                    <a:lnTo>
                      <a:pt x="1818" y="436"/>
                    </a:lnTo>
                    <a:lnTo>
                      <a:pt x="1787" y="454"/>
                    </a:lnTo>
                    <a:lnTo>
                      <a:pt x="1754" y="470"/>
                    </a:lnTo>
                    <a:lnTo>
                      <a:pt x="1717" y="486"/>
                    </a:lnTo>
                    <a:lnTo>
                      <a:pt x="1678" y="499"/>
                    </a:lnTo>
                    <a:lnTo>
                      <a:pt x="1637" y="512"/>
                    </a:lnTo>
                    <a:lnTo>
                      <a:pt x="1594" y="522"/>
                    </a:lnTo>
                    <a:lnTo>
                      <a:pt x="1549" y="533"/>
                    </a:lnTo>
                    <a:lnTo>
                      <a:pt x="1504" y="541"/>
                    </a:lnTo>
                    <a:lnTo>
                      <a:pt x="1457" y="548"/>
                    </a:lnTo>
                    <a:lnTo>
                      <a:pt x="1410" y="555"/>
                    </a:lnTo>
                    <a:lnTo>
                      <a:pt x="1364" y="561"/>
                    </a:lnTo>
                    <a:lnTo>
                      <a:pt x="1317" y="565"/>
                    </a:lnTo>
                    <a:lnTo>
                      <a:pt x="1272" y="569"/>
                    </a:lnTo>
                    <a:lnTo>
                      <a:pt x="1227" y="572"/>
                    </a:lnTo>
                    <a:lnTo>
                      <a:pt x="1184" y="574"/>
                    </a:lnTo>
                    <a:lnTo>
                      <a:pt x="1143" y="576"/>
                    </a:lnTo>
                    <a:lnTo>
                      <a:pt x="1104" y="577"/>
                    </a:lnTo>
                    <a:lnTo>
                      <a:pt x="1067" y="579"/>
                    </a:lnTo>
                    <a:lnTo>
                      <a:pt x="1034" y="580"/>
                    </a:lnTo>
                    <a:lnTo>
                      <a:pt x="1004" y="580"/>
                    </a:lnTo>
                    <a:lnTo>
                      <a:pt x="977" y="580"/>
                    </a:lnTo>
                    <a:lnTo>
                      <a:pt x="956" y="579"/>
                    </a:lnTo>
                    <a:lnTo>
                      <a:pt x="933" y="579"/>
                    </a:lnTo>
                    <a:lnTo>
                      <a:pt x="906" y="579"/>
                    </a:lnTo>
                    <a:lnTo>
                      <a:pt x="875" y="577"/>
                    </a:lnTo>
                    <a:lnTo>
                      <a:pt x="843" y="577"/>
                    </a:lnTo>
                    <a:lnTo>
                      <a:pt x="806" y="576"/>
                    </a:lnTo>
                    <a:lnTo>
                      <a:pt x="767" y="574"/>
                    </a:lnTo>
                    <a:lnTo>
                      <a:pt x="726" y="572"/>
                    </a:lnTo>
                    <a:lnTo>
                      <a:pt x="683" y="570"/>
                    </a:lnTo>
                    <a:lnTo>
                      <a:pt x="638" y="567"/>
                    </a:lnTo>
                    <a:lnTo>
                      <a:pt x="592" y="563"/>
                    </a:lnTo>
                    <a:lnTo>
                      <a:pt x="546" y="559"/>
                    </a:lnTo>
                    <a:lnTo>
                      <a:pt x="500" y="554"/>
                    </a:lnTo>
                    <a:lnTo>
                      <a:pt x="453" y="547"/>
                    </a:lnTo>
                    <a:lnTo>
                      <a:pt x="406" y="540"/>
                    </a:lnTo>
                    <a:lnTo>
                      <a:pt x="360" y="532"/>
                    </a:lnTo>
                    <a:lnTo>
                      <a:pt x="316" y="522"/>
                    </a:lnTo>
                    <a:lnTo>
                      <a:pt x="273" y="511"/>
                    </a:lnTo>
                    <a:lnTo>
                      <a:pt x="232" y="499"/>
                    </a:lnTo>
                    <a:lnTo>
                      <a:pt x="193" y="486"/>
                    </a:lnTo>
                    <a:lnTo>
                      <a:pt x="156" y="471"/>
                    </a:lnTo>
                    <a:lnTo>
                      <a:pt x="122" y="455"/>
                    </a:lnTo>
                    <a:lnTo>
                      <a:pt x="92" y="436"/>
                    </a:lnTo>
                    <a:lnTo>
                      <a:pt x="66" y="416"/>
                    </a:lnTo>
                    <a:lnTo>
                      <a:pt x="43" y="395"/>
                    </a:lnTo>
                    <a:lnTo>
                      <a:pt x="25" y="372"/>
                    </a:lnTo>
                    <a:lnTo>
                      <a:pt x="11" y="347"/>
                    </a:lnTo>
                    <a:lnTo>
                      <a:pt x="3" y="319"/>
                    </a:lnTo>
                    <a:lnTo>
                      <a:pt x="0" y="289"/>
                    </a:lnTo>
                    <a:lnTo>
                      <a:pt x="3" y="260"/>
                    </a:lnTo>
                    <a:lnTo>
                      <a:pt x="11" y="232"/>
                    </a:lnTo>
                    <a:lnTo>
                      <a:pt x="25" y="207"/>
                    </a:lnTo>
                    <a:lnTo>
                      <a:pt x="43" y="183"/>
                    </a:lnTo>
                    <a:lnTo>
                      <a:pt x="66" y="163"/>
                    </a:lnTo>
                    <a:lnTo>
                      <a:pt x="92" y="143"/>
                    </a:lnTo>
                    <a:lnTo>
                      <a:pt x="122" y="124"/>
                    </a:lnTo>
                    <a:lnTo>
                      <a:pt x="156" y="108"/>
                    </a:lnTo>
                    <a:lnTo>
                      <a:pt x="193" y="93"/>
                    </a:lnTo>
                    <a:lnTo>
                      <a:pt x="232" y="79"/>
                    </a:lnTo>
                    <a:lnTo>
                      <a:pt x="273" y="68"/>
                    </a:lnTo>
                    <a:lnTo>
                      <a:pt x="316" y="56"/>
                    </a:lnTo>
                    <a:lnTo>
                      <a:pt x="360" y="47"/>
                    </a:lnTo>
                    <a:lnTo>
                      <a:pt x="406" y="39"/>
                    </a:lnTo>
                    <a:lnTo>
                      <a:pt x="453" y="31"/>
                    </a:lnTo>
                    <a:lnTo>
                      <a:pt x="500" y="25"/>
                    </a:lnTo>
                    <a:lnTo>
                      <a:pt x="546" y="20"/>
                    </a:lnTo>
                    <a:lnTo>
                      <a:pt x="592" y="16"/>
                    </a:lnTo>
                    <a:lnTo>
                      <a:pt x="638" y="12"/>
                    </a:lnTo>
                    <a:lnTo>
                      <a:pt x="683" y="9"/>
                    </a:lnTo>
                    <a:lnTo>
                      <a:pt x="726" y="7"/>
                    </a:lnTo>
                    <a:lnTo>
                      <a:pt x="767" y="4"/>
                    </a:lnTo>
                    <a:lnTo>
                      <a:pt x="806" y="3"/>
                    </a:lnTo>
                    <a:lnTo>
                      <a:pt x="843" y="2"/>
                    </a:lnTo>
                    <a:lnTo>
                      <a:pt x="875" y="1"/>
                    </a:lnTo>
                    <a:lnTo>
                      <a:pt x="906" y="0"/>
                    </a:lnTo>
                    <a:lnTo>
                      <a:pt x="933" y="0"/>
                    </a:lnTo>
                    <a:lnTo>
                      <a:pt x="9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63" name="Freeform 47"/>
              <p:cNvSpPr>
                <a:spLocks/>
              </p:cNvSpPr>
              <p:nvPr/>
            </p:nvSpPr>
            <p:spPr bwMode="auto">
              <a:xfrm>
                <a:off x="2641600" y="4035426"/>
                <a:ext cx="233363" cy="120650"/>
              </a:xfrm>
              <a:custGeom>
                <a:avLst/>
                <a:gdLst>
                  <a:gd name="T0" fmla="*/ 1910 w 1910"/>
                  <a:gd name="T1" fmla="*/ 795 h 985"/>
                  <a:gd name="T2" fmla="*/ 1908 w 1910"/>
                  <a:gd name="T3" fmla="*/ 796 h 985"/>
                  <a:gd name="T4" fmla="*/ 1904 w 1910"/>
                  <a:gd name="T5" fmla="*/ 799 h 985"/>
                  <a:gd name="T6" fmla="*/ 1901 w 1910"/>
                  <a:gd name="T7" fmla="*/ 802 h 985"/>
                  <a:gd name="T8" fmla="*/ 1899 w 1910"/>
                  <a:gd name="T9" fmla="*/ 803 h 985"/>
                  <a:gd name="T10" fmla="*/ 1817 w 1910"/>
                  <a:gd name="T11" fmla="*/ 853 h 985"/>
                  <a:gd name="T12" fmla="*/ 1718 w 1910"/>
                  <a:gd name="T13" fmla="*/ 894 h 985"/>
                  <a:gd name="T14" fmla="*/ 1607 w 1910"/>
                  <a:gd name="T15" fmla="*/ 925 h 985"/>
                  <a:gd name="T16" fmla="*/ 1490 w 1910"/>
                  <a:gd name="T17" fmla="*/ 948 h 985"/>
                  <a:gd name="T18" fmla="*/ 1372 w 1910"/>
                  <a:gd name="T19" fmla="*/ 965 h 985"/>
                  <a:gd name="T20" fmla="*/ 1257 w 1910"/>
                  <a:gd name="T21" fmla="*/ 975 h 985"/>
                  <a:gd name="T22" fmla="*/ 1151 w 1910"/>
                  <a:gd name="T23" fmla="*/ 982 h 985"/>
                  <a:gd name="T24" fmla="*/ 1057 w 1910"/>
                  <a:gd name="T25" fmla="*/ 984 h 985"/>
                  <a:gd name="T26" fmla="*/ 982 w 1910"/>
                  <a:gd name="T27" fmla="*/ 985 h 985"/>
                  <a:gd name="T28" fmla="*/ 927 w 1910"/>
                  <a:gd name="T29" fmla="*/ 984 h 985"/>
                  <a:gd name="T30" fmla="*/ 856 w 1910"/>
                  <a:gd name="T31" fmla="*/ 983 h 985"/>
                  <a:gd name="T32" fmla="*/ 769 w 1910"/>
                  <a:gd name="T33" fmla="*/ 980 h 985"/>
                  <a:gd name="T34" fmla="*/ 669 w 1910"/>
                  <a:gd name="T35" fmla="*/ 975 h 985"/>
                  <a:gd name="T36" fmla="*/ 560 w 1910"/>
                  <a:gd name="T37" fmla="*/ 966 h 985"/>
                  <a:gd name="T38" fmla="*/ 449 w 1910"/>
                  <a:gd name="T39" fmla="*/ 952 h 985"/>
                  <a:gd name="T40" fmla="*/ 337 w 1910"/>
                  <a:gd name="T41" fmla="*/ 932 h 985"/>
                  <a:gd name="T42" fmla="*/ 229 w 1910"/>
                  <a:gd name="T43" fmla="*/ 906 h 985"/>
                  <a:gd name="T44" fmla="*/ 129 w 1910"/>
                  <a:gd name="T45" fmla="*/ 872 h 985"/>
                  <a:gd name="T46" fmla="*/ 44 w 1910"/>
                  <a:gd name="T47" fmla="*/ 828 h 985"/>
                  <a:gd name="T48" fmla="*/ 2 w 1910"/>
                  <a:gd name="T49" fmla="*/ 803 h 985"/>
                  <a:gd name="T50" fmla="*/ 0 w 1910"/>
                  <a:gd name="T51" fmla="*/ 798 h 985"/>
                  <a:gd name="T52" fmla="*/ 36 w 1910"/>
                  <a:gd name="T53" fmla="*/ 27 h 985"/>
                  <a:gd name="T54" fmla="*/ 121 w 1910"/>
                  <a:gd name="T55" fmla="*/ 71 h 985"/>
                  <a:gd name="T56" fmla="*/ 220 w 1910"/>
                  <a:gd name="T57" fmla="*/ 107 h 985"/>
                  <a:gd name="T58" fmla="*/ 328 w 1910"/>
                  <a:gd name="T59" fmla="*/ 134 h 985"/>
                  <a:gd name="T60" fmla="*/ 441 w 1910"/>
                  <a:gd name="T61" fmla="*/ 153 h 985"/>
                  <a:gd name="T62" fmla="*/ 555 w 1910"/>
                  <a:gd name="T63" fmla="*/ 168 h 985"/>
                  <a:gd name="T64" fmla="*/ 665 w 1910"/>
                  <a:gd name="T65" fmla="*/ 177 h 985"/>
                  <a:gd name="T66" fmla="*/ 767 w 1910"/>
                  <a:gd name="T67" fmla="*/ 183 h 985"/>
                  <a:gd name="T68" fmla="*/ 855 w 1910"/>
                  <a:gd name="T69" fmla="*/ 186 h 985"/>
                  <a:gd name="T70" fmla="*/ 926 w 1910"/>
                  <a:gd name="T71" fmla="*/ 187 h 985"/>
                  <a:gd name="T72" fmla="*/ 981 w 1910"/>
                  <a:gd name="T73" fmla="*/ 188 h 985"/>
                  <a:gd name="T74" fmla="*/ 1052 w 1910"/>
                  <a:gd name="T75" fmla="*/ 188 h 985"/>
                  <a:gd name="T76" fmla="*/ 1141 w 1910"/>
                  <a:gd name="T77" fmla="*/ 185 h 985"/>
                  <a:gd name="T78" fmla="*/ 1242 w 1910"/>
                  <a:gd name="T79" fmla="*/ 179 h 985"/>
                  <a:gd name="T80" fmla="*/ 1352 w 1910"/>
                  <a:gd name="T81" fmla="*/ 170 h 985"/>
                  <a:gd name="T82" fmla="*/ 1466 w 1910"/>
                  <a:gd name="T83" fmla="*/ 154 h 985"/>
                  <a:gd name="T84" fmla="*/ 1578 w 1910"/>
                  <a:gd name="T85" fmla="*/ 134 h 985"/>
                  <a:gd name="T86" fmla="*/ 1687 w 1910"/>
                  <a:gd name="T87" fmla="*/ 107 h 985"/>
                  <a:gd name="T88" fmla="*/ 1786 w 1910"/>
                  <a:gd name="T89" fmla="*/ 70 h 985"/>
                  <a:gd name="T90" fmla="*/ 1871 w 1910"/>
                  <a:gd name="T91" fmla="*/ 26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10" h="985">
                    <a:moveTo>
                      <a:pt x="1908" y="0"/>
                    </a:moveTo>
                    <a:lnTo>
                      <a:pt x="1910" y="795"/>
                    </a:lnTo>
                    <a:lnTo>
                      <a:pt x="1909" y="795"/>
                    </a:lnTo>
                    <a:lnTo>
                      <a:pt x="1908" y="796"/>
                    </a:lnTo>
                    <a:lnTo>
                      <a:pt x="1906" y="797"/>
                    </a:lnTo>
                    <a:lnTo>
                      <a:pt x="1904" y="799"/>
                    </a:lnTo>
                    <a:lnTo>
                      <a:pt x="1903" y="800"/>
                    </a:lnTo>
                    <a:lnTo>
                      <a:pt x="1901" y="802"/>
                    </a:lnTo>
                    <a:lnTo>
                      <a:pt x="1900" y="803"/>
                    </a:lnTo>
                    <a:lnTo>
                      <a:pt x="1899" y="803"/>
                    </a:lnTo>
                    <a:lnTo>
                      <a:pt x="1861" y="829"/>
                    </a:lnTo>
                    <a:lnTo>
                      <a:pt x="1817" y="853"/>
                    </a:lnTo>
                    <a:lnTo>
                      <a:pt x="1769" y="875"/>
                    </a:lnTo>
                    <a:lnTo>
                      <a:pt x="1718" y="894"/>
                    </a:lnTo>
                    <a:lnTo>
                      <a:pt x="1664" y="911"/>
                    </a:lnTo>
                    <a:lnTo>
                      <a:pt x="1607" y="925"/>
                    </a:lnTo>
                    <a:lnTo>
                      <a:pt x="1550" y="938"/>
                    </a:lnTo>
                    <a:lnTo>
                      <a:pt x="1490" y="948"/>
                    </a:lnTo>
                    <a:lnTo>
                      <a:pt x="1431" y="957"/>
                    </a:lnTo>
                    <a:lnTo>
                      <a:pt x="1372" y="965"/>
                    </a:lnTo>
                    <a:lnTo>
                      <a:pt x="1314" y="971"/>
                    </a:lnTo>
                    <a:lnTo>
                      <a:pt x="1257" y="975"/>
                    </a:lnTo>
                    <a:lnTo>
                      <a:pt x="1202" y="979"/>
                    </a:lnTo>
                    <a:lnTo>
                      <a:pt x="1151" y="982"/>
                    </a:lnTo>
                    <a:lnTo>
                      <a:pt x="1102" y="983"/>
                    </a:lnTo>
                    <a:lnTo>
                      <a:pt x="1057" y="984"/>
                    </a:lnTo>
                    <a:lnTo>
                      <a:pt x="1017" y="985"/>
                    </a:lnTo>
                    <a:lnTo>
                      <a:pt x="982" y="985"/>
                    </a:lnTo>
                    <a:lnTo>
                      <a:pt x="953" y="984"/>
                    </a:lnTo>
                    <a:lnTo>
                      <a:pt x="927" y="984"/>
                    </a:lnTo>
                    <a:lnTo>
                      <a:pt x="894" y="983"/>
                    </a:lnTo>
                    <a:lnTo>
                      <a:pt x="856" y="983"/>
                    </a:lnTo>
                    <a:lnTo>
                      <a:pt x="815" y="982"/>
                    </a:lnTo>
                    <a:lnTo>
                      <a:pt x="769" y="980"/>
                    </a:lnTo>
                    <a:lnTo>
                      <a:pt x="720" y="978"/>
                    </a:lnTo>
                    <a:lnTo>
                      <a:pt x="669" y="975"/>
                    </a:lnTo>
                    <a:lnTo>
                      <a:pt x="616" y="971"/>
                    </a:lnTo>
                    <a:lnTo>
                      <a:pt x="560" y="966"/>
                    </a:lnTo>
                    <a:lnTo>
                      <a:pt x="505" y="959"/>
                    </a:lnTo>
                    <a:lnTo>
                      <a:pt x="449" y="952"/>
                    </a:lnTo>
                    <a:lnTo>
                      <a:pt x="392" y="943"/>
                    </a:lnTo>
                    <a:lnTo>
                      <a:pt x="337" y="932"/>
                    </a:lnTo>
                    <a:lnTo>
                      <a:pt x="281" y="920"/>
                    </a:lnTo>
                    <a:lnTo>
                      <a:pt x="229" y="906"/>
                    </a:lnTo>
                    <a:lnTo>
                      <a:pt x="178" y="890"/>
                    </a:lnTo>
                    <a:lnTo>
                      <a:pt x="129" y="872"/>
                    </a:lnTo>
                    <a:lnTo>
                      <a:pt x="85" y="851"/>
                    </a:lnTo>
                    <a:lnTo>
                      <a:pt x="44" y="828"/>
                    </a:lnTo>
                    <a:lnTo>
                      <a:pt x="7" y="803"/>
                    </a:lnTo>
                    <a:lnTo>
                      <a:pt x="2" y="803"/>
                    </a:lnTo>
                    <a:lnTo>
                      <a:pt x="1" y="39"/>
                    </a:lnTo>
                    <a:lnTo>
                      <a:pt x="0" y="798"/>
                    </a:lnTo>
                    <a:lnTo>
                      <a:pt x="0" y="1"/>
                    </a:lnTo>
                    <a:lnTo>
                      <a:pt x="36" y="27"/>
                    </a:lnTo>
                    <a:lnTo>
                      <a:pt x="77" y="50"/>
                    </a:lnTo>
                    <a:lnTo>
                      <a:pt x="121" y="71"/>
                    </a:lnTo>
                    <a:lnTo>
                      <a:pt x="169" y="90"/>
                    </a:lnTo>
                    <a:lnTo>
                      <a:pt x="220" y="107"/>
                    </a:lnTo>
                    <a:lnTo>
                      <a:pt x="273" y="121"/>
                    </a:lnTo>
                    <a:lnTo>
                      <a:pt x="328" y="134"/>
                    </a:lnTo>
                    <a:lnTo>
                      <a:pt x="385" y="144"/>
                    </a:lnTo>
                    <a:lnTo>
                      <a:pt x="441" y="153"/>
                    </a:lnTo>
                    <a:lnTo>
                      <a:pt x="499" y="162"/>
                    </a:lnTo>
                    <a:lnTo>
                      <a:pt x="555" y="168"/>
                    </a:lnTo>
                    <a:lnTo>
                      <a:pt x="611" y="173"/>
                    </a:lnTo>
                    <a:lnTo>
                      <a:pt x="665" y="177"/>
                    </a:lnTo>
                    <a:lnTo>
                      <a:pt x="717" y="180"/>
                    </a:lnTo>
                    <a:lnTo>
                      <a:pt x="767" y="183"/>
                    </a:lnTo>
                    <a:lnTo>
                      <a:pt x="813" y="185"/>
                    </a:lnTo>
                    <a:lnTo>
                      <a:pt x="855" y="186"/>
                    </a:lnTo>
                    <a:lnTo>
                      <a:pt x="893" y="187"/>
                    </a:lnTo>
                    <a:lnTo>
                      <a:pt x="926" y="187"/>
                    </a:lnTo>
                    <a:lnTo>
                      <a:pt x="953" y="188"/>
                    </a:lnTo>
                    <a:lnTo>
                      <a:pt x="981" y="188"/>
                    </a:lnTo>
                    <a:lnTo>
                      <a:pt x="1014" y="188"/>
                    </a:lnTo>
                    <a:lnTo>
                      <a:pt x="1052" y="188"/>
                    </a:lnTo>
                    <a:lnTo>
                      <a:pt x="1095" y="187"/>
                    </a:lnTo>
                    <a:lnTo>
                      <a:pt x="1141" y="185"/>
                    </a:lnTo>
                    <a:lnTo>
                      <a:pt x="1191" y="183"/>
                    </a:lnTo>
                    <a:lnTo>
                      <a:pt x="1242" y="179"/>
                    </a:lnTo>
                    <a:lnTo>
                      <a:pt x="1296" y="175"/>
                    </a:lnTo>
                    <a:lnTo>
                      <a:pt x="1352" y="170"/>
                    </a:lnTo>
                    <a:lnTo>
                      <a:pt x="1408" y="163"/>
                    </a:lnTo>
                    <a:lnTo>
                      <a:pt x="1466" y="154"/>
                    </a:lnTo>
                    <a:lnTo>
                      <a:pt x="1523" y="145"/>
                    </a:lnTo>
                    <a:lnTo>
                      <a:pt x="1578" y="134"/>
                    </a:lnTo>
                    <a:lnTo>
                      <a:pt x="1634" y="121"/>
                    </a:lnTo>
                    <a:lnTo>
                      <a:pt x="1687" y="107"/>
                    </a:lnTo>
                    <a:lnTo>
                      <a:pt x="1739" y="89"/>
                    </a:lnTo>
                    <a:lnTo>
                      <a:pt x="1786" y="70"/>
                    </a:lnTo>
                    <a:lnTo>
                      <a:pt x="1831" y="49"/>
                    </a:lnTo>
                    <a:lnTo>
                      <a:pt x="1871" y="26"/>
                    </a:lnTo>
                    <a:lnTo>
                      <a:pt x="19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64" name="Freeform 48"/>
              <p:cNvSpPr>
                <a:spLocks/>
              </p:cNvSpPr>
              <p:nvPr/>
            </p:nvSpPr>
            <p:spPr bwMode="auto">
              <a:xfrm>
                <a:off x="2641600" y="4146551"/>
                <a:ext cx="233363" cy="120650"/>
              </a:xfrm>
              <a:custGeom>
                <a:avLst/>
                <a:gdLst>
                  <a:gd name="T0" fmla="*/ 1910 w 1910"/>
                  <a:gd name="T1" fmla="*/ 795 h 986"/>
                  <a:gd name="T2" fmla="*/ 1908 w 1910"/>
                  <a:gd name="T3" fmla="*/ 796 h 986"/>
                  <a:gd name="T4" fmla="*/ 1904 w 1910"/>
                  <a:gd name="T5" fmla="*/ 799 h 986"/>
                  <a:gd name="T6" fmla="*/ 1901 w 1910"/>
                  <a:gd name="T7" fmla="*/ 803 h 986"/>
                  <a:gd name="T8" fmla="*/ 1899 w 1910"/>
                  <a:gd name="T9" fmla="*/ 805 h 986"/>
                  <a:gd name="T10" fmla="*/ 1817 w 1910"/>
                  <a:gd name="T11" fmla="*/ 855 h 986"/>
                  <a:gd name="T12" fmla="*/ 1718 w 1910"/>
                  <a:gd name="T13" fmla="*/ 894 h 986"/>
                  <a:gd name="T14" fmla="*/ 1607 w 1910"/>
                  <a:gd name="T15" fmla="*/ 925 h 986"/>
                  <a:gd name="T16" fmla="*/ 1490 w 1910"/>
                  <a:gd name="T17" fmla="*/ 949 h 986"/>
                  <a:gd name="T18" fmla="*/ 1372 w 1910"/>
                  <a:gd name="T19" fmla="*/ 965 h 986"/>
                  <a:gd name="T20" fmla="*/ 1257 w 1910"/>
                  <a:gd name="T21" fmla="*/ 976 h 986"/>
                  <a:gd name="T22" fmla="*/ 1151 w 1910"/>
                  <a:gd name="T23" fmla="*/ 983 h 986"/>
                  <a:gd name="T24" fmla="*/ 1057 w 1910"/>
                  <a:gd name="T25" fmla="*/ 985 h 986"/>
                  <a:gd name="T26" fmla="*/ 982 w 1910"/>
                  <a:gd name="T27" fmla="*/ 986 h 986"/>
                  <a:gd name="T28" fmla="*/ 927 w 1910"/>
                  <a:gd name="T29" fmla="*/ 985 h 986"/>
                  <a:gd name="T30" fmla="*/ 856 w 1910"/>
                  <a:gd name="T31" fmla="*/ 984 h 986"/>
                  <a:gd name="T32" fmla="*/ 769 w 1910"/>
                  <a:gd name="T33" fmla="*/ 980 h 986"/>
                  <a:gd name="T34" fmla="*/ 669 w 1910"/>
                  <a:gd name="T35" fmla="*/ 975 h 986"/>
                  <a:gd name="T36" fmla="*/ 560 w 1910"/>
                  <a:gd name="T37" fmla="*/ 966 h 986"/>
                  <a:gd name="T38" fmla="*/ 449 w 1910"/>
                  <a:gd name="T39" fmla="*/ 952 h 986"/>
                  <a:gd name="T40" fmla="*/ 337 w 1910"/>
                  <a:gd name="T41" fmla="*/ 933 h 986"/>
                  <a:gd name="T42" fmla="*/ 229 w 1910"/>
                  <a:gd name="T43" fmla="*/ 907 h 986"/>
                  <a:gd name="T44" fmla="*/ 129 w 1910"/>
                  <a:gd name="T45" fmla="*/ 872 h 986"/>
                  <a:gd name="T46" fmla="*/ 44 w 1910"/>
                  <a:gd name="T47" fmla="*/ 830 h 986"/>
                  <a:gd name="T48" fmla="*/ 2 w 1910"/>
                  <a:gd name="T49" fmla="*/ 805 h 986"/>
                  <a:gd name="T50" fmla="*/ 0 w 1910"/>
                  <a:gd name="T51" fmla="*/ 798 h 986"/>
                  <a:gd name="T52" fmla="*/ 36 w 1910"/>
                  <a:gd name="T53" fmla="*/ 27 h 986"/>
                  <a:gd name="T54" fmla="*/ 121 w 1910"/>
                  <a:gd name="T55" fmla="*/ 71 h 986"/>
                  <a:gd name="T56" fmla="*/ 220 w 1910"/>
                  <a:gd name="T57" fmla="*/ 107 h 986"/>
                  <a:gd name="T58" fmla="*/ 328 w 1910"/>
                  <a:gd name="T59" fmla="*/ 134 h 986"/>
                  <a:gd name="T60" fmla="*/ 441 w 1910"/>
                  <a:gd name="T61" fmla="*/ 154 h 986"/>
                  <a:gd name="T62" fmla="*/ 555 w 1910"/>
                  <a:gd name="T63" fmla="*/ 168 h 986"/>
                  <a:gd name="T64" fmla="*/ 665 w 1910"/>
                  <a:gd name="T65" fmla="*/ 178 h 986"/>
                  <a:gd name="T66" fmla="*/ 767 w 1910"/>
                  <a:gd name="T67" fmla="*/ 183 h 986"/>
                  <a:gd name="T68" fmla="*/ 855 w 1910"/>
                  <a:gd name="T69" fmla="*/ 186 h 986"/>
                  <a:gd name="T70" fmla="*/ 926 w 1910"/>
                  <a:gd name="T71" fmla="*/ 188 h 986"/>
                  <a:gd name="T72" fmla="*/ 981 w 1910"/>
                  <a:gd name="T73" fmla="*/ 188 h 986"/>
                  <a:gd name="T74" fmla="*/ 1052 w 1910"/>
                  <a:gd name="T75" fmla="*/ 188 h 986"/>
                  <a:gd name="T76" fmla="*/ 1141 w 1910"/>
                  <a:gd name="T77" fmla="*/ 185 h 986"/>
                  <a:gd name="T78" fmla="*/ 1242 w 1910"/>
                  <a:gd name="T79" fmla="*/ 180 h 986"/>
                  <a:gd name="T80" fmla="*/ 1352 w 1910"/>
                  <a:gd name="T81" fmla="*/ 170 h 986"/>
                  <a:gd name="T82" fmla="*/ 1466 w 1910"/>
                  <a:gd name="T83" fmla="*/ 156 h 986"/>
                  <a:gd name="T84" fmla="*/ 1578 w 1910"/>
                  <a:gd name="T85" fmla="*/ 135 h 986"/>
                  <a:gd name="T86" fmla="*/ 1687 w 1910"/>
                  <a:gd name="T87" fmla="*/ 107 h 986"/>
                  <a:gd name="T88" fmla="*/ 1786 w 1910"/>
                  <a:gd name="T89" fmla="*/ 70 h 986"/>
                  <a:gd name="T90" fmla="*/ 1871 w 1910"/>
                  <a:gd name="T91" fmla="*/ 2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10" h="986">
                    <a:moveTo>
                      <a:pt x="1908" y="0"/>
                    </a:moveTo>
                    <a:lnTo>
                      <a:pt x="1910" y="795"/>
                    </a:lnTo>
                    <a:lnTo>
                      <a:pt x="1909" y="795"/>
                    </a:lnTo>
                    <a:lnTo>
                      <a:pt x="1908" y="796"/>
                    </a:lnTo>
                    <a:lnTo>
                      <a:pt x="1906" y="798"/>
                    </a:lnTo>
                    <a:lnTo>
                      <a:pt x="1904" y="799"/>
                    </a:lnTo>
                    <a:lnTo>
                      <a:pt x="1903" y="802"/>
                    </a:lnTo>
                    <a:lnTo>
                      <a:pt x="1901" y="803"/>
                    </a:lnTo>
                    <a:lnTo>
                      <a:pt x="1900" y="804"/>
                    </a:lnTo>
                    <a:lnTo>
                      <a:pt x="1899" y="805"/>
                    </a:lnTo>
                    <a:lnTo>
                      <a:pt x="1861" y="831"/>
                    </a:lnTo>
                    <a:lnTo>
                      <a:pt x="1817" y="855"/>
                    </a:lnTo>
                    <a:lnTo>
                      <a:pt x="1769" y="875"/>
                    </a:lnTo>
                    <a:lnTo>
                      <a:pt x="1718" y="894"/>
                    </a:lnTo>
                    <a:lnTo>
                      <a:pt x="1664" y="911"/>
                    </a:lnTo>
                    <a:lnTo>
                      <a:pt x="1607" y="925"/>
                    </a:lnTo>
                    <a:lnTo>
                      <a:pt x="1550" y="938"/>
                    </a:lnTo>
                    <a:lnTo>
                      <a:pt x="1490" y="949"/>
                    </a:lnTo>
                    <a:lnTo>
                      <a:pt x="1431" y="958"/>
                    </a:lnTo>
                    <a:lnTo>
                      <a:pt x="1372" y="965"/>
                    </a:lnTo>
                    <a:lnTo>
                      <a:pt x="1314" y="971"/>
                    </a:lnTo>
                    <a:lnTo>
                      <a:pt x="1257" y="976"/>
                    </a:lnTo>
                    <a:lnTo>
                      <a:pt x="1202" y="979"/>
                    </a:lnTo>
                    <a:lnTo>
                      <a:pt x="1151" y="983"/>
                    </a:lnTo>
                    <a:lnTo>
                      <a:pt x="1102" y="984"/>
                    </a:lnTo>
                    <a:lnTo>
                      <a:pt x="1057" y="985"/>
                    </a:lnTo>
                    <a:lnTo>
                      <a:pt x="1017" y="986"/>
                    </a:lnTo>
                    <a:lnTo>
                      <a:pt x="982" y="986"/>
                    </a:lnTo>
                    <a:lnTo>
                      <a:pt x="953" y="985"/>
                    </a:lnTo>
                    <a:lnTo>
                      <a:pt x="927" y="985"/>
                    </a:lnTo>
                    <a:lnTo>
                      <a:pt x="894" y="985"/>
                    </a:lnTo>
                    <a:lnTo>
                      <a:pt x="856" y="984"/>
                    </a:lnTo>
                    <a:lnTo>
                      <a:pt x="815" y="983"/>
                    </a:lnTo>
                    <a:lnTo>
                      <a:pt x="769" y="980"/>
                    </a:lnTo>
                    <a:lnTo>
                      <a:pt x="720" y="978"/>
                    </a:lnTo>
                    <a:lnTo>
                      <a:pt x="669" y="975"/>
                    </a:lnTo>
                    <a:lnTo>
                      <a:pt x="616" y="971"/>
                    </a:lnTo>
                    <a:lnTo>
                      <a:pt x="560" y="966"/>
                    </a:lnTo>
                    <a:lnTo>
                      <a:pt x="505" y="960"/>
                    </a:lnTo>
                    <a:lnTo>
                      <a:pt x="449" y="952"/>
                    </a:lnTo>
                    <a:lnTo>
                      <a:pt x="392" y="943"/>
                    </a:lnTo>
                    <a:lnTo>
                      <a:pt x="337" y="933"/>
                    </a:lnTo>
                    <a:lnTo>
                      <a:pt x="281" y="920"/>
                    </a:lnTo>
                    <a:lnTo>
                      <a:pt x="229" y="907"/>
                    </a:lnTo>
                    <a:lnTo>
                      <a:pt x="178" y="891"/>
                    </a:lnTo>
                    <a:lnTo>
                      <a:pt x="129" y="872"/>
                    </a:lnTo>
                    <a:lnTo>
                      <a:pt x="85" y="853"/>
                    </a:lnTo>
                    <a:lnTo>
                      <a:pt x="44" y="830"/>
                    </a:lnTo>
                    <a:lnTo>
                      <a:pt x="7" y="805"/>
                    </a:lnTo>
                    <a:lnTo>
                      <a:pt x="2" y="805"/>
                    </a:lnTo>
                    <a:lnTo>
                      <a:pt x="1" y="39"/>
                    </a:lnTo>
                    <a:lnTo>
                      <a:pt x="0" y="798"/>
                    </a:lnTo>
                    <a:lnTo>
                      <a:pt x="0" y="1"/>
                    </a:lnTo>
                    <a:lnTo>
                      <a:pt x="36" y="27"/>
                    </a:lnTo>
                    <a:lnTo>
                      <a:pt x="77" y="51"/>
                    </a:lnTo>
                    <a:lnTo>
                      <a:pt x="121" y="71"/>
                    </a:lnTo>
                    <a:lnTo>
                      <a:pt x="169" y="90"/>
                    </a:lnTo>
                    <a:lnTo>
                      <a:pt x="220" y="107"/>
                    </a:lnTo>
                    <a:lnTo>
                      <a:pt x="273" y="121"/>
                    </a:lnTo>
                    <a:lnTo>
                      <a:pt x="328" y="134"/>
                    </a:lnTo>
                    <a:lnTo>
                      <a:pt x="385" y="144"/>
                    </a:lnTo>
                    <a:lnTo>
                      <a:pt x="441" y="154"/>
                    </a:lnTo>
                    <a:lnTo>
                      <a:pt x="499" y="162"/>
                    </a:lnTo>
                    <a:lnTo>
                      <a:pt x="555" y="168"/>
                    </a:lnTo>
                    <a:lnTo>
                      <a:pt x="611" y="173"/>
                    </a:lnTo>
                    <a:lnTo>
                      <a:pt x="665" y="178"/>
                    </a:lnTo>
                    <a:lnTo>
                      <a:pt x="717" y="181"/>
                    </a:lnTo>
                    <a:lnTo>
                      <a:pt x="767" y="183"/>
                    </a:lnTo>
                    <a:lnTo>
                      <a:pt x="813" y="185"/>
                    </a:lnTo>
                    <a:lnTo>
                      <a:pt x="855" y="186"/>
                    </a:lnTo>
                    <a:lnTo>
                      <a:pt x="893" y="187"/>
                    </a:lnTo>
                    <a:lnTo>
                      <a:pt x="926" y="188"/>
                    </a:lnTo>
                    <a:lnTo>
                      <a:pt x="953" y="188"/>
                    </a:lnTo>
                    <a:lnTo>
                      <a:pt x="981" y="188"/>
                    </a:lnTo>
                    <a:lnTo>
                      <a:pt x="1014" y="188"/>
                    </a:lnTo>
                    <a:lnTo>
                      <a:pt x="1052" y="188"/>
                    </a:lnTo>
                    <a:lnTo>
                      <a:pt x="1095" y="187"/>
                    </a:lnTo>
                    <a:lnTo>
                      <a:pt x="1141" y="185"/>
                    </a:lnTo>
                    <a:lnTo>
                      <a:pt x="1191" y="183"/>
                    </a:lnTo>
                    <a:lnTo>
                      <a:pt x="1242" y="180"/>
                    </a:lnTo>
                    <a:lnTo>
                      <a:pt x="1296" y="175"/>
                    </a:lnTo>
                    <a:lnTo>
                      <a:pt x="1352" y="170"/>
                    </a:lnTo>
                    <a:lnTo>
                      <a:pt x="1408" y="163"/>
                    </a:lnTo>
                    <a:lnTo>
                      <a:pt x="1466" y="156"/>
                    </a:lnTo>
                    <a:lnTo>
                      <a:pt x="1523" y="145"/>
                    </a:lnTo>
                    <a:lnTo>
                      <a:pt x="1578" y="135"/>
                    </a:lnTo>
                    <a:lnTo>
                      <a:pt x="1634" y="121"/>
                    </a:lnTo>
                    <a:lnTo>
                      <a:pt x="1687" y="107"/>
                    </a:lnTo>
                    <a:lnTo>
                      <a:pt x="1739" y="90"/>
                    </a:lnTo>
                    <a:lnTo>
                      <a:pt x="1786" y="70"/>
                    </a:lnTo>
                    <a:lnTo>
                      <a:pt x="1831" y="50"/>
                    </a:lnTo>
                    <a:lnTo>
                      <a:pt x="1871" y="26"/>
                    </a:lnTo>
                    <a:lnTo>
                      <a:pt x="19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65" name="Freeform 49"/>
              <p:cNvSpPr>
                <a:spLocks/>
              </p:cNvSpPr>
              <p:nvPr/>
            </p:nvSpPr>
            <p:spPr bwMode="auto">
              <a:xfrm>
                <a:off x="2641600" y="4256088"/>
                <a:ext cx="233363" cy="120650"/>
              </a:xfrm>
              <a:custGeom>
                <a:avLst/>
                <a:gdLst>
                  <a:gd name="T0" fmla="*/ 1910 w 1910"/>
                  <a:gd name="T1" fmla="*/ 796 h 986"/>
                  <a:gd name="T2" fmla="*/ 1908 w 1910"/>
                  <a:gd name="T3" fmla="*/ 797 h 986"/>
                  <a:gd name="T4" fmla="*/ 1904 w 1910"/>
                  <a:gd name="T5" fmla="*/ 800 h 986"/>
                  <a:gd name="T6" fmla="*/ 1901 w 1910"/>
                  <a:gd name="T7" fmla="*/ 803 h 986"/>
                  <a:gd name="T8" fmla="*/ 1899 w 1910"/>
                  <a:gd name="T9" fmla="*/ 805 h 986"/>
                  <a:gd name="T10" fmla="*/ 1817 w 1910"/>
                  <a:gd name="T11" fmla="*/ 855 h 986"/>
                  <a:gd name="T12" fmla="*/ 1718 w 1910"/>
                  <a:gd name="T13" fmla="*/ 894 h 986"/>
                  <a:gd name="T14" fmla="*/ 1607 w 1910"/>
                  <a:gd name="T15" fmla="*/ 926 h 986"/>
                  <a:gd name="T16" fmla="*/ 1490 w 1910"/>
                  <a:gd name="T17" fmla="*/ 950 h 986"/>
                  <a:gd name="T18" fmla="*/ 1372 w 1910"/>
                  <a:gd name="T19" fmla="*/ 965 h 986"/>
                  <a:gd name="T20" fmla="*/ 1257 w 1910"/>
                  <a:gd name="T21" fmla="*/ 977 h 986"/>
                  <a:gd name="T22" fmla="*/ 1151 w 1910"/>
                  <a:gd name="T23" fmla="*/ 983 h 986"/>
                  <a:gd name="T24" fmla="*/ 1057 w 1910"/>
                  <a:gd name="T25" fmla="*/ 986 h 986"/>
                  <a:gd name="T26" fmla="*/ 982 w 1910"/>
                  <a:gd name="T27" fmla="*/ 986 h 986"/>
                  <a:gd name="T28" fmla="*/ 927 w 1910"/>
                  <a:gd name="T29" fmla="*/ 985 h 986"/>
                  <a:gd name="T30" fmla="*/ 856 w 1910"/>
                  <a:gd name="T31" fmla="*/ 984 h 986"/>
                  <a:gd name="T32" fmla="*/ 769 w 1910"/>
                  <a:gd name="T33" fmla="*/ 981 h 986"/>
                  <a:gd name="T34" fmla="*/ 669 w 1910"/>
                  <a:gd name="T35" fmla="*/ 976 h 986"/>
                  <a:gd name="T36" fmla="*/ 560 w 1910"/>
                  <a:gd name="T37" fmla="*/ 966 h 986"/>
                  <a:gd name="T38" fmla="*/ 449 w 1910"/>
                  <a:gd name="T39" fmla="*/ 953 h 986"/>
                  <a:gd name="T40" fmla="*/ 337 w 1910"/>
                  <a:gd name="T41" fmla="*/ 933 h 986"/>
                  <a:gd name="T42" fmla="*/ 229 w 1910"/>
                  <a:gd name="T43" fmla="*/ 907 h 986"/>
                  <a:gd name="T44" fmla="*/ 129 w 1910"/>
                  <a:gd name="T45" fmla="*/ 873 h 986"/>
                  <a:gd name="T46" fmla="*/ 44 w 1910"/>
                  <a:gd name="T47" fmla="*/ 830 h 986"/>
                  <a:gd name="T48" fmla="*/ 2 w 1910"/>
                  <a:gd name="T49" fmla="*/ 805 h 986"/>
                  <a:gd name="T50" fmla="*/ 0 w 1910"/>
                  <a:gd name="T51" fmla="*/ 799 h 986"/>
                  <a:gd name="T52" fmla="*/ 36 w 1910"/>
                  <a:gd name="T53" fmla="*/ 27 h 986"/>
                  <a:gd name="T54" fmla="*/ 121 w 1910"/>
                  <a:gd name="T55" fmla="*/ 72 h 986"/>
                  <a:gd name="T56" fmla="*/ 220 w 1910"/>
                  <a:gd name="T57" fmla="*/ 107 h 986"/>
                  <a:gd name="T58" fmla="*/ 328 w 1910"/>
                  <a:gd name="T59" fmla="*/ 134 h 986"/>
                  <a:gd name="T60" fmla="*/ 441 w 1910"/>
                  <a:gd name="T61" fmla="*/ 154 h 986"/>
                  <a:gd name="T62" fmla="*/ 555 w 1910"/>
                  <a:gd name="T63" fmla="*/ 169 h 986"/>
                  <a:gd name="T64" fmla="*/ 665 w 1910"/>
                  <a:gd name="T65" fmla="*/ 178 h 986"/>
                  <a:gd name="T66" fmla="*/ 767 w 1910"/>
                  <a:gd name="T67" fmla="*/ 184 h 986"/>
                  <a:gd name="T68" fmla="*/ 855 w 1910"/>
                  <a:gd name="T69" fmla="*/ 186 h 986"/>
                  <a:gd name="T70" fmla="*/ 926 w 1910"/>
                  <a:gd name="T71" fmla="*/ 188 h 986"/>
                  <a:gd name="T72" fmla="*/ 981 w 1910"/>
                  <a:gd name="T73" fmla="*/ 188 h 986"/>
                  <a:gd name="T74" fmla="*/ 1052 w 1910"/>
                  <a:gd name="T75" fmla="*/ 188 h 986"/>
                  <a:gd name="T76" fmla="*/ 1141 w 1910"/>
                  <a:gd name="T77" fmla="*/ 186 h 986"/>
                  <a:gd name="T78" fmla="*/ 1242 w 1910"/>
                  <a:gd name="T79" fmla="*/ 180 h 986"/>
                  <a:gd name="T80" fmla="*/ 1352 w 1910"/>
                  <a:gd name="T81" fmla="*/ 171 h 986"/>
                  <a:gd name="T82" fmla="*/ 1466 w 1910"/>
                  <a:gd name="T83" fmla="*/ 156 h 986"/>
                  <a:gd name="T84" fmla="*/ 1578 w 1910"/>
                  <a:gd name="T85" fmla="*/ 135 h 986"/>
                  <a:gd name="T86" fmla="*/ 1687 w 1910"/>
                  <a:gd name="T87" fmla="*/ 107 h 986"/>
                  <a:gd name="T88" fmla="*/ 1786 w 1910"/>
                  <a:gd name="T89" fmla="*/ 72 h 986"/>
                  <a:gd name="T90" fmla="*/ 1871 w 1910"/>
                  <a:gd name="T91" fmla="*/ 27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10" h="986">
                    <a:moveTo>
                      <a:pt x="1908" y="0"/>
                    </a:moveTo>
                    <a:lnTo>
                      <a:pt x="1910" y="796"/>
                    </a:lnTo>
                    <a:lnTo>
                      <a:pt x="1909" y="796"/>
                    </a:lnTo>
                    <a:lnTo>
                      <a:pt x="1908" y="797"/>
                    </a:lnTo>
                    <a:lnTo>
                      <a:pt x="1906" y="799"/>
                    </a:lnTo>
                    <a:lnTo>
                      <a:pt x="1904" y="800"/>
                    </a:lnTo>
                    <a:lnTo>
                      <a:pt x="1903" y="802"/>
                    </a:lnTo>
                    <a:lnTo>
                      <a:pt x="1901" y="803"/>
                    </a:lnTo>
                    <a:lnTo>
                      <a:pt x="1900" y="804"/>
                    </a:lnTo>
                    <a:lnTo>
                      <a:pt x="1899" y="805"/>
                    </a:lnTo>
                    <a:lnTo>
                      <a:pt x="1861" y="831"/>
                    </a:lnTo>
                    <a:lnTo>
                      <a:pt x="1817" y="855"/>
                    </a:lnTo>
                    <a:lnTo>
                      <a:pt x="1769" y="876"/>
                    </a:lnTo>
                    <a:lnTo>
                      <a:pt x="1718" y="894"/>
                    </a:lnTo>
                    <a:lnTo>
                      <a:pt x="1664" y="911"/>
                    </a:lnTo>
                    <a:lnTo>
                      <a:pt x="1607" y="926"/>
                    </a:lnTo>
                    <a:lnTo>
                      <a:pt x="1550" y="938"/>
                    </a:lnTo>
                    <a:lnTo>
                      <a:pt x="1490" y="950"/>
                    </a:lnTo>
                    <a:lnTo>
                      <a:pt x="1431" y="958"/>
                    </a:lnTo>
                    <a:lnTo>
                      <a:pt x="1372" y="965"/>
                    </a:lnTo>
                    <a:lnTo>
                      <a:pt x="1314" y="971"/>
                    </a:lnTo>
                    <a:lnTo>
                      <a:pt x="1257" y="977"/>
                    </a:lnTo>
                    <a:lnTo>
                      <a:pt x="1202" y="980"/>
                    </a:lnTo>
                    <a:lnTo>
                      <a:pt x="1151" y="983"/>
                    </a:lnTo>
                    <a:lnTo>
                      <a:pt x="1102" y="985"/>
                    </a:lnTo>
                    <a:lnTo>
                      <a:pt x="1057" y="986"/>
                    </a:lnTo>
                    <a:lnTo>
                      <a:pt x="1017" y="986"/>
                    </a:lnTo>
                    <a:lnTo>
                      <a:pt x="982" y="986"/>
                    </a:lnTo>
                    <a:lnTo>
                      <a:pt x="953" y="986"/>
                    </a:lnTo>
                    <a:lnTo>
                      <a:pt x="927" y="985"/>
                    </a:lnTo>
                    <a:lnTo>
                      <a:pt x="894" y="985"/>
                    </a:lnTo>
                    <a:lnTo>
                      <a:pt x="856" y="984"/>
                    </a:lnTo>
                    <a:lnTo>
                      <a:pt x="815" y="983"/>
                    </a:lnTo>
                    <a:lnTo>
                      <a:pt x="769" y="981"/>
                    </a:lnTo>
                    <a:lnTo>
                      <a:pt x="720" y="979"/>
                    </a:lnTo>
                    <a:lnTo>
                      <a:pt x="669" y="976"/>
                    </a:lnTo>
                    <a:lnTo>
                      <a:pt x="616" y="971"/>
                    </a:lnTo>
                    <a:lnTo>
                      <a:pt x="560" y="966"/>
                    </a:lnTo>
                    <a:lnTo>
                      <a:pt x="505" y="960"/>
                    </a:lnTo>
                    <a:lnTo>
                      <a:pt x="449" y="953"/>
                    </a:lnTo>
                    <a:lnTo>
                      <a:pt x="392" y="943"/>
                    </a:lnTo>
                    <a:lnTo>
                      <a:pt x="337" y="933"/>
                    </a:lnTo>
                    <a:lnTo>
                      <a:pt x="281" y="920"/>
                    </a:lnTo>
                    <a:lnTo>
                      <a:pt x="229" y="907"/>
                    </a:lnTo>
                    <a:lnTo>
                      <a:pt x="178" y="890"/>
                    </a:lnTo>
                    <a:lnTo>
                      <a:pt x="129" y="873"/>
                    </a:lnTo>
                    <a:lnTo>
                      <a:pt x="85" y="853"/>
                    </a:lnTo>
                    <a:lnTo>
                      <a:pt x="44" y="830"/>
                    </a:lnTo>
                    <a:lnTo>
                      <a:pt x="7" y="805"/>
                    </a:lnTo>
                    <a:lnTo>
                      <a:pt x="2" y="805"/>
                    </a:lnTo>
                    <a:lnTo>
                      <a:pt x="1" y="41"/>
                    </a:lnTo>
                    <a:lnTo>
                      <a:pt x="0" y="799"/>
                    </a:lnTo>
                    <a:lnTo>
                      <a:pt x="0" y="1"/>
                    </a:lnTo>
                    <a:lnTo>
                      <a:pt x="36" y="27"/>
                    </a:lnTo>
                    <a:lnTo>
                      <a:pt x="77" y="51"/>
                    </a:lnTo>
                    <a:lnTo>
                      <a:pt x="121" y="72"/>
                    </a:lnTo>
                    <a:lnTo>
                      <a:pt x="169" y="91"/>
                    </a:lnTo>
                    <a:lnTo>
                      <a:pt x="220" y="107"/>
                    </a:lnTo>
                    <a:lnTo>
                      <a:pt x="273" y="122"/>
                    </a:lnTo>
                    <a:lnTo>
                      <a:pt x="328" y="134"/>
                    </a:lnTo>
                    <a:lnTo>
                      <a:pt x="385" y="145"/>
                    </a:lnTo>
                    <a:lnTo>
                      <a:pt x="441" y="154"/>
                    </a:lnTo>
                    <a:lnTo>
                      <a:pt x="499" y="162"/>
                    </a:lnTo>
                    <a:lnTo>
                      <a:pt x="555" y="169"/>
                    </a:lnTo>
                    <a:lnTo>
                      <a:pt x="611" y="174"/>
                    </a:lnTo>
                    <a:lnTo>
                      <a:pt x="665" y="178"/>
                    </a:lnTo>
                    <a:lnTo>
                      <a:pt x="717" y="181"/>
                    </a:lnTo>
                    <a:lnTo>
                      <a:pt x="767" y="184"/>
                    </a:lnTo>
                    <a:lnTo>
                      <a:pt x="813" y="185"/>
                    </a:lnTo>
                    <a:lnTo>
                      <a:pt x="855" y="186"/>
                    </a:lnTo>
                    <a:lnTo>
                      <a:pt x="893" y="187"/>
                    </a:lnTo>
                    <a:lnTo>
                      <a:pt x="926" y="188"/>
                    </a:lnTo>
                    <a:lnTo>
                      <a:pt x="953" y="188"/>
                    </a:lnTo>
                    <a:lnTo>
                      <a:pt x="981" y="188"/>
                    </a:lnTo>
                    <a:lnTo>
                      <a:pt x="1014" y="188"/>
                    </a:lnTo>
                    <a:lnTo>
                      <a:pt x="1052" y="188"/>
                    </a:lnTo>
                    <a:lnTo>
                      <a:pt x="1095" y="187"/>
                    </a:lnTo>
                    <a:lnTo>
                      <a:pt x="1141" y="186"/>
                    </a:lnTo>
                    <a:lnTo>
                      <a:pt x="1191" y="183"/>
                    </a:lnTo>
                    <a:lnTo>
                      <a:pt x="1242" y="180"/>
                    </a:lnTo>
                    <a:lnTo>
                      <a:pt x="1296" y="176"/>
                    </a:lnTo>
                    <a:lnTo>
                      <a:pt x="1352" y="171"/>
                    </a:lnTo>
                    <a:lnTo>
                      <a:pt x="1408" y="164"/>
                    </a:lnTo>
                    <a:lnTo>
                      <a:pt x="1466" y="156"/>
                    </a:lnTo>
                    <a:lnTo>
                      <a:pt x="1523" y="147"/>
                    </a:lnTo>
                    <a:lnTo>
                      <a:pt x="1578" y="135"/>
                    </a:lnTo>
                    <a:lnTo>
                      <a:pt x="1634" y="122"/>
                    </a:lnTo>
                    <a:lnTo>
                      <a:pt x="1687" y="107"/>
                    </a:lnTo>
                    <a:lnTo>
                      <a:pt x="1739" y="91"/>
                    </a:lnTo>
                    <a:lnTo>
                      <a:pt x="1786" y="72"/>
                    </a:lnTo>
                    <a:lnTo>
                      <a:pt x="1831" y="50"/>
                    </a:lnTo>
                    <a:lnTo>
                      <a:pt x="1871" y="27"/>
                    </a:lnTo>
                    <a:lnTo>
                      <a:pt x="19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sp>
          <p:nvSpPr>
            <p:cNvPr id="53" name="Freeform 34"/>
            <p:cNvSpPr>
              <a:spLocks noEditPoints="1"/>
            </p:cNvSpPr>
            <p:nvPr/>
          </p:nvSpPr>
          <p:spPr bwMode="auto">
            <a:xfrm>
              <a:off x="6178966" y="4178817"/>
              <a:ext cx="251030" cy="206581"/>
            </a:xfrm>
            <a:custGeom>
              <a:avLst/>
              <a:gdLst>
                <a:gd name="T0" fmla="*/ 311 w 3447"/>
                <a:gd name="T1" fmla="*/ 1796 h 2834"/>
                <a:gd name="T2" fmla="*/ 964 w 3447"/>
                <a:gd name="T3" fmla="*/ 1557 h 2834"/>
                <a:gd name="T4" fmla="*/ 3001 w 3447"/>
                <a:gd name="T5" fmla="*/ 1258 h 2834"/>
                <a:gd name="T6" fmla="*/ 2990 w 3447"/>
                <a:gd name="T7" fmla="*/ 1327 h 2834"/>
                <a:gd name="T8" fmla="*/ 2941 w 3447"/>
                <a:gd name="T9" fmla="*/ 1380 h 2834"/>
                <a:gd name="T10" fmla="*/ 2871 w 3447"/>
                <a:gd name="T11" fmla="*/ 1394 h 2834"/>
                <a:gd name="T12" fmla="*/ 2806 w 3447"/>
                <a:gd name="T13" fmla="*/ 1370 h 2834"/>
                <a:gd name="T14" fmla="*/ 2986 w 3447"/>
                <a:gd name="T15" fmla="*/ 1211 h 2834"/>
                <a:gd name="T16" fmla="*/ 2752 w 3447"/>
                <a:gd name="T17" fmla="*/ 1295 h 2834"/>
                <a:gd name="T18" fmla="*/ 243 w 3447"/>
                <a:gd name="T19" fmla="*/ 493 h 2834"/>
                <a:gd name="T20" fmla="*/ 745 w 3447"/>
                <a:gd name="T21" fmla="*/ 1657 h 2834"/>
                <a:gd name="T22" fmla="*/ 1464 w 3447"/>
                <a:gd name="T23" fmla="*/ 571 h 2834"/>
                <a:gd name="T24" fmla="*/ 2784 w 3447"/>
                <a:gd name="T25" fmla="*/ 1657 h 2834"/>
                <a:gd name="T26" fmla="*/ 2734 w 3447"/>
                <a:gd name="T27" fmla="*/ 1788 h 2834"/>
                <a:gd name="T28" fmla="*/ 1511 w 3447"/>
                <a:gd name="T29" fmla="*/ 1221 h 2834"/>
                <a:gd name="T30" fmla="*/ 3447 w 3447"/>
                <a:gd name="T31" fmla="*/ 2592 h 2834"/>
                <a:gd name="T32" fmla="*/ 243 w 3447"/>
                <a:gd name="T33" fmla="*/ 2834 h 2834"/>
                <a:gd name="T34" fmla="*/ 0 w 3447"/>
                <a:gd name="T35" fmla="*/ 2522 h 2834"/>
                <a:gd name="T36" fmla="*/ 2448 w 3447"/>
                <a:gd name="T37" fmla="*/ 82 h 2834"/>
                <a:gd name="T38" fmla="*/ 2311 w 3447"/>
                <a:gd name="T39" fmla="*/ 99 h 2834"/>
                <a:gd name="T40" fmla="*/ 2184 w 3447"/>
                <a:gd name="T41" fmla="*/ 163 h 2834"/>
                <a:gd name="T42" fmla="*/ 2089 w 3447"/>
                <a:gd name="T43" fmla="*/ 264 h 2834"/>
                <a:gd name="T44" fmla="*/ 2032 w 3447"/>
                <a:gd name="T45" fmla="*/ 387 h 2834"/>
                <a:gd name="T46" fmla="*/ 2020 w 3447"/>
                <a:gd name="T47" fmla="*/ 521 h 2834"/>
                <a:gd name="T48" fmla="*/ 2051 w 3447"/>
                <a:gd name="T49" fmla="*/ 656 h 2834"/>
                <a:gd name="T50" fmla="*/ 2130 w 3447"/>
                <a:gd name="T51" fmla="*/ 776 h 2834"/>
                <a:gd name="T52" fmla="*/ 2240 w 3447"/>
                <a:gd name="T53" fmla="*/ 858 h 2834"/>
                <a:gd name="T54" fmla="*/ 2368 w 3447"/>
                <a:gd name="T55" fmla="*/ 900 h 2834"/>
                <a:gd name="T56" fmla="*/ 2504 w 3447"/>
                <a:gd name="T57" fmla="*/ 899 h 2834"/>
                <a:gd name="T58" fmla="*/ 2635 w 3447"/>
                <a:gd name="T59" fmla="*/ 850 h 2834"/>
                <a:gd name="T60" fmla="*/ 2744 w 3447"/>
                <a:gd name="T61" fmla="*/ 760 h 2834"/>
                <a:gd name="T62" fmla="*/ 2813 w 3447"/>
                <a:gd name="T63" fmla="*/ 643 h 2834"/>
                <a:gd name="T64" fmla="*/ 2840 w 3447"/>
                <a:gd name="T65" fmla="*/ 511 h 2834"/>
                <a:gd name="T66" fmla="*/ 2824 w 3447"/>
                <a:gd name="T67" fmla="*/ 375 h 2834"/>
                <a:gd name="T68" fmla="*/ 2760 w 3447"/>
                <a:gd name="T69" fmla="*/ 247 h 2834"/>
                <a:gd name="T70" fmla="*/ 2659 w 3447"/>
                <a:gd name="T71" fmla="*/ 152 h 2834"/>
                <a:gd name="T72" fmla="*/ 2537 w 3447"/>
                <a:gd name="T73" fmla="*/ 95 h 2834"/>
                <a:gd name="T74" fmla="*/ 2417 w 3447"/>
                <a:gd name="T75" fmla="*/ 0 h 2834"/>
                <a:gd name="T76" fmla="*/ 2558 w 3447"/>
                <a:gd name="T77" fmla="*/ 17 h 2834"/>
                <a:gd name="T78" fmla="*/ 2688 w 3447"/>
                <a:gd name="T79" fmla="*/ 73 h 2834"/>
                <a:gd name="T80" fmla="*/ 2798 w 3447"/>
                <a:gd name="T81" fmla="*/ 165 h 2834"/>
                <a:gd name="T82" fmla="*/ 2880 w 3447"/>
                <a:gd name="T83" fmla="*/ 291 h 2834"/>
                <a:gd name="T84" fmla="*/ 2919 w 3447"/>
                <a:gd name="T85" fmla="*/ 432 h 2834"/>
                <a:gd name="T86" fmla="*/ 2916 w 3447"/>
                <a:gd name="T87" fmla="*/ 574 h 2834"/>
                <a:gd name="T88" fmla="*/ 2873 w 3447"/>
                <a:gd name="T89" fmla="*/ 710 h 2834"/>
                <a:gd name="T90" fmla="*/ 2792 w 3447"/>
                <a:gd name="T91" fmla="*/ 828 h 2834"/>
                <a:gd name="T92" fmla="*/ 2676 w 3447"/>
                <a:gd name="T93" fmla="*/ 921 h 2834"/>
                <a:gd name="T94" fmla="*/ 2539 w 3447"/>
                <a:gd name="T95" fmla="*/ 975 h 2834"/>
                <a:gd name="T96" fmla="*/ 2396 w 3447"/>
                <a:gd name="T97" fmla="*/ 985 h 2834"/>
                <a:gd name="T98" fmla="*/ 2257 w 3447"/>
                <a:gd name="T99" fmla="*/ 955 h 2834"/>
                <a:gd name="T100" fmla="*/ 2132 w 3447"/>
                <a:gd name="T101" fmla="*/ 887 h 2834"/>
                <a:gd name="T102" fmla="*/ 2030 w 3447"/>
                <a:gd name="T103" fmla="*/ 782 h 2834"/>
                <a:gd name="T104" fmla="*/ 1961 w 3447"/>
                <a:gd name="T105" fmla="*/ 649 h 2834"/>
                <a:gd name="T106" fmla="*/ 1937 w 3447"/>
                <a:gd name="T107" fmla="*/ 507 h 2834"/>
                <a:gd name="T108" fmla="*/ 1954 w 3447"/>
                <a:gd name="T109" fmla="*/ 366 h 2834"/>
                <a:gd name="T110" fmla="*/ 2010 w 3447"/>
                <a:gd name="T111" fmla="*/ 235 h 2834"/>
                <a:gd name="T112" fmla="*/ 2102 w 3447"/>
                <a:gd name="T113" fmla="*/ 124 h 2834"/>
                <a:gd name="T114" fmla="*/ 2228 w 3447"/>
                <a:gd name="T115" fmla="*/ 43 h 2834"/>
                <a:gd name="T116" fmla="*/ 2369 w 3447"/>
                <a:gd name="T117" fmla="*/ 4 h 2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7" h="2834">
                  <a:moveTo>
                    <a:pt x="964" y="1557"/>
                  </a:moveTo>
                  <a:lnTo>
                    <a:pt x="824" y="1796"/>
                  </a:lnTo>
                  <a:lnTo>
                    <a:pt x="311" y="1796"/>
                  </a:lnTo>
                  <a:lnTo>
                    <a:pt x="311" y="2523"/>
                  </a:lnTo>
                  <a:lnTo>
                    <a:pt x="1303" y="2523"/>
                  </a:lnTo>
                  <a:lnTo>
                    <a:pt x="964" y="1557"/>
                  </a:lnTo>
                  <a:close/>
                  <a:moveTo>
                    <a:pt x="2986" y="1211"/>
                  </a:moveTo>
                  <a:lnTo>
                    <a:pt x="2996" y="1234"/>
                  </a:lnTo>
                  <a:lnTo>
                    <a:pt x="3001" y="1258"/>
                  </a:lnTo>
                  <a:lnTo>
                    <a:pt x="3001" y="1281"/>
                  </a:lnTo>
                  <a:lnTo>
                    <a:pt x="2998" y="1304"/>
                  </a:lnTo>
                  <a:lnTo>
                    <a:pt x="2990" y="1327"/>
                  </a:lnTo>
                  <a:lnTo>
                    <a:pt x="2977" y="1347"/>
                  </a:lnTo>
                  <a:lnTo>
                    <a:pt x="2961" y="1365"/>
                  </a:lnTo>
                  <a:lnTo>
                    <a:pt x="2941" y="1380"/>
                  </a:lnTo>
                  <a:lnTo>
                    <a:pt x="2919" y="1389"/>
                  </a:lnTo>
                  <a:lnTo>
                    <a:pt x="2894" y="1394"/>
                  </a:lnTo>
                  <a:lnTo>
                    <a:pt x="2871" y="1394"/>
                  </a:lnTo>
                  <a:lnTo>
                    <a:pt x="2848" y="1391"/>
                  </a:lnTo>
                  <a:lnTo>
                    <a:pt x="2826" y="1383"/>
                  </a:lnTo>
                  <a:lnTo>
                    <a:pt x="2806" y="1370"/>
                  </a:lnTo>
                  <a:lnTo>
                    <a:pt x="2789" y="1354"/>
                  </a:lnTo>
                  <a:lnTo>
                    <a:pt x="2774" y="1334"/>
                  </a:lnTo>
                  <a:lnTo>
                    <a:pt x="2986" y="1211"/>
                  </a:lnTo>
                  <a:close/>
                  <a:moveTo>
                    <a:pt x="2800" y="890"/>
                  </a:moveTo>
                  <a:lnTo>
                    <a:pt x="2963" y="1173"/>
                  </a:lnTo>
                  <a:lnTo>
                    <a:pt x="2752" y="1295"/>
                  </a:lnTo>
                  <a:lnTo>
                    <a:pt x="2588" y="1013"/>
                  </a:lnTo>
                  <a:lnTo>
                    <a:pt x="2800" y="890"/>
                  </a:lnTo>
                  <a:close/>
                  <a:moveTo>
                    <a:pt x="243" y="493"/>
                  </a:moveTo>
                  <a:lnTo>
                    <a:pt x="311" y="493"/>
                  </a:lnTo>
                  <a:lnTo>
                    <a:pt x="311" y="1657"/>
                  </a:lnTo>
                  <a:lnTo>
                    <a:pt x="745" y="1657"/>
                  </a:lnTo>
                  <a:lnTo>
                    <a:pt x="996" y="1228"/>
                  </a:lnTo>
                  <a:lnTo>
                    <a:pt x="1262" y="1990"/>
                  </a:lnTo>
                  <a:lnTo>
                    <a:pt x="1464" y="571"/>
                  </a:lnTo>
                  <a:lnTo>
                    <a:pt x="1848" y="1870"/>
                  </a:lnTo>
                  <a:lnTo>
                    <a:pt x="2216" y="1348"/>
                  </a:lnTo>
                  <a:lnTo>
                    <a:pt x="2784" y="1657"/>
                  </a:lnTo>
                  <a:lnTo>
                    <a:pt x="3447" y="1657"/>
                  </a:lnTo>
                  <a:lnTo>
                    <a:pt x="3447" y="1796"/>
                  </a:lnTo>
                  <a:lnTo>
                    <a:pt x="2734" y="1788"/>
                  </a:lnTo>
                  <a:lnTo>
                    <a:pt x="2258" y="1529"/>
                  </a:lnTo>
                  <a:lnTo>
                    <a:pt x="1796" y="2183"/>
                  </a:lnTo>
                  <a:lnTo>
                    <a:pt x="1511" y="1221"/>
                  </a:lnTo>
                  <a:lnTo>
                    <a:pt x="1327" y="2523"/>
                  </a:lnTo>
                  <a:lnTo>
                    <a:pt x="3447" y="2523"/>
                  </a:lnTo>
                  <a:lnTo>
                    <a:pt x="3447" y="2592"/>
                  </a:lnTo>
                  <a:lnTo>
                    <a:pt x="311" y="2592"/>
                  </a:lnTo>
                  <a:lnTo>
                    <a:pt x="311" y="2834"/>
                  </a:lnTo>
                  <a:lnTo>
                    <a:pt x="243" y="2834"/>
                  </a:lnTo>
                  <a:lnTo>
                    <a:pt x="243" y="2592"/>
                  </a:lnTo>
                  <a:lnTo>
                    <a:pt x="0" y="2592"/>
                  </a:lnTo>
                  <a:lnTo>
                    <a:pt x="0" y="2522"/>
                  </a:lnTo>
                  <a:lnTo>
                    <a:pt x="243" y="2522"/>
                  </a:lnTo>
                  <a:lnTo>
                    <a:pt x="243" y="493"/>
                  </a:lnTo>
                  <a:close/>
                  <a:moveTo>
                    <a:pt x="2448" y="82"/>
                  </a:moveTo>
                  <a:lnTo>
                    <a:pt x="2402" y="83"/>
                  </a:lnTo>
                  <a:lnTo>
                    <a:pt x="2356" y="88"/>
                  </a:lnTo>
                  <a:lnTo>
                    <a:pt x="2311" y="99"/>
                  </a:lnTo>
                  <a:lnTo>
                    <a:pt x="2268" y="116"/>
                  </a:lnTo>
                  <a:lnTo>
                    <a:pt x="2224" y="137"/>
                  </a:lnTo>
                  <a:lnTo>
                    <a:pt x="2184" y="163"/>
                  </a:lnTo>
                  <a:lnTo>
                    <a:pt x="2148" y="193"/>
                  </a:lnTo>
                  <a:lnTo>
                    <a:pt x="2116" y="227"/>
                  </a:lnTo>
                  <a:lnTo>
                    <a:pt x="2089" y="264"/>
                  </a:lnTo>
                  <a:lnTo>
                    <a:pt x="2065" y="302"/>
                  </a:lnTo>
                  <a:lnTo>
                    <a:pt x="2046" y="343"/>
                  </a:lnTo>
                  <a:lnTo>
                    <a:pt x="2032" y="387"/>
                  </a:lnTo>
                  <a:lnTo>
                    <a:pt x="2023" y="431"/>
                  </a:lnTo>
                  <a:lnTo>
                    <a:pt x="2019" y="476"/>
                  </a:lnTo>
                  <a:lnTo>
                    <a:pt x="2020" y="521"/>
                  </a:lnTo>
                  <a:lnTo>
                    <a:pt x="2025" y="567"/>
                  </a:lnTo>
                  <a:lnTo>
                    <a:pt x="2036" y="612"/>
                  </a:lnTo>
                  <a:lnTo>
                    <a:pt x="2051" y="656"/>
                  </a:lnTo>
                  <a:lnTo>
                    <a:pt x="2074" y="699"/>
                  </a:lnTo>
                  <a:lnTo>
                    <a:pt x="2100" y="740"/>
                  </a:lnTo>
                  <a:lnTo>
                    <a:pt x="2130" y="776"/>
                  </a:lnTo>
                  <a:lnTo>
                    <a:pt x="2164" y="807"/>
                  </a:lnTo>
                  <a:lnTo>
                    <a:pt x="2201" y="835"/>
                  </a:lnTo>
                  <a:lnTo>
                    <a:pt x="2240" y="858"/>
                  </a:lnTo>
                  <a:lnTo>
                    <a:pt x="2280" y="876"/>
                  </a:lnTo>
                  <a:lnTo>
                    <a:pt x="2324" y="891"/>
                  </a:lnTo>
                  <a:lnTo>
                    <a:pt x="2368" y="900"/>
                  </a:lnTo>
                  <a:lnTo>
                    <a:pt x="2413" y="905"/>
                  </a:lnTo>
                  <a:lnTo>
                    <a:pt x="2458" y="904"/>
                  </a:lnTo>
                  <a:lnTo>
                    <a:pt x="2504" y="899"/>
                  </a:lnTo>
                  <a:lnTo>
                    <a:pt x="2548" y="888"/>
                  </a:lnTo>
                  <a:lnTo>
                    <a:pt x="2593" y="871"/>
                  </a:lnTo>
                  <a:lnTo>
                    <a:pt x="2635" y="850"/>
                  </a:lnTo>
                  <a:lnTo>
                    <a:pt x="2675" y="823"/>
                  </a:lnTo>
                  <a:lnTo>
                    <a:pt x="2711" y="794"/>
                  </a:lnTo>
                  <a:lnTo>
                    <a:pt x="2744" y="760"/>
                  </a:lnTo>
                  <a:lnTo>
                    <a:pt x="2772" y="723"/>
                  </a:lnTo>
                  <a:lnTo>
                    <a:pt x="2794" y="685"/>
                  </a:lnTo>
                  <a:lnTo>
                    <a:pt x="2813" y="643"/>
                  </a:lnTo>
                  <a:lnTo>
                    <a:pt x="2827" y="600"/>
                  </a:lnTo>
                  <a:lnTo>
                    <a:pt x="2836" y="555"/>
                  </a:lnTo>
                  <a:lnTo>
                    <a:pt x="2840" y="511"/>
                  </a:lnTo>
                  <a:lnTo>
                    <a:pt x="2840" y="465"/>
                  </a:lnTo>
                  <a:lnTo>
                    <a:pt x="2835" y="420"/>
                  </a:lnTo>
                  <a:lnTo>
                    <a:pt x="2824" y="375"/>
                  </a:lnTo>
                  <a:lnTo>
                    <a:pt x="2808" y="331"/>
                  </a:lnTo>
                  <a:lnTo>
                    <a:pt x="2786" y="287"/>
                  </a:lnTo>
                  <a:lnTo>
                    <a:pt x="2760" y="247"/>
                  </a:lnTo>
                  <a:lnTo>
                    <a:pt x="2729" y="211"/>
                  </a:lnTo>
                  <a:lnTo>
                    <a:pt x="2696" y="179"/>
                  </a:lnTo>
                  <a:lnTo>
                    <a:pt x="2659" y="152"/>
                  </a:lnTo>
                  <a:lnTo>
                    <a:pt x="2620" y="128"/>
                  </a:lnTo>
                  <a:lnTo>
                    <a:pt x="2579" y="110"/>
                  </a:lnTo>
                  <a:lnTo>
                    <a:pt x="2537" y="95"/>
                  </a:lnTo>
                  <a:lnTo>
                    <a:pt x="2492" y="87"/>
                  </a:lnTo>
                  <a:lnTo>
                    <a:pt x="2448" y="82"/>
                  </a:lnTo>
                  <a:close/>
                  <a:moveTo>
                    <a:pt x="2417" y="0"/>
                  </a:moveTo>
                  <a:lnTo>
                    <a:pt x="2465" y="1"/>
                  </a:lnTo>
                  <a:lnTo>
                    <a:pt x="2511" y="7"/>
                  </a:lnTo>
                  <a:lnTo>
                    <a:pt x="2558" y="17"/>
                  </a:lnTo>
                  <a:lnTo>
                    <a:pt x="2602" y="32"/>
                  </a:lnTo>
                  <a:lnTo>
                    <a:pt x="2646" y="50"/>
                  </a:lnTo>
                  <a:lnTo>
                    <a:pt x="2688" y="73"/>
                  </a:lnTo>
                  <a:lnTo>
                    <a:pt x="2727" y="100"/>
                  </a:lnTo>
                  <a:lnTo>
                    <a:pt x="2764" y="130"/>
                  </a:lnTo>
                  <a:lnTo>
                    <a:pt x="2798" y="165"/>
                  </a:lnTo>
                  <a:lnTo>
                    <a:pt x="2830" y="205"/>
                  </a:lnTo>
                  <a:lnTo>
                    <a:pt x="2857" y="247"/>
                  </a:lnTo>
                  <a:lnTo>
                    <a:pt x="2880" y="291"/>
                  </a:lnTo>
                  <a:lnTo>
                    <a:pt x="2898" y="338"/>
                  </a:lnTo>
                  <a:lnTo>
                    <a:pt x="2911" y="385"/>
                  </a:lnTo>
                  <a:lnTo>
                    <a:pt x="2919" y="432"/>
                  </a:lnTo>
                  <a:lnTo>
                    <a:pt x="2923" y="480"/>
                  </a:lnTo>
                  <a:lnTo>
                    <a:pt x="2922" y="528"/>
                  </a:lnTo>
                  <a:lnTo>
                    <a:pt x="2916" y="574"/>
                  </a:lnTo>
                  <a:lnTo>
                    <a:pt x="2906" y="621"/>
                  </a:lnTo>
                  <a:lnTo>
                    <a:pt x="2891" y="667"/>
                  </a:lnTo>
                  <a:lnTo>
                    <a:pt x="2873" y="710"/>
                  </a:lnTo>
                  <a:lnTo>
                    <a:pt x="2850" y="751"/>
                  </a:lnTo>
                  <a:lnTo>
                    <a:pt x="2824" y="791"/>
                  </a:lnTo>
                  <a:lnTo>
                    <a:pt x="2792" y="828"/>
                  </a:lnTo>
                  <a:lnTo>
                    <a:pt x="2758" y="863"/>
                  </a:lnTo>
                  <a:lnTo>
                    <a:pt x="2719" y="893"/>
                  </a:lnTo>
                  <a:lnTo>
                    <a:pt x="2676" y="921"/>
                  </a:lnTo>
                  <a:lnTo>
                    <a:pt x="2632" y="943"/>
                  </a:lnTo>
                  <a:lnTo>
                    <a:pt x="2585" y="961"/>
                  </a:lnTo>
                  <a:lnTo>
                    <a:pt x="2539" y="975"/>
                  </a:lnTo>
                  <a:lnTo>
                    <a:pt x="2491" y="983"/>
                  </a:lnTo>
                  <a:lnTo>
                    <a:pt x="2443" y="987"/>
                  </a:lnTo>
                  <a:lnTo>
                    <a:pt x="2396" y="985"/>
                  </a:lnTo>
                  <a:lnTo>
                    <a:pt x="2348" y="980"/>
                  </a:lnTo>
                  <a:lnTo>
                    <a:pt x="2302" y="970"/>
                  </a:lnTo>
                  <a:lnTo>
                    <a:pt x="2257" y="955"/>
                  </a:lnTo>
                  <a:lnTo>
                    <a:pt x="2214" y="937"/>
                  </a:lnTo>
                  <a:lnTo>
                    <a:pt x="2172" y="913"/>
                  </a:lnTo>
                  <a:lnTo>
                    <a:pt x="2132" y="887"/>
                  </a:lnTo>
                  <a:lnTo>
                    <a:pt x="2095" y="855"/>
                  </a:lnTo>
                  <a:lnTo>
                    <a:pt x="2061" y="821"/>
                  </a:lnTo>
                  <a:lnTo>
                    <a:pt x="2030" y="782"/>
                  </a:lnTo>
                  <a:lnTo>
                    <a:pt x="2003" y="740"/>
                  </a:lnTo>
                  <a:lnTo>
                    <a:pt x="1979" y="695"/>
                  </a:lnTo>
                  <a:lnTo>
                    <a:pt x="1961" y="649"/>
                  </a:lnTo>
                  <a:lnTo>
                    <a:pt x="1949" y="602"/>
                  </a:lnTo>
                  <a:lnTo>
                    <a:pt x="1940" y="554"/>
                  </a:lnTo>
                  <a:lnTo>
                    <a:pt x="1937" y="507"/>
                  </a:lnTo>
                  <a:lnTo>
                    <a:pt x="1938" y="459"/>
                  </a:lnTo>
                  <a:lnTo>
                    <a:pt x="1943" y="412"/>
                  </a:lnTo>
                  <a:lnTo>
                    <a:pt x="1954" y="366"/>
                  </a:lnTo>
                  <a:lnTo>
                    <a:pt x="1968" y="320"/>
                  </a:lnTo>
                  <a:lnTo>
                    <a:pt x="1987" y="277"/>
                  </a:lnTo>
                  <a:lnTo>
                    <a:pt x="2010" y="235"/>
                  </a:lnTo>
                  <a:lnTo>
                    <a:pt x="2037" y="195"/>
                  </a:lnTo>
                  <a:lnTo>
                    <a:pt x="2067" y="159"/>
                  </a:lnTo>
                  <a:lnTo>
                    <a:pt x="2102" y="124"/>
                  </a:lnTo>
                  <a:lnTo>
                    <a:pt x="2140" y="93"/>
                  </a:lnTo>
                  <a:lnTo>
                    <a:pt x="2183" y="66"/>
                  </a:lnTo>
                  <a:lnTo>
                    <a:pt x="2228" y="43"/>
                  </a:lnTo>
                  <a:lnTo>
                    <a:pt x="2274" y="25"/>
                  </a:lnTo>
                  <a:lnTo>
                    <a:pt x="2322" y="12"/>
                  </a:lnTo>
                  <a:lnTo>
                    <a:pt x="2369" y="4"/>
                  </a:lnTo>
                  <a:lnTo>
                    <a:pt x="2417"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nvGrpSpPr>
            <p:cNvPr id="54" name="Group 53"/>
            <p:cNvGrpSpPr/>
            <p:nvPr/>
          </p:nvGrpSpPr>
          <p:grpSpPr>
            <a:xfrm>
              <a:off x="6730344" y="4187151"/>
              <a:ext cx="270070" cy="211505"/>
              <a:chOff x="12790488" y="2682875"/>
              <a:chExt cx="1149350" cy="900113"/>
            </a:xfrm>
            <a:solidFill>
              <a:schemeClr val="accent4"/>
            </a:solidFill>
          </p:grpSpPr>
          <p:sp>
            <p:nvSpPr>
              <p:cNvPr id="56" name="Freeform 39"/>
              <p:cNvSpPr>
                <a:spLocks/>
              </p:cNvSpPr>
              <p:nvPr/>
            </p:nvSpPr>
            <p:spPr bwMode="auto">
              <a:xfrm>
                <a:off x="12987338" y="3479800"/>
                <a:ext cx="757238" cy="103188"/>
              </a:xfrm>
              <a:custGeom>
                <a:avLst/>
                <a:gdLst>
                  <a:gd name="T0" fmla="*/ 164 w 2387"/>
                  <a:gd name="T1" fmla="*/ 0 h 324"/>
                  <a:gd name="T2" fmla="*/ 2221 w 2387"/>
                  <a:gd name="T3" fmla="*/ 0 h 324"/>
                  <a:gd name="T4" fmla="*/ 2255 w 2387"/>
                  <a:gd name="T5" fmla="*/ 3 h 324"/>
                  <a:gd name="T6" fmla="*/ 2286 w 2387"/>
                  <a:gd name="T7" fmla="*/ 13 h 324"/>
                  <a:gd name="T8" fmla="*/ 2313 w 2387"/>
                  <a:gd name="T9" fmla="*/ 28 h 324"/>
                  <a:gd name="T10" fmla="*/ 2338 w 2387"/>
                  <a:gd name="T11" fmla="*/ 48 h 324"/>
                  <a:gd name="T12" fmla="*/ 2358 w 2387"/>
                  <a:gd name="T13" fmla="*/ 72 h 324"/>
                  <a:gd name="T14" fmla="*/ 2373 w 2387"/>
                  <a:gd name="T15" fmla="*/ 99 h 324"/>
                  <a:gd name="T16" fmla="*/ 2383 w 2387"/>
                  <a:gd name="T17" fmla="*/ 130 h 324"/>
                  <a:gd name="T18" fmla="*/ 2387 w 2387"/>
                  <a:gd name="T19" fmla="*/ 162 h 324"/>
                  <a:gd name="T20" fmla="*/ 2383 w 2387"/>
                  <a:gd name="T21" fmla="*/ 195 h 324"/>
                  <a:gd name="T22" fmla="*/ 2373 w 2387"/>
                  <a:gd name="T23" fmla="*/ 226 h 324"/>
                  <a:gd name="T24" fmla="*/ 2358 w 2387"/>
                  <a:gd name="T25" fmla="*/ 253 h 324"/>
                  <a:gd name="T26" fmla="*/ 2338 w 2387"/>
                  <a:gd name="T27" fmla="*/ 277 h 324"/>
                  <a:gd name="T28" fmla="*/ 2313 w 2387"/>
                  <a:gd name="T29" fmla="*/ 297 h 324"/>
                  <a:gd name="T30" fmla="*/ 2286 w 2387"/>
                  <a:gd name="T31" fmla="*/ 312 h 324"/>
                  <a:gd name="T32" fmla="*/ 2255 w 2387"/>
                  <a:gd name="T33" fmla="*/ 321 h 324"/>
                  <a:gd name="T34" fmla="*/ 2221 w 2387"/>
                  <a:gd name="T35" fmla="*/ 324 h 324"/>
                  <a:gd name="T36" fmla="*/ 164 w 2387"/>
                  <a:gd name="T37" fmla="*/ 324 h 324"/>
                  <a:gd name="T38" fmla="*/ 131 w 2387"/>
                  <a:gd name="T39" fmla="*/ 321 h 324"/>
                  <a:gd name="T40" fmla="*/ 100 w 2387"/>
                  <a:gd name="T41" fmla="*/ 312 h 324"/>
                  <a:gd name="T42" fmla="*/ 72 w 2387"/>
                  <a:gd name="T43" fmla="*/ 297 h 324"/>
                  <a:gd name="T44" fmla="*/ 47 w 2387"/>
                  <a:gd name="T45" fmla="*/ 277 h 324"/>
                  <a:gd name="T46" fmla="*/ 27 w 2387"/>
                  <a:gd name="T47" fmla="*/ 253 h 324"/>
                  <a:gd name="T48" fmla="*/ 12 w 2387"/>
                  <a:gd name="T49" fmla="*/ 226 h 324"/>
                  <a:gd name="T50" fmla="*/ 3 w 2387"/>
                  <a:gd name="T51" fmla="*/ 195 h 324"/>
                  <a:gd name="T52" fmla="*/ 0 w 2387"/>
                  <a:gd name="T53" fmla="*/ 162 h 324"/>
                  <a:gd name="T54" fmla="*/ 3 w 2387"/>
                  <a:gd name="T55" fmla="*/ 130 h 324"/>
                  <a:gd name="T56" fmla="*/ 12 w 2387"/>
                  <a:gd name="T57" fmla="*/ 99 h 324"/>
                  <a:gd name="T58" fmla="*/ 27 w 2387"/>
                  <a:gd name="T59" fmla="*/ 72 h 324"/>
                  <a:gd name="T60" fmla="*/ 47 w 2387"/>
                  <a:gd name="T61" fmla="*/ 48 h 324"/>
                  <a:gd name="T62" fmla="*/ 72 w 2387"/>
                  <a:gd name="T63" fmla="*/ 28 h 324"/>
                  <a:gd name="T64" fmla="*/ 100 w 2387"/>
                  <a:gd name="T65" fmla="*/ 13 h 324"/>
                  <a:gd name="T66" fmla="*/ 131 w 2387"/>
                  <a:gd name="T67" fmla="*/ 3 h 324"/>
                  <a:gd name="T68" fmla="*/ 164 w 2387"/>
                  <a:gd name="T69"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87" h="324">
                    <a:moveTo>
                      <a:pt x="164" y="0"/>
                    </a:moveTo>
                    <a:lnTo>
                      <a:pt x="2221" y="0"/>
                    </a:lnTo>
                    <a:lnTo>
                      <a:pt x="2255" y="3"/>
                    </a:lnTo>
                    <a:lnTo>
                      <a:pt x="2286" y="13"/>
                    </a:lnTo>
                    <a:lnTo>
                      <a:pt x="2313" y="28"/>
                    </a:lnTo>
                    <a:lnTo>
                      <a:pt x="2338" y="48"/>
                    </a:lnTo>
                    <a:lnTo>
                      <a:pt x="2358" y="72"/>
                    </a:lnTo>
                    <a:lnTo>
                      <a:pt x="2373" y="99"/>
                    </a:lnTo>
                    <a:lnTo>
                      <a:pt x="2383" y="130"/>
                    </a:lnTo>
                    <a:lnTo>
                      <a:pt x="2387" y="162"/>
                    </a:lnTo>
                    <a:lnTo>
                      <a:pt x="2383" y="195"/>
                    </a:lnTo>
                    <a:lnTo>
                      <a:pt x="2373" y="226"/>
                    </a:lnTo>
                    <a:lnTo>
                      <a:pt x="2358" y="253"/>
                    </a:lnTo>
                    <a:lnTo>
                      <a:pt x="2338" y="277"/>
                    </a:lnTo>
                    <a:lnTo>
                      <a:pt x="2313" y="297"/>
                    </a:lnTo>
                    <a:lnTo>
                      <a:pt x="2286" y="312"/>
                    </a:lnTo>
                    <a:lnTo>
                      <a:pt x="2255" y="321"/>
                    </a:lnTo>
                    <a:lnTo>
                      <a:pt x="2221" y="324"/>
                    </a:lnTo>
                    <a:lnTo>
                      <a:pt x="164" y="324"/>
                    </a:lnTo>
                    <a:lnTo>
                      <a:pt x="131" y="321"/>
                    </a:lnTo>
                    <a:lnTo>
                      <a:pt x="100" y="312"/>
                    </a:lnTo>
                    <a:lnTo>
                      <a:pt x="72" y="297"/>
                    </a:lnTo>
                    <a:lnTo>
                      <a:pt x="47" y="277"/>
                    </a:lnTo>
                    <a:lnTo>
                      <a:pt x="27" y="253"/>
                    </a:lnTo>
                    <a:lnTo>
                      <a:pt x="12" y="226"/>
                    </a:lnTo>
                    <a:lnTo>
                      <a:pt x="3" y="195"/>
                    </a:lnTo>
                    <a:lnTo>
                      <a:pt x="0" y="162"/>
                    </a:lnTo>
                    <a:lnTo>
                      <a:pt x="3" y="130"/>
                    </a:lnTo>
                    <a:lnTo>
                      <a:pt x="12" y="99"/>
                    </a:lnTo>
                    <a:lnTo>
                      <a:pt x="27" y="72"/>
                    </a:lnTo>
                    <a:lnTo>
                      <a:pt x="47" y="48"/>
                    </a:lnTo>
                    <a:lnTo>
                      <a:pt x="72" y="28"/>
                    </a:lnTo>
                    <a:lnTo>
                      <a:pt x="100" y="13"/>
                    </a:lnTo>
                    <a:lnTo>
                      <a:pt x="131" y="3"/>
                    </a:lnTo>
                    <a:lnTo>
                      <a:pt x="1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57" name="Freeform 40"/>
              <p:cNvSpPr>
                <a:spLocks/>
              </p:cNvSpPr>
              <p:nvPr/>
            </p:nvSpPr>
            <p:spPr bwMode="auto">
              <a:xfrm>
                <a:off x="12973051" y="3055938"/>
                <a:ext cx="79375" cy="204788"/>
              </a:xfrm>
              <a:custGeom>
                <a:avLst/>
                <a:gdLst>
                  <a:gd name="T0" fmla="*/ 124 w 247"/>
                  <a:gd name="T1" fmla="*/ 0 h 647"/>
                  <a:gd name="T2" fmla="*/ 152 w 247"/>
                  <a:gd name="T3" fmla="*/ 3 h 647"/>
                  <a:gd name="T4" fmla="*/ 178 w 247"/>
                  <a:gd name="T5" fmla="*/ 12 h 647"/>
                  <a:gd name="T6" fmla="*/ 201 w 247"/>
                  <a:gd name="T7" fmla="*/ 26 h 647"/>
                  <a:gd name="T8" fmla="*/ 220 w 247"/>
                  <a:gd name="T9" fmla="*/ 46 h 647"/>
                  <a:gd name="T10" fmla="*/ 235 w 247"/>
                  <a:gd name="T11" fmla="*/ 68 h 647"/>
                  <a:gd name="T12" fmla="*/ 244 w 247"/>
                  <a:gd name="T13" fmla="*/ 94 h 647"/>
                  <a:gd name="T14" fmla="*/ 247 w 247"/>
                  <a:gd name="T15" fmla="*/ 121 h 647"/>
                  <a:gd name="T16" fmla="*/ 247 w 247"/>
                  <a:gd name="T17" fmla="*/ 526 h 647"/>
                  <a:gd name="T18" fmla="*/ 244 w 247"/>
                  <a:gd name="T19" fmla="*/ 555 h 647"/>
                  <a:gd name="T20" fmla="*/ 235 w 247"/>
                  <a:gd name="T21" fmla="*/ 580 h 647"/>
                  <a:gd name="T22" fmla="*/ 220 w 247"/>
                  <a:gd name="T23" fmla="*/ 603 h 647"/>
                  <a:gd name="T24" fmla="*/ 201 w 247"/>
                  <a:gd name="T25" fmla="*/ 621 h 647"/>
                  <a:gd name="T26" fmla="*/ 178 w 247"/>
                  <a:gd name="T27" fmla="*/ 635 h 647"/>
                  <a:gd name="T28" fmla="*/ 152 w 247"/>
                  <a:gd name="T29" fmla="*/ 645 h 647"/>
                  <a:gd name="T30" fmla="*/ 124 w 247"/>
                  <a:gd name="T31" fmla="*/ 647 h 647"/>
                  <a:gd name="T32" fmla="*/ 95 w 247"/>
                  <a:gd name="T33" fmla="*/ 645 h 647"/>
                  <a:gd name="T34" fmla="*/ 69 w 247"/>
                  <a:gd name="T35" fmla="*/ 635 h 647"/>
                  <a:gd name="T36" fmla="*/ 46 w 247"/>
                  <a:gd name="T37" fmla="*/ 621 h 647"/>
                  <a:gd name="T38" fmla="*/ 27 w 247"/>
                  <a:gd name="T39" fmla="*/ 603 h 647"/>
                  <a:gd name="T40" fmla="*/ 13 w 247"/>
                  <a:gd name="T41" fmla="*/ 580 h 647"/>
                  <a:gd name="T42" fmla="*/ 3 w 247"/>
                  <a:gd name="T43" fmla="*/ 555 h 647"/>
                  <a:gd name="T44" fmla="*/ 0 w 247"/>
                  <a:gd name="T45" fmla="*/ 526 h 647"/>
                  <a:gd name="T46" fmla="*/ 0 w 247"/>
                  <a:gd name="T47" fmla="*/ 121 h 647"/>
                  <a:gd name="T48" fmla="*/ 3 w 247"/>
                  <a:gd name="T49" fmla="*/ 94 h 647"/>
                  <a:gd name="T50" fmla="*/ 13 w 247"/>
                  <a:gd name="T51" fmla="*/ 68 h 647"/>
                  <a:gd name="T52" fmla="*/ 27 w 247"/>
                  <a:gd name="T53" fmla="*/ 46 h 647"/>
                  <a:gd name="T54" fmla="*/ 46 w 247"/>
                  <a:gd name="T55" fmla="*/ 26 h 647"/>
                  <a:gd name="T56" fmla="*/ 69 w 247"/>
                  <a:gd name="T57" fmla="*/ 12 h 647"/>
                  <a:gd name="T58" fmla="*/ 95 w 247"/>
                  <a:gd name="T59" fmla="*/ 3 h 647"/>
                  <a:gd name="T60" fmla="*/ 124 w 247"/>
                  <a:gd name="T61" fmla="*/ 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7" h="647">
                    <a:moveTo>
                      <a:pt x="124" y="0"/>
                    </a:moveTo>
                    <a:lnTo>
                      <a:pt x="152" y="3"/>
                    </a:lnTo>
                    <a:lnTo>
                      <a:pt x="178" y="12"/>
                    </a:lnTo>
                    <a:lnTo>
                      <a:pt x="201" y="26"/>
                    </a:lnTo>
                    <a:lnTo>
                      <a:pt x="220" y="46"/>
                    </a:lnTo>
                    <a:lnTo>
                      <a:pt x="235" y="68"/>
                    </a:lnTo>
                    <a:lnTo>
                      <a:pt x="244" y="94"/>
                    </a:lnTo>
                    <a:lnTo>
                      <a:pt x="247" y="121"/>
                    </a:lnTo>
                    <a:lnTo>
                      <a:pt x="247" y="526"/>
                    </a:lnTo>
                    <a:lnTo>
                      <a:pt x="244" y="555"/>
                    </a:lnTo>
                    <a:lnTo>
                      <a:pt x="235" y="580"/>
                    </a:lnTo>
                    <a:lnTo>
                      <a:pt x="220" y="603"/>
                    </a:lnTo>
                    <a:lnTo>
                      <a:pt x="201" y="621"/>
                    </a:lnTo>
                    <a:lnTo>
                      <a:pt x="178" y="635"/>
                    </a:lnTo>
                    <a:lnTo>
                      <a:pt x="152" y="645"/>
                    </a:lnTo>
                    <a:lnTo>
                      <a:pt x="124" y="647"/>
                    </a:lnTo>
                    <a:lnTo>
                      <a:pt x="95" y="645"/>
                    </a:lnTo>
                    <a:lnTo>
                      <a:pt x="69" y="635"/>
                    </a:lnTo>
                    <a:lnTo>
                      <a:pt x="46" y="621"/>
                    </a:lnTo>
                    <a:lnTo>
                      <a:pt x="27" y="603"/>
                    </a:lnTo>
                    <a:lnTo>
                      <a:pt x="13" y="580"/>
                    </a:lnTo>
                    <a:lnTo>
                      <a:pt x="3" y="555"/>
                    </a:lnTo>
                    <a:lnTo>
                      <a:pt x="0" y="526"/>
                    </a:lnTo>
                    <a:lnTo>
                      <a:pt x="0" y="121"/>
                    </a:lnTo>
                    <a:lnTo>
                      <a:pt x="3" y="94"/>
                    </a:lnTo>
                    <a:lnTo>
                      <a:pt x="13" y="68"/>
                    </a:lnTo>
                    <a:lnTo>
                      <a:pt x="27" y="46"/>
                    </a:lnTo>
                    <a:lnTo>
                      <a:pt x="46" y="26"/>
                    </a:lnTo>
                    <a:lnTo>
                      <a:pt x="69" y="12"/>
                    </a:lnTo>
                    <a:lnTo>
                      <a:pt x="95" y="3"/>
                    </a:lnTo>
                    <a:lnTo>
                      <a:pt x="1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58" name="Freeform 41"/>
              <p:cNvSpPr>
                <a:spLocks/>
              </p:cNvSpPr>
              <p:nvPr/>
            </p:nvSpPr>
            <p:spPr bwMode="auto">
              <a:xfrm>
                <a:off x="13103226" y="3003550"/>
                <a:ext cx="79375" cy="257175"/>
              </a:xfrm>
              <a:custGeom>
                <a:avLst/>
                <a:gdLst>
                  <a:gd name="T0" fmla="*/ 124 w 247"/>
                  <a:gd name="T1" fmla="*/ 0 h 810"/>
                  <a:gd name="T2" fmla="*/ 152 w 247"/>
                  <a:gd name="T3" fmla="*/ 3 h 810"/>
                  <a:gd name="T4" fmla="*/ 179 w 247"/>
                  <a:gd name="T5" fmla="*/ 13 h 810"/>
                  <a:gd name="T6" fmla="*/ 201 w 247"/>
                  <a:gd name="T7" fmla="*/ 27 h 810"/>
                  <a:gd name="T8" fmla="*/ 221 w 247"/>
                  <a:gd name="T9" fmla="*/ 46 h 810"/>
                  <a:gd name="T10" fmla="*/ 235 w 247"/>
                  <a:gd name="T11" fmla="*/ 69 h 810"/>
                  <a:gd name="T12" fmla="*/ 244 w 247"/>
                  <a:gd name="T13" fmla="*/ 94 h 810"/>
                  <a:gd name="T14" fmla="*/ 247 w 247"/>
                  <a:gd name="T15" fmla="*/ 122 h 810"/>
                  <a:gd name="T16" fmla="*/ 247 w 247"/>
                  <a:gd name="T17" fmla="*/ 689 h 810"/>
                  <a:gd name="T18" fmla="*/ 244 w 247"/>
                  <a:gd name="T19" fmla="*/ 718 h 810"/>
                  <a:gd name="T20" fmla="*/ 235 w 247"/>
                  <a:gd name="T21" fmla="*/ 743 h 810"/>
                  <a:gd name="T22" fmla="*/ 221 w 247"/>
                  <a:gd name="T23" fmla="*/ 766 h 810"/>
                  <a:gd name="T24" fmla="*/ 201 w 247"/>
                  <a:gd name="T25" fmla="*/ 784 h 810"/>
                  <a:gd name="T26" fmla="*/ 179 w 247"/>
                  <a:gd name="T27" fmla="*/ 798 h 810"/>
                  <a:gd name="T28" fmla="*/ 152 w 247"/>
                  <a:gd name="T29" fmla="*/ 808 h 810"/>
                  <a:gd name="T30" fmla="*/ 124 w 247"/>
                  <a:gd name="T31" fmla="*/ 810 h 810"/>
                  <a:gd name="T32" fmla="*/ 95 w 247"/>
                  <a:gd name="T33" fmla="*/ 808 h 810"/>
                  <a:gd name="T34" fmla="*/ 70 w 247"/>
                  <a:gd name="T35" fmla="*/ 798 h 810"/>
                  <a:gd name="T36" fmla="*/ 47 w 247"/>
                  <a:gd name="T37" fmla="*/ 784 h 810"/>
                  <a:gd name="T38" fmla="*/ 28 w 247"/>
                  <a:gd name="T39" fmla="*/ 766 h 810"/>
                  <a:gd name="T40" fmla="*/ 13 w 247"/>
                  <a:gd name="T41" fmla="*/ 743 h 810"/>
                  <a:gd name="T42" fmla="*/ 3 w 247"/>
                  <a:gd name="T43" fmla="*/ 718 h 810"/>
                  <a:gd name="T44" fmla="*/ 0 w 247"/>
                  <a:gd name="T45" fmla="*/ 689 h 810"/>
                  <a:gd name="T46" fmla="*/ 0 w 247"/>
                  <a:gd name="T47" fmla="*/ 122 h 810"/>
                  <a:gd name="T48" fmla="*/ 3 w 247"/>
                  <a:gd name="T49" fmla="*/ 94 h 810"/>
                  <a:gd name="T50" fmla="*/ 13 w 247"/>
                  <a:gd name="T51" fmla="*/ 69 h 810"/>
                  <a:gd name="T52" fmla="*/ 28 w 247"/>
                  <a:gd name="T53" fmla="*/ 46 h 810"/>
                  <a:gd name="T54" fmla="*/ 47 w 247"/>
                  <a:gd name="T55" fmla="*/ 27 h 810"/>
                  <a:gd name="T56" fmla="*/ 70 w 247"/>
                  <a:gd name="T57" fmla="*/ 13 h 810"/>
                  <a:gd name="T58" fmla="*/ 95 w 247"/>
                  <a:gd name="T59" fmla="*/ 3 h 810"/>
                  <a:gd name="T60" fmla="*/ 124 w 247"/>
                  <a:gd name="T61" fmla="*/ 0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7" h="810">
                    <a:moveTo>
                      <a:pt x="124" y="0"/>
                    </a:moveTo>
                    <a:lnTo>
                      <a:pt x="152" y="3"/>
                    </a:lnTo>
                    <a:lnTo>
                      <a:pt x="179" y="13"/>
                    </a:lnTo>
                    <a:lnTo>
                      <a:pt x="201" y="27"/>
                    </a:lnTo>
                    <a:lnTo>
                      <a:pt x="221" y="46"/>
                    </a:lnTo>
                    <a:lnTo>
                      <a:pt x="235" y="69"/>
                    </a:lnTo>
                    <a:lnTo>
                      <a:pt x="244" y="94"/>
                    </a:lnTo>
                    <a:lnTo>
                      <a:pt x="247" y="122"/>
                    </a:lnTo>
                    <a:lnTo>
                      <a:pt x="247" y="689"/>
                    </a:lnTo>
                    <a:lnTo>
                      <a:pt x="244" y="718"/>
                    </a:lnTo>
                    <a:lnTo>
                      <a:pt x="235" y="743"/>
                    </a:lnTo>
                    <a:lnTo>
                      <a:pt x="221" y="766"/>
                    </a:lnTo>
                    <a:lnTo>
                      <a:pt x="201" y="784"/>
                    </a:lnTo>
                    <a:lnTo>
                      <a:pt x="179" y="798"/>
                    </a:lnTo>
                    <a:lnTo>
                      <a:pt x="152" y="808"/>
                    </a:lnTo>
                    <a:lnTo>
                      <a:pt x="124" y="810"/>
                    </a:lnTo>
                    <a:lnTo>
                      <a:pt x="95" y="808"/>
                    </a:lnTo>
                    <a:lnTo>
                      <a:pt x="70" y="798"/>
                    </a:lnTo>
                    <a:lnTo>
                      <a:pt x="47" y="784"/>
                    </a:lnTo>
                    <a:lnTo>
                      <a:pt x="28" y="766"/>
                    </a:lnTo>
                    <a:lnTo>
                      <a:pt x="13" y="743"/>
                    </a:lnTo>
                    <a:lnTo>
                      <a:pt x="3" y="718"/>
                    </a:lnTo>
                    <a:lnTo>
                      <a:pt x="0" y="689"/>
                    </a:lnTo>
                    <a:lnTo>
                      <a:pt x="0" y="122"/>
                    </a:lnTo>
                    <a:lnTo>
                      <a:pt x="3" y="94"/>
                    </a:lnTo>
                    <a:lnTo>
                      <a:pt x="13" y="69"/>
                    </a:lnTo>
                    <a:lnTo>
                      <a:pt x="28" y="46"/>
                    </a:lnTo>
                    <a:lnTo>
                      <a:pt x="47" y="27"/>
                    </a:lnTo>
                    <a:lnTo>
                      <a:pt x="70" y="13"/>
                    </a:lnTo>
                    <a:lnTo>
                      <a:pt x="95" y="3"/>
                    </a:lnTo>
                    <a:lnTo>
                      <a:pt x="1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59" name="Freeform 42"/>
              <p:cNvSpPr>
                <a:spLocks/>
              </p:cNvSpPr>
              <p:nvPr/>
            </p:nvSpPr>
            <p:spPr bwMode="auto">
              <a:xfrm>
                <a:off x="13234988" y="2952750"/>
                <a:ext cx="77788" cy="307975"/>
              </a:xfrm>
              <a:custGeom>
                <a:avLst/>
                <a:gdLst>
                  <a:gd name="T0" fmla="*/ 123 w 246"/>
                  <a:gd name="T1" fmla="*/ 0 h 971"/>
                  <a:gd name="T2" fmla="*/ 151 w 246"/>
                  <a:gd name="T3" fmla="*/ 3 h 971"/>
                  <a:gd name="T4" fmla="*/ 177 w 246"/>
                  <a:gd name="T5" fmla="*/ 12 h 971"/>
                  <a:gd name="T6" fmla="*/ 199 w 246"/>
                  <a:gd name="T7" fmla="*/ 26 h 971"/>
                  <a:gd name="T8" fmla="*/ 219 w 246"/>
                  <a:gd name="T9" fmla="*/ 45 h 971"/>
                  <a:gd name="T10" fmla="*/ 234 w 246"/>
                  <a:gd name="T11" fmla="*/ 67 h 971"/>
                  <a:gd name="T12" fmla="*/ 243 w 246"/>
                  <a:gd name="T13" fmla="*/ 93 h 971"/>
                  <a:gd name="T14" fmla="*/ 246 w 246"/>
                  <a:gd name="T15" fmla="*/ 121 h 971"/>
                  <a:gd name="T16" fmla="*/ 246 w 246"/>
                  <a:gd name="T17" fmla="*/ 850 h 971"/>
                  <a:gd name="T18" fmla="*/ 243 w 246"/>
                  <a:gd name="T19" fmla="*/ 879 h 971"/>
                  <a:gd name="T20" fmla="*/ 234 w 246"/>
                  <a:gd name="T21" fmla="*/ 904 h 971"/>
                  <a:gd name="T22" fmla="*/ 219 w 246"/>
                  <a:gd name="T23" fmla="*/ 927 h 971"/>
                  <a:gd name="T24" fmla="*/ 199 w 246"/>
                  <a:gd name="T25" fmla="*/ 945 h 971"/>
                  <a:gd name="T26" fmla="*/ 177 w 246"/>
                  <a:gd name="T27" fmla="*/ 959 h 971"/>
                  <a:gd name="T28" fmla="*/ 151 w 246"/>
                  <a:gd name="T29" fmla="*/ 969 h 971"/>
                  <a:gd name="T30" fmla="*/ 123 w 246"/>
                  <a:gd name="T31" fmla="*/ 971 h 971"/>
                  <a:gd name="T32" fmla="*/ 94 w 246"/>
                  <a:gd name="T33" fmla="*/ 969 h 971"/>
                  <a:gd name="T34" fmla="*/ 68 w 246"/>
                  <a:gd name="T35" fmla="*/ 959 h 971"/>
                  <a:gd name="T36" fmla="*/ 45 w 246"/>
                  <a:gd name="T37" fmla="*/ 945 h 971"/>
                  <a:gd name="T38" fmla="*/ 26 w 246"/>
                  <a:gd name="T39" fmla="*/ 927 h 971"/>
                  <a:gd name="T40" fmla="*/ 12 w 246"/>
                  <a:gd name="T41" fmla="*/ 904 h 971"/>
                  <a:gd name="T42" fmla="*/ 3 w 246"/>
                  <a:gd name="T43" fmla="*/ 879 h 971"/>
                  <a:gd name="T44" fmla="*/ 0 w 246"/>
                  <a:gd name="T45" fmla="*/ 850 h 971"/>
                  <a:gd name="T46" fmla="*/ 0 w 246"/>
                  <a:gd name="T47" fmla="*/ 121 h 971"/>
                  <a:gd name="T48" fmla="*/ 3 w 246"/>
                  <a:gd name="T49" fmla="*/ 93 h 971"/>
                  <a:gd name="T50" fmla="*/ 12 w 246"/>
                  <a:gd name="T51" fmla="*/ 67 h 971"/>
                  <a:gd name="T52" fmla="*/ 26 w 246"/>
                  <a:gd name="T53" fmla="*/ 45 h 971"/>
                  <a:gd name="T54" fmla="*/ 45 w 246"/>
                  <a:gd name="T55" fmla="*/ 26 h 971"/>
                  <a:gd name="T56" fmla="*/ 68 w 246"/>
                  <a:gd name="T57" fmla="*/ 12 h 971"/>
                  <a:gd name="T58" fmla="*/ 94 w 246"/>
                  <a:gd name="T59" fmla="*/ 3 h 971"/>
                  <a:gd name="T60" fmla="*/ 123 w 246"/>
                  <a:gd name="T61" fmla="*/ 0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6" h="971">
                    <a:moveTo>
                      <a:pt x="123" y="0"/>
                    </a:moveTo>
                    <a:lnTo>
                      <a:pt x="151" y="3"/>
                    </a:lnTo>
                    <a:lnTo>
                      <a:pt x="177" y="12"/>
                    </a:lnTo>
                    <a:lnTo>
                      <a:pt x="199" y="26"/>
                    </a:lnTo>
                    <a:lnTo>
                      <a:pt x="219" y="45"/>
                    </a:lnTo>
                    <a:lnTo>
                      <a:pt x="234" y="67"/>
                    </a:lnTo>
                    <a:lnTo>
                      <a:pt x="243" y="93"/>
                    </a:lnTo>
                    <a:lnTo>
                      <a:pt x="246" y="121"/>
                    </a:lnTo>
                    <a:lnTo>
                      <a:pt x="246" y="850"/>
                    </a:lnTo>
                    <a:lnTo>
                      <a:pt x="243" y="879"/>
                    </a:lnTo>
                    <a:lnTo>
                      <a:pt x="234" y="904"/>
                    </a:lnTo>
                    <a:lnTo>
                      <a:pt x="219" y="927"/>
                    </a:lnTo>
                    <a:lnTo>
                      <a:pt x="199" y="945"/>
                    </a:lnTo>
                    <a:lnTo>
                      <a:pt x="177" y="959"/>
                    </a:lnTo>
                    <a:lnTo>
                      <a:pt x="151" y="969"/>
                    </a:lnTo>
                    <a:lnTo>
                      <a:pt x="123" y="971"/>
                    </a:lnTo>
                    <a:lnTo>
                      <a:pt x="94" y="969"/>
                    </a:lnTo>
                    <a:lnTo>
                      <a:pt x="68" y="959"/>
                    </a:lnTo>
                    <a:lnTo>
                      <a:pt x="45" y="945"/>
                    </a:lnTo>
                    <a:lnTo>
                      <a:pt x="26" y="927"/>
                    </a:lnTo>
                    <a:lnTo>
                      <a:pt x="12" y="904"/>
                    </a:lnTo>
                    <a:lnTo>
                      <a:pt x="3" y="879"/>
                    </a:lnTo>
                    <a:lnTo>
                      <a:pt x="0" y="850"/>
                    </a:lnTo>
                    <a:lnTo>
                      <a:pt x="0" y="121"/>
                    </a:lnTo>
                    <a:lnTo>
                      <a:pt x="3" y="93"/>
                    </a:lnTo>
                    <a:lnTo>
                      <a:pt x="12" y="67"/>
                    </a:lnTo>
                    <a:lnTo>
                      <a:pt x="26" y="45"/>
                    </a:lnTo>
                    <a:lnTo>
                      <a:pt x="45" y="26"/>
                    </a:lnTo>
                    <a:lnTo>
                      <a:pt x="68" y="12"/>
                    </a:lnTo>
                    <a:lnTo>
                      <a:pt x="94" y="3"/>
                    </a:lnTo>
                    <a:lnTo>
                      <a:pt x="1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60" name="Freeform 43"/>
              <p:cNvSpPr>
                <a:spLocks/>
              </p:cNvSpPr>
              <p:nvPr/>
            </p:nvSpPr>
            <p:spPr bwMode="auto">
              <a:xfrm>
                <a:off x="12790488" y="2682875"/>
                <a:ext cx="1149350" cy="746125"/>
              </a:xfrm>
              <a:custGeom>
                <a:avLst/>
                <a:gdLst>
                  <a:gd name="T0" fmla="*/ 3457 w 3621"/>
                  <a:gd name="T1" fmla="*/ 0 h 2350"/>
                  <a:gd name="T2" fmla="*/ 3521 w 3621"/>
                  <a:gd name="T3" fmla="*/ 12 h 2350"/>
                  <a:gd name="T4" fmla="*/ 3573 w 3621"/>
                  <a:gd name="T5" fmla="*/ 47 h 2350"/>
                  <a:gd name="T6" fmla="*/ 3609 w 3621"/>
                  <a:gd name="T7" fmla="*/ 98 h 2350"/>
                  <a:gd name="T8" fmla="*/ 3621 w 3621"/>
                  <a:gd name="T9" fmla="*/ 161 h 2350"/>
                  <a:gd name="T10" fmla="*/ 3400 w 3621"/>
                  <a:gd name="T11" fmla="*/ 1781 h 2350"/>
                  <a:gd name="T12" fmla="*/ 3463 w 3621"/>
                  <a:gd name="T13" fmla="*/ 1647 h 2350"/>
                  <a:gd name="T14" fmla="*/ 3501 w 3621"/>
                  <a:gd name="T15" fmla="*/ 1504 h 2350"/>
                  <a:gd name="T16" fmla="*/ 3515 w 3621"/>
                  <a:gd name="T17" fmla="*/ 1356 h 2350"/>
                  <a:gd name="T18" fmla="*/ 3503 w 3621"/>
                  <a:gd name="T19" fmla="*/ 1215 h 2350"/>
                  <a:gd name="T20" fmla="*/ 3469 w 3621"/>
                  <a:gd name="T21" fmla="*/ 1080 h 2350"/>
                  <a:gd name="T22" fmla="*/ 3414 w 3621"/>
                  <a:gd name="T23" fmla="*/ 953 h 2350"/>
                  <a:gd name="T24" fmla="*/ 3337 w 3621"/>
                  <a:gd name="T25" fmla="*/ 835 h 2350"/>
                  <a:gd name="T26" fmla="*/ 3292 w 3621"/>
                  <a:gd name="T27" fmla="*/ 324 h 2350"/>
                  <a:gd name="T28" fmla="*/ 329 w 3621"/>
                  <a:gd name="T29" fmla="*/ 2026 h 2350"/>
                  <a:gd name="T30" fmla="*/ 2123 w 3621"/>
                  <a:gd name="T31" fmla="*/ 2067 h 2350"/>
                  <a:gd name="T32" fmla="*/ 2238 w 3621"/>
                  <a:gd name="T33" fmla="*/ 2135 h 2350"/>
                  <a:gd name="T34" fmla="*/ 2362 w 3621"/>
                  <a:gd name="T35" fmla="*/ 2185 h 2350"/>
                  <a:gd name="T36" fmla="*/ 2494 w 3621"/>
                  <a:gd name="T37" fmla="*/ 2216 h 2350"/>
                  <a:gd name="T38" fmla="*/ 2631 w 3621"/>
                  <a:gd name="T39" fmla="*/ 2225 h 2350"/>
                  <a:gd name="T40" fmla="*/ 2782 w 3621"/>
                  <a:gd name="T41" fmla="*/ 2212 h 2350"/>
                  <a:gd name="T42" fmla="*/ 2927 w 3621"/>
                  <a:gd name="T43" fmla="*/ 2175 h 2350"/>
                  <a:gd name="T44" fmla="*/ 3063 w 3621"/>
                  <a:gd name="T45" fmla="*/ 2113 h 2350"/>
                  <a:gd name="T46" fmla="*/ 3296 w 3621"/>
                  <a:gd name="T47" fmla="*/ 2342 h 2350"/>
                  <a:gd name="T48" fmla="*/ 3306 w 3621"/>
                  <a:gd name="T49" fmla="*/ 2350 h 2350"/>
                  <a:gd name="T50" fmla="*/ 132 w 3621"/>
                  <a:gd name="T51" fmla="*/ 2347 h 2350"/>
                  <a:gd name="T52" fmla="*/ 73 w 3621"/>
                  <a:gd name="T53" fmla="*/ 2323 h 2350"/>
                  <a:gd name="T54" fmla="*/ 28 w 3621"/>
                  <a:gd name="T55" fmla="*/ 2278 h 2350"/>
                  <a:gd name="T56" fmla="*/ 3 w 3621"/>
                  <a:gd name="T57" fmla="*/ 2220 h 2350"/>
                  <a:gd name="T58" fmla="*/ 0 w 3621"/>
                  <a:gd name="T59" fmla="*/ 161 h 2350"/>
                  <a:gd name="T60" fmla="*/ 13 w 3621"/>
                  <a:gd name="T61" fmla="*/ 99 h 2350"/>
                  <a:gd name="T62" fmla="*/ 49 w 3621"/>
                  <a:gd name="T63" fmla="*/ 47 h 2350"/>
                  <a:gd name="T64" fmla="*/ 101 w 3621"/>
                  <a:gd name="T65" fmla="*/ 12 h 2350"/>
                  <a:gd name="T66" fmla="*/ 165 w 3621"/>
                  <a:gd name="T67" fmla="*/ 0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21" h="2350">
                    <a:moveTo>
                      <a:pt x="165" y="0"/>
                    </a:moveTo>
                    <a:lnTo>
                      <a:pt x="3457" y="0"/>
                    </a:lnTo>
                    <a:lnTo>
                      <a:pt x="3490" y="3"/>
                    </a:lnTo>
                    <a:lnTo>
                      <a:pt x="3521" y="12"/>
                    </a:lnTo>
                    <a:lnTo>
                      <a:pt x="3549" y="27"/>
                    </a:lnTo>
                    <a:lnTo>
                      <a:pt x="3573" y="47"/>
                    </a:lnTo>
                    <a:lnTo>
                      <a:pt x="3593" y="71"/>
                    </a:lnTo>
                    <a:lnTo>
                      <a:pt x="3609" y="98"/>
                    </a:lnTo>
                    <a:lnTo>
                      <a:pt x="3618" y="129"/>
                    </a:lnTo>
                    <a:lnTo>
                      <a:pt x="3621" y="161"/>
                    </a:lnTo>
                    <a:lnTo>
                      <a:pt x="3621" y="1999"/>
                    </a:lnTo>
                    <a:lnTo>
                      <a:pt x="3400" y="1781"/>
                    </a:lnTo>
                    <a:lnTo>
                      <a:pt x="3435" y="1715"/>
                    </a:lnTo>
                    <a:lnTo>
                      <a:pt x="3463" y="1647"/>
                    </a:lnTo>
                    <a:lnTo>
                      <a:pt x="3485" y="1577"/>
                    </a:lnTo>
                    <a:lnTo>
                      <a:pt x="3501" y="1504"/>
                    </a:lnTo>
                    <a:lnTo>
                      <a:pt x="3511" y="1430"/>
                    </a:lnTo>
                    <a:lnTo>
                      <a:pt x="3515" y="1356"/>
                    </a:lnTo>
                    <a:lnTo>
                      <a:pt x="3511" y="1285"/>
                    </a:lnTo>
                    <a:lnTo>
                      <a:pt x="3503" y="1215"/>
                    </a:lnTo>
                    <a:lnTo>
                      <a:pt x="3488" y="1146"/>
                    </a:lnTo>
                    <a:lnTo>
                      <a:pt x="3469" y="1080"/>
                    </a:lnTo>
                    <a:lnTo>
                      <a:pt x="3444" y="1015"/>
                    </a:lnTo>
                    <a:lnTo>
                      <a:pt x="3414" y="953"/>
                    </a:lnTo>
                    <a:lnTo>
                      <a:pt x="3378" y="892"/>
                    </a:lnTo>
                    <a:lnTo>
                      <a:pt x="3337" y="835"/>
                    </a:lnTo>
                    <a:lnTo>
                      <a:pt x="3292" y="781"/>
                    </a:lnTo>
                    <a:lnTo>
                      <a:pt x="3292" y="324"/>
                    </a:lnTo>
                    <a:lnTo>
                      <a:pt x="329" y="324"/>
                    </a:lnTo>
                    <a:lnTo>
                      <a:pt x="329" y="2026"/>
                    </a:lnTo>
                    <a:lnTo>
                      <a:pt x="2068" y="2026"/>
                    </a:lnTo>
                    <a:lnTo>
                      <a:pt x="2123" y="2067"/>
                    </a:lnTo>
                    <a:lnTo>
                      <a:pt x="2179" y="2103"/>
                    </a:lnTo>
                    <a:lnTo>
                      <a:pt x="2238" y="2135"/>
                    </a:lnTo>
                    <a:lnTo>
                      <a:pt x="2299" y="2162"/>
                    </a:lnTo>
                    <a:lnTo>
                      <a:pt x="2362" y="2185"/>
                    </a:lnTo>
                    <a:lnTo>
                      <a:pt x="2428" y="2203"/>
                    </a:lnTo>
                    <a:lnTo>
                      <a:pt x="2494" y="2216"/>
                    </a:lnTo>
                    <a:lnTo>
                      <a:pt x="2562" y="2223"/>
                    </a:lnTo>
                    <a:lnTo>
                      <a:pt x="2631" y="2225"/>
                    </a:lnTo>
                    <a:lnTo>
                      <a:pt x="2707" y="2222"/>
                    </a:lnTo>
                    <a:lnTo>
                      <a:pt x="2782" y="2212"/>
                    </a:lnTo>
                    <a:lnTo>
                      <a:pt x="2855" y="2197"/>
                    </a:lnTo>
                    <a:lnTo>
                      <a:pt x="2927" y="2175"/>
                    </a:lnTo>
                    <a:lnTo>
                      <a:pt x="2997" y="2147"/>
                    </a:lnTo>
                    <a:lnTo>
                      <a:pt x="3063" y="2113"/>
                    </a:lnTo>
                    <a:lnTo>
                      <a:pt x="3292" y="2338"/>
                    </a:lnTo>
                    <a:lnTo>
                      <a:pt x="3296" y="2342"/>
                    </a:lnTo>
                    <a:lnTo>
                      <a:pt x="3302" y="2346"/>
                    </a:lnTo>
                    <a:lnTo>
                      <a:pt x="3306" y="2350"/>
                    </a:lnTo>
                    <a:lnTo>
                      <a:pt x="165" y="2350"/>
                    </a:lnTo>
                    <a:lnTo>
                      <a:pt x="132" y="2347"/>
                    </a:lnTo>
                    <a:lnTo>
                      <a:pt x="101" y="2337"/>
                    </a:lnTo>
                    <a:lnTo>
                      <a:pt x="73" y="2323"/>
                    </a:lnTo>
                    <a:lnTo>
                      <a:pt x="49" y="2302"/>
                    </a:lnTo>
                    <a:lnTo>
                      <a:pt x="28" y="2278"/>
                    </a:lnTo>
                    <a:lnTo>
                      <a:pt x="13" y="2251"/>
                    </a:lnTo>
                    <a:lnTo>
                      <a:pt x="3" y="2220"/>
                    </a:lnTo>
                    <a:lnTo>
                      <a:pt x="0" y="2188"/>
                    </a:lnTo>
                    <a:lnTo>
                      <a:pt x="0" y="161"/>
                    </a:lnTo>
                    <a:lnTo>
                      <a:pt x="3" y="129"/>
                    </a:lnTo>
                    <a:lnTo>
                      <a:pt x="13" y="99"/>
                    </a:lnTo>
                    <a:lnTo>
                      <a:pt x="28" y="71"/>
                    </a:lnTo>
                    <a:lnTo>
                      <a:pt x="49" y="47"/>
                    </a:lnTo>
                    <a:lnTo>
                      <a:pt x="73" y="27"/>
                    </a:lnTo>
                    <a:lnTo>
                      <a:pt x="101" y="12"/>
                    </a:lnTo>
                    <a:lnTo>
                      <a:pt x="132" y="3"/>
                    </a:lnTo>
                    <a:lnTo>
                      <a:pt x="1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61" name="Freeform 44"/>
              <p:cNvSpPr>
                <a:spLocks noEditPoints="1"/>
              </p:cNvSpPr>
              <p:nvPr/>
            </p:nvSpPr>
            <p:spPr bwMode="auto">
              <a:xfrm>
                <a:off x="13396913" y="2887663"/>
                <a:ext cx="515938" cy="508000"/>
              </a:xfrm>
              <a:custGeom>
                <a:avLst/>
                <a:gdLst>
                  <a:gd name="T0" fmla="*/ 607 w 1622"/>
                  <a:gd name="T1" fmla="*/ 157 h 1596"/>
                  <a:gd name="T2" fmla="*/ 450 w 1622"/>
                  <a:gd name="T3" fmla="*/ 211 h 1596"/>
                  <a:gd name="T4" fmla="*/ 315 w 1622"/>
                  <a:gd name="T5" fmla="*/ 311 h 1596"/>
                  <a:gd name="T6" fmla="*/ 215 w 1622"/>
                  <a:gd name="T7" fmla="*/ 443 h 1596"/>
                  <a:gd name="T8" fmla="*/ 159 w 1622"/>
                  <a:gd name="T9" fmla="*/ 598 h 1596"/>
                  <a:gd name="T10" fmla="*/ 151 w 1622"/>
                  <a:gd name="T11" fmla="*/ 764 h 1596"/>
                  <a:gd name="T12" fmla="*/ 191 w 1622"/>
                  <a:gd name="T13" fmla="*/ 923 h 1596"/>
                  <a:gd name="T14" fmla="*/ 277 w 1622"/>
                  <a:gd name="T15" fmla="*/ 1064 h 1596"/>
                  <a:gd name="T16" fmla="*/ 403 w 1622"/>
                  <a:gd name="T17" fmla="*/ 1176 h 1596"/>
                  <a:gd name="T18" fmla="*/ 552 w 1622"/>
                  <a:gd name="T19" fmla="*/ 1247 h 1596"/>
                  <a:gd name="T20" fmla="*/ 719 w 1622"/>
                  <a:gd name="T21" fmla="*/ 1271 h 1596"/>
                  <a:gd name="T22" fmla="*/ 885 w 1622"/>
                  <a:gd name="T23" fmla="*/ 1247 h 1596"/>
                  <a:gd name="T24" fmla="*/ 1036 w 1622"/>
                  <a:gd name="T25" fmla="*/ 1176 h 1596"/>
                  <a:gd name="T26" fmla="*/ 1161 w 1622"/>
                  <a:gd name="T27" fmla="*/ 1064 h 1596"/>
                  <a:gd name="T28" fmla="*/ 1247 w 1622"/>
                  <a:gd name="T29" fmla="*/ 923 h 1596"/>
                  <a:gd name="T30" fmla="*/ 1288 w 1622"/>
                  <a:gd name="T31" fmla="*/ 764 h 1596"/>
                  <a:gd name="T32" fmla="*/ 1279 w 1622"/>
                  <a:gd name="T33" fmla="*/ 598 h 1596"/>
                  <a:gd name="T34" fmla="*/ 1223 w 1622"/>
                  <a:gd name="T35" fmla="*/ 443 h 1596"/>
                  <a:gd name="T36" fmla="*/ 1124 w 1622"/>
                  <a:gd name="T37" fmla="*/ 311 h 1596"/>
                  <a:gd name="T38" fmla="*/ 988 w 1622"/>
                  <a:gd name="T39" fmla="*/ 211 h 1596"/>
                  <a:gd name="T40" fmla="*/ 832 w 1622"/>
                  <a:gd name="T41" fmla="*/ 157 h 1596"/>
                  <a:gd name="T42" fmla="*/ 719 w 1622"/>
                  <a:gd name="T43" fmla="*/ 0 h 1596"/>
                  <a:gd name="T44" fmla="*/ 906 w 1622"/>
                  <a:gd name="T45" fmla="*/ 24 h 1596"/>
                  <a:gd name="T46" fmla="*/ 1078 w 1622"/>
                  <a:gd name="T47" fmla="*/ 94 h 1596"/>
                  <a:gd name="T48" fmla="*/ 1228 w 1622"/>
                  <a:gd name="T49" fmla="*/ 208 h 1596"/>
                  <a:gd name="T50" fmla="*/ 1342 w 1622"/>
                  <a:gd name="T51" fmla="*/ 354 h 1596"/>
                  <a:gd name="T52" fmla="*/ 1413 w 1622"/>
                  <a:gd name="T53" fmla="*/ 524 h 1596"/>
                  <a:gd name="T54" fmla="*/ 1437 w 1622"/>
                  <a:gd name="T55" fmla="*/ 708 h 1596"/>
                  <a:gd name="T56" fmla="*/ 1411 w 1622"/>
                  <a:gd name="T57" fmla="*/ 898 h 1596"/>
                  <a:gd name="T58" fmla="*/ 1335 w 1622"/>
                  <a:gd name="T59" fmla="*/ 1072 h 1596"/>
                  <a:gd name="T60" fmla="*/ 1292 w 1622"/>
                  <a:gd name="T61" fmla="*/ 1208 h 1596"/>
                  <a:gd name="T62" fmla="*/ 1340 w 1622"/>
                  <a:gd name="T63" fmla="*/ 1219 h 1596"/>
                  <a:gd name="T64" fmla="*/ 1613 w 1622"/>
                  <a:gd name="T65" fmla="*/ 1489 h 1596"/>
                  <a:gd name="T66" fmla="*/ 1619 w 1622"/>
                  <a:gd name="T67" fmla="*/ 1543 h 1596"/>
                  <a:gd name="T68" fmla="*/ 1585 w 1622"/>
                  <a:gd name="T69" fmla="*/ 1587 h 1596"/>
                  <a:gd name="T70" fmla="*/ 1530 w 1622"/>
                  <a:gd name="T71" fmla="*/ 1594 h 1596"/>
                  <a:gd name="T72" fmla="*/ 1249 w 1622"/>
                  <a:gd name="T73" fmla="*/ 1332 h 1596"/>
                  <a:gd name="T74" fmla="*/ 1228 w 1622"/>
                  <a:gd name="T75" fmla="*/ 1289 h 1596"/>
                  <a:gd name="T76" fmla="*/ 1142 w 1622"/>
                  <a:gd name="T77" fmla="*/ 1279 h 1596"/>
                  <a:gd name="T78" fmla="*/ 973 w 1622"/>
                  <a:gd name="T79" fmla="*/ 1370 h 1596"/>
                  <a:gd name="T80" fmla="*/ 784 w 1622"/>
                  <a:gd name="T81" fmla="*/ 1413 h 1596"/>
                  <a:gd name="T82" fmla="*/ 593 w 1622"/>
                  <a:gd name="T83" fmla="*/ 1405 h 1596"/>
                  <a:gd name="T84" fmla="*/ 416 w 1622"/>
                  <a:gd name="T85" fmla="*/ 1349 h 1596"/>
                  <a:gd name="T86" fmla="*/ 258 w 1622"/>
                  <a:gd name="T87" fmla="*/ 1251 h 1596"/>
                  <a:gd name="T88" fmla="*/ 130 w 1622"/>
                  <a:gd name="T89" fmla="*/ 1113 h 1596"/>
                  <a:gd name="T90" fmla="*/ 43 w 1622"/>
                  <a:gd name="T91" fmla="*/ 951 h 1596"/>
                  <a:gd name="T92" fmla="*/ 3 w 1622"/>
                  <a:gd name="T93" fmla="*/ 770 h 1596"/>
                  <a:gd name="T94" fmla="*/ 11 w 1622"/>
                  <a:gd name="T95" fmla="*/ 584 h 1596"/>
                  <a:gd name="T96" fmla="*/ 68 w 1622"/>
                  <a:gd name="T97" fmla="*/ 409 h 1596"/>
                  <a:gd name="T98" fmla="*/ 168 w 1622"/>
                  <a:gd name="T99" fmla="*/ 254 h 1596"/>
                  <a:gd name="T100" fmla="*/ 307 w 1622"/>
                  <a:gd name="T101" fmla="*/ 127 h 1596"/>
                  <a:gd name="T102" fmla="*/ 473 w 1622"/>
                  <a:gd name="T103" fmla="*/ 43 h 1596"/>
                  <a:gd name="T104" fmla="*/ 656 w 1622"/>
                  <a:gd name="T105" fmla="*/ 3 h 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22" h="1596">
                    <a:moveTo>
                      <a:pt x="719" y="146"/>
                    </a:moveTo>
                    <a:lnTo>
                      <a:pt x="662" y="148"/>
                    </a:lnTo>
                    <a:lnTo>
                      <a:pt x="607" y="157"/>
                    </a:lnTo>
                    <a:lnTo>
                      <a:pt x="552" y="170"/>
                    </a:lnTo>
                    <a:lnTo>
                      <a:pt x="500" y="188"/>
                    </a:lnTo>
                    <a:lnTo>
                      <a:pt x="450" y="211"/>
                    </a:lnTo>
                    <a:lnTo>
                      <a:pt x="403" y="240"/>
                    </a:lnTo>
                    <a:lnTo>
                      <a:pt x="357" y="272"/>
                    </a:lnTo>
                    <a:lnTo>
                      <a:pt x="315" y="311"/>
                    </a:lnTo>
                    <a:lnTo>
                      <a:pt x="277" y="352"/>
                    </a:lnTo>
                    <a:lnTo>
                      <a:pt x="244" y="396"/>
                    </a:lnTo>
                    <a:lnTo>
                      <a:pt x="215" y="443"/>
                    </a:lnTo>
                    <a:lnTo>
                      <a:pt x="191" y="493"/>
                    </a:lnTo>
                    <a:lnTo>
                      <a:pt x="172" y="544"/>
                    </a:lnTo>
                    <a:lnTo>
                      <a:pt x="159" y="598"/>
                    </a:lnTo>
                    <a:lnTo>
                      <a:pt x="151" y="652"/>
                    </a:lnTo>
                    <a:lnTo>
                      <a:pt x="148" y="708"/>
                    </a:lnTo>
                    <a:lnTo>
                      <a:pt x="151" y="764"/>
                    </a:lnTo>
                    <a:lnTo>
                      <a:pt x="159" y="818"/>
                    </a:lnTo>
                    <a:lnTo>
                      <a:pt x="172" y="872"/>
                    </a:lnTo>
                    <a:lnTo>
                      <a:pt x="191" y="923"/>
                    </a:lnTo>
                    <a:lnTo>
                      <a:pt x="215" y="972"/>
                    </a:lnTo>
                    <a:lnTo>
                      <a:pt x="244" y="1019"/>
                    </a:lnTo>
                    <a:lnTo>
                      <a:pt x="277" y="1064"/>
                    </a:lnTo>
                    <a:lnTo>
                      <a:pt x="315" y="1106"/>
                    </a:lnTo>
                    <a:lnTo>
                      <a:pt x="357" y="1143"/>
                    </a:lnTo>
                    <a:lnTo>
                      <a:pt x="403" y="1176"/>
                    </a:lnTo>
                    <a:lnTo>
                      <a:pt x="450" y="1204"/>
                    </a:lnTo>
                    <a:lnTo>
                      <a:pt x="500" y="1228"/>
                    </a:lnTo>
                    <a:lnTo>
                      <a:pt x="552" y="1247"/>
                    </a:lnTo>
                    <a:lnTo>
                      <a:pt x="607" y="1260"/>
                    </a:lnTo>
                    <a:lnTo>
                      <a:pt x="662" y="1267"/>
                    </a:lnTo>
                    <a:lnTo>
                      <a:pt x="719" y="1271"/>
                    </a:lnTo>
                    <a:lnTo>
                      <a:pt x="775" y="1267"/>
                    </a:lnTo>
                    <a:lnTo>
                      <a:pt x="832" y="1260"/>
                    </a:lnTo>
                    <a:lnTo>
                      <a:pt x="885" y="1247"/>
                    </a:lnTo>
                    <a:lnTo>
                      <a:pt x="938" y="1228"/>
                    </a:lnTo>
                    <a:lnTo>
                      <a:pt x="988" y="1204"/>
                    </a:lnTo>
                    <a:lnTo>
                      <a:pt x="1036" y="1176"/>
                    </a:lnTo>
                    <a:lnTo>
                      <a:pt x="1081" y="1143"/>
                    </a:lnTo>
                    <a:lnTo>
                      <a:pt x="1124" y="1106"/>
                    </a:lnTo>
                    <a:lnTo>
                      <a:pt x="1161" y="1064"/>
                    </a:lnTo>
                    <a:lnTo>
                      <a:pt x="1195" y="1019"/>
                    </a:lnTo>
                    <a:lnTo>
                      <a:pt x="1223" y="972"/>
                    </a:lnTo>
                    <a:lnTo>
                      <a:pt x="1247" y="923"/>
                    </a:lnTo>
                    <a:lnTo>
                      <a:pt x="1266" y="872"/>
                    </a:lnTo>
                    <a:lnTo>
                      <a:pt x="1279" y="818"/>
                    </a:lnTo>
                    <a:lnTo>
                      <a:pt x="1288" y="764"/>
                    </a:lnTo>
                    <a:lnTo>
                      <a:pt x="1290" y="708"/>
                    </a:lnTo>
                    <a:lnTo>
                      <a:pt x="1288" y="652"/>
                    </a:lnTo>
                    <a:lnTo>
                      <a:pt x="1279" y="598"/>
                    </a:lnTo>
                    <a:lnTo>
                      <a:pt x="1266" y="544"/>
                    </a:lnTo>
                    <a:lnTo>
                      <a:pt x="1247" y="493"/>
                    </a:lnTo>
                    <a:lnTo>
                      <a:pt x="1223" y="443"/>
                    </a:lnTo>
                    <a:lnTo>
                      <a:pt x="1195" y="396"/>
                    </a:lnTo>
                    <a:lnTo>
                      <a:pt x="1161" y="352"/>
                    </a:lnTo>
                    <a:lnTo>
                      <a:pt x="1124" y="311"/>
                    </a:lnTo>
                    <a:lnTo>
                      <a:pt x="1081" y="272"/>
                    </a:lnTo>
                    <a:lnTo>
                      <a:pt x="1036" y="240"/>
                    </a:lnTo>
                    <a:lnTo>
                      <a:pt x="988" y="211"/>
                    </a:lnTo>
                    <a:lnTo>
                      <a:pt x="938" y="188"/>
                    </a:lnTo>
                    <a:lnTo>
                      <a:pt x="885" y="170"/>
                    </a:lnTo>
                    <a:lnTo>
                      <a:pt x="832" y="157"/>
                    </a:lnTo>
                    <a:lnTo>
                      <a:pt x="775" y="148"/>
                    </a:lnTo>
                    <a:lnTo>
                      <a:pt x="719" y="146"/>
                    </a:lnTo>
                    <a:close/>
                    <a:moveTo>
                      <a:pt x="719" y="0"/>
                    </a:moveTo>
                    <a:lnTo>
                      <a:pt x="783" y="3"/>
                    </a:lnTo>
                    <a:lnTo>
                      <a:pt x="845" y="11"/>
                    </a:lnTo>
                    <a:lnTo>
                      <a:pt x="906" y="24"/>
                    </a:lnTo>
                    <a:lnTo>
                      <a:pt x="965" y="43"/>
                    </a:lnTo>
                    <a:lnTo>
                      <a:pt x="1023" y="66"/>
                    </a:lnTo>
                    <a:lnTo>
                      <a:pt x="1078" y="94"/>
                    </a:lnTo>
                    <a:lnTo>
                      <a:pt x="1130" y="127"/>
                    </a:lnTo>
                    <a:lnTo>
                      <a:pt x="1180" y="165"/>
                    </a:lnTo>
                    <a:lnTo>
                      <a:pt x="1228" y="208"/>
                    </a:lnTo>
                    <a:lnTo>
                      <a:pt x="1270" y="254"/>
                    </a:lnTo>
                    <a:lnTo>
                      <a:pt x="1309" y="303"/>
                    </a:lnTo>
                    <a:lnTo>
                      <a:pt x="1342" y="354"/>
                    </a:lnTo>
                    <a:lnTo>
                      <a:pt x="1371" y="409"/>
                    </a:lnTo>
                    <a:lnTo>
                      <a:pt x="1394" y="466"/>
                    </a:lnTo>
                    <a:lnTo>
                      <a:pt x="1413" y="524"/>
                    </a:lnTo>
                    <a:lnTo>
                      <a:pt x="1426" y="584"/>
                    </a:lnTo>
                    <a:lnTo>
                      <a:pt x="1435" y="645"/>
                    </a:lnTo>
                    <a:lnTo>
                      <a:pt x="1437" y="708"/>
                    </a:lnTo>
                    <a:lnTo>
                      <a:pt x="1434" y="773"/>
                    </a:lnTo>
                    <a:lnTo>
                      <a:pt x="1426" y="836"/>
                    </a:lnTo>
                    <a:lnTo>
                      <a:pt x="1411" y="898"/>
                    </a:lnTo>
                    <a:lnTo>
                      <a:pt x="1391" y="958"/>
                    </a:lnTo>
                    <a:lnTo>
                      <a:pt x="1365" y="1016"/>
                    </a:lnTo>
                    <a:lnTo>
                      <a:pt x="1335" y="1072"/>
                    </a:lnTo>
                    <a:lnTo>
                      <a:pt x="1299" y="1124"/>
                    </a:lnTo>
                    <a:lnTo>
                      <a:pt x="1258" y="1174"/>
                    </a:lnTo>
                    <a:lnTo>
                      <a:pt x="1292" y="1208"/>
                    </a:lnTo>
                    <a:lnTo>
                      <a:pt x="1309" y="1208"/>
                    </a:lnTo>
                    <a:lnTo>
                      <a:pt x="1324" y="1212"/>
                    </a:lnTo>
                    <a:lnTo>
                      <a:pt x="1340" y="1219"/>
                    </a:lnTo>
                    <a:lnTo>
                      <a:pt x="1353" y="1229"/>
                    </a:lnTo>
                    <a:lnTo>
                      <a:pt x="1600" y="1474"/>
                    </a:lnTo>
                    <a:lnTo>
                      <a:pt x="1613" y="1489"/>
                    </a:lnTo>
                    <a:lnTo>
                      <a:pt x="1619" y="1506"/>
                    </a:lnTo>
                    <a:lnTo>
                      <a:pt x="1622" y="1524"/>
                    </a:lnTo>
                    <a:lnTo>
                      <a:pt x="1619" y="1543"/>
                    </a:lnTo>
                    <a:lnTo>
                      <a:pt x="1613" y="1560"/>
                    </a:lnTo>
                    <a:lnTo>
                      <a:pt x="1600" y="1575"/>
                    </a:lnTo>
                    <a:lnTo>
                      <a:pt x="1585" y="1587"/>
                    </a:lnTo>
                    <a:lnTo>
                      <a:pt x="1567" y="1594"/>
                    </a:lnTo>
                    <a:lnTo>
                      <a:pt x="1548" y="1596"/>
                    </a:lnTo>
                    <a:lnTo>
                      <a:pt x="1530" y="1594"/>
                    </a:lnTo>
                    <a:lnTo>
                      <a:pt x="1512" y="1587"/>
                    </a:lnTo>
                    <a:lnTo>
                      <a:pt x="1496" y="1575"/>
                    </a:lnTo>
                    <a:lnTo>
                      <a:pt x="1249" y="1332"/>
                    </a:lnTo>
                    <a:lnTo>
                      <a:pt x="1238" y="1319"/>
                    </a:lnTo>
                    <a:lnTo>
                      <a:pt x="1231" y="1304"/>
                    </a:lnTo>
                    <a:lnTo>
                      <a:pt x="1228" y="1289"/>
                    </a:lnTo>
                    <a:lnTo>
                      <a:pt x="1228" y="1273"/>
                    </a:lnTo>
                    <a:lnTo>
                      <a:pt x="1193" y="1239"/>
                    </a:lnTo>
                    <a:lnTo>
                      <a:pt x="1142" y="1279"/>
                    </a:lnTo>
                    <a:lnTo>
                      <a:pt x="1088" y="1314"/>
                    </a:lnTo>
                    <a:lnTo>
                      <a:pt x="1032" y="1345"/>
                    </a:lnTo>
                    <a:lnTo>
                      <a:pt x="973" y="1370"/>
                    </a:lnTo>
                    <a:lnTo>
                      <a:pt x="912" y="1390"/>
                    </a:lnTo>
                    <a:lnTo>
                      <a:pt x="850" y="1404"/>
                    </a:lnTo>
                    <a:lnTo>
                      <a:pt x="784" y="1413"/>
                    </a:lnTo>
                    <a:lnTo>
                      <a:pt x="719" y="1416"/>
                    </a:lnTo>
                    <a:lnTo>
                      <a:pt x="656" y="1413"/>
                    </a:lnTo>
                    <a:lnTo>
                      <a:pt x="593" y="1405"/>
                    </a:lnTo>
                    <a:lnTo>
                      <a:pt x="532" y="1392"/>
                    </a:lnTo>
                    <a:lnTo>
                      <a:pt x="473" y="1373"/>
                    </a:lnTo>
                    <a:lnTo>
                      <a:pt x="416" y="1349"/>
                    </a:lnTo>
                    <a:lnTo>
                      <a:pt x="361" y="1322"/>
                    </a:lnTo>
                    <a:lnTo>
                      <a:pt x="307" y="1288"/>
                    </a:lnTo>
                    <a:lnTo>
                      <a:pt x="258" y="1251"/>
                    </a:lnTo>
                    <a:lnTo>
                      <a:pt x="211" y="1208"/>
                    </a:lnTo>
                    <a:lnTo>
                      <a:pt x="168" y="1162"/>
                    </a:lnTo>
                    <a:lnTo>
                      <a:pt x="130" y="1113"/>
                    </a:lnTo>
                    <a:lnTo>
                      <a:pt x="97" y="1061"/>
                    </a:lnTo>
                    <a:lnTo>
                      <a:pt x="68" y="1006"/>
                    </a:lnTo>
                    <a:lnTo>
                      <a:pt x="43" y="951"/>
                    </a:lnTo>
                    <a:lnTo>
                      <a:pt x="24" y="892"/>
                    </a:lnTo>
                    <a:lnTo>
                      <a:pt x="11" y="832"/>
                    </a:lnTo>
                    <a:lnTo>
                      <a:pt x="3" y="770"/>
                    </a:lnTo>
                    <a:lnTo>
                      <a:pt x="0" y="708"/>
                    </a:lnTo>
                    <a:lnTo>
                      <a:pt x="3" y="645"/>
                    </a:lnTo>
                    <a:lnTo>
                      <a:pt x="11" y="584"/>
                    </a:lnTo>
                    <a:lnTo>
                      <a:pt x="24" y="524"/>
                    </a:lnTo>
                    <a:lnTo>
                      <a:pt x="43" y="466"/>
                    </a:lnTo>
                    <a:lnTo>
                      <a:pt x="68" y="409"/>
                    </a:lnTo>
                    <a:lnTo>
                      <a:pt x="97" y="354"/>
                    </a:lnTo>
                    <a:lnTo>
                      <a:pt x="130" y="303"/>
                    </a:lnTo>
                    <a:lnTo>
                      <a:pt x="168" y="254"/>
                    </a:lnTo>
                    <a:lnTo>
                      <a:pt x="211" y="208"/>
                    </a:lnTo>
                    <a:lnTo>
                      <a:pt x="258" y="165"/>
                    </a:lnTo>
                    <a:lnTo>
                      <a:pt x="307" y="127"/>
                    </a:lnTo>
                    <a:lnTo>
                      <a:pt x="361" y="94"/>
                    </a:lnTo>
                    <a:lnTo>
                      <a:pt x="416" y="66"/>
                    </a:lnTo>
                    <a:lnTo>
                      <a:pt x="473" y="43"/>
                    </a:lnTo>
                    <a:lnTo>
                      <a:pt x="532" y="24"/>
                    </a:lnTo>
                    <a:lnTo>
                      <a:pt x="593" y="11"/>
                    </a:lnTo>
                    <a:lnTo>
                      <a:pt x="656" y="3"/>
                    </a:lnTo>
                    <a:lnTo>
                      <a:pt x="7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sp>
          <p:nvSpPr>
            <p:cNvPr id="55" name="Freeform 34"/>
            <p:cNvSpPr>
              <a:spLocks noEditPoints="1"/>
            </p:cNvSpPr>
            <p:nvPr/>
          </p:nvSpPr>
          <p:spPr bwMode="auto">
            <a:xfrm>
              <a:off x="5517165" y="4178817"/>
              <a:ext cx="251030" cy="206581"/>
            </a:xfrm>
            <a:custGeom>
              <a:avLst/>
              <a:gdLst>
                <a:gd name="T0" fmla="*/ 311 w 3447"/>
                <a:gd name="T1" fmla="*/ 1796 h 2834"/>
                <a:gd name="T2" fmla="*/ 964 w 3447"/>
                <a:gd name="T3" fmla="*/ 1557 h 2834"/>
                <a:gd name="T4" fmla="*/ 3001 w 3447"/>
                <a:gd name="T5" fmla="*/ 1258 h 2834"/>
                <a:gd name="T6" fmla="*/ 2990 w 3447"/>
                <a:gd name="T7" fmla="*/ 1327 h 2834"/>
                <a:gd name="T8" fmla="*/ 2941 w 3447"/>
                <a:gd name="T9" fmla="*/ 1380 h 2834"/>
                <a:gd name="T10" fmla="*/ 2871 w 3447"/>
                <a:gd name="T11" fmla="*/ 1394 h 2834"/>
                <a:gd name="T12" fmla="*/ 2806 w 3447"/>
                <a:gd name="T13" fmla="*/ 1370 h 2834"/>
                <a:gd name="T14" fmla="*/ 2986 w 3447"/>
                <a:gd name="T15" fmla="*/ 1211 h 2834"/>
                <a:gd name="T16" fmla="*/ 2752 w 3447"/>
                <a:gd name="T17" fmla="*/ 1295 h 2834"/>
                <a:gd name="T18" fmla="*/ 243 w 3447"/>
                <a:gd name="T19" fmla="*/ 493 h 2834"/>
                <a:gd name="T20" fmla="*/ 745 w 3447"/>
                <a:gd name="T21" fmla="*/ 1657 h 2834"/>
                <a:gd name="T22" fmla="*/ 1464 w 3447"/>
                <a:gd name="T23" fmla="*/ 571 h 2834"/>
                <a:gd name="T24" fmla="*/ 2784 w 3447"/>
                <a:gd name="T25" fmla="*/ 1657 h 2834"/>
                <a:gd name="T26" fmla="*/ 2734 w 3447"/>
                <a:gd name="T27" fmla="*/ 1788 h 2834"/>
                <a:gd name="T28" fmla="*/ 1511 w 3447"/>
                <a:gd name="T29" fmla="*/ 1221 h 2834"/>
                <a:gd name="T30" fmla="*/ 3447 w 3447"/>
                <a:gd name="T31" fmla="*/ 2592 h 2834"/>
                <a:gd name="T32" fmla="*/ 243 w 3447"/>
                <a:gd name="T33" fmla="*/ 2834 h 2834"/>
                <a:gd name="T34" fmla="*/ 0 w 3447"/>
                <a:gd name="T35" fmla="*/ 2522 h 2834"/>
                <a:gd name="T36" fmla="*/ 2448 w 3447"/>
                <a:gd name="T37" fmla="*/ 82 h 2834"/>
                <a:gd name="T38" fmla="*/ 2311 w 3447"/>
                <a:gd name="T39" fmla="*/ 99 h 2834"/>
                <a:gd name="T40" fmla="*/ 2184 w 3447"/>
                <a:gd name="T41" fmla="*/ 163 h 2834"/>
                <a:gd name="T42" fmla="*/ 2089 w 3447"/>
                <a:gd name="T43" fmla="*/ 264 h 2834"/>
                <a:gd name="T44" fmla="*/ 2032 w 3447"/>
                <a:gd name="T45" fmla="*/ 387 h 2834"/>
                <a:gd name="T46" fmla="*/ 2020 w 3447"/>
                <a:gd name="T47" fmla="*/ 521 h 2834"/>
                <a:gd name="T48" fmla="*/ 2051 w 3447"/>
                <a:gd name="T49" fmla="*/ 656 h 2834"/>
                <a:gd name="T50" fmla="*/ 2130 w 3447"/>
                <a:gd name="T51" fmla="*/ 776 h 2834"/>
                <a:gd name="T52" fmla="*/ 2240 w 3447"/>
                <a:gd name="T53" fmla="*/ 858 h 2834"/>
                <a:gd name="T54" fmla="*/ 2368 w 3447"/>
                <a:gd name="T55" fmla="*/ 900 h 2834"/>
                <a:gd name="T56" fmla="*/ 2504 w 3447"/>
                <a:gd name="T57" fmla="*/ 899 h 2834"/>
                <a:gd name="T58" fmla="*/ 2635 w 3447"/>
                <a:gd name="T59" fmla="*/ 850 h 2834"/>
                <a:gd name="T60" fmla="*/ 2744 w 3447"/>
                <a:gd name="T61" fmla="*/ 760 h 2834"/>
                <a:gd name="T62" fmla="*/ 2813 w 3447"/>
                <a:gd name="T63" fmla="*/ 643 h 2834"/>
                <a:gd name="T64" fmla="*/ 2840 w 3447"/>
                <a:gd name="T65" fmla="*/ 511 h 2834"/>
                <a:gd name="T66" fmla="*/ 2824 w 3447"/>
                <a:gd name="T67" fmla="*/ 375 h 2834"/>
                <a:gd name="T68" fmla="*/ 2760 w 3447"/>
                <a:gd name="T69" fmla="*/ 247 h 2834"/>
                <a:gd name="T70" fmla="*/ 2659 w 3447"/>
                <a:gd name="T71" fmla="*/ 152 h 2834"/>
                <a:gd name="T72" fmla="*/ 2537 w 3447"/>
                <a:gd name="T73" fmla="*/ 95 h 2834"/>
                <a:gd name="T74" fmla="*/ 2417 w 3447"/>
                <a:gd name="T75" fmla="*/ 0 h 2834"/>
                <a:gd name="T76" fmla="*/ 2558 w 3447"/>
                <a:gd name="T77" fmla="*/ 17 h 2834"/>
                <a:gd name="T78" fmla="*/ 2688 w 3447"/>
                <a:gd name="T79" fmla="*/ 73 h 2834"/>
                <a:gd name="T80" fmla="*/ 2798 w 3447"/>
                <a:gd name="T81" fmla="*/ 165 h 2834"/>
                <a:gd name="T82" fmla="*/ 2880 w 3447"/>
                <a:gd name="T83" fmla="*/ 291 h 2834"/>
                <a:gd name="T84" fmla="*/ 2919 w 3447"/>
                <a:gd name="T85" fmla="*/ 432 h 2834"/>
                <a:gd name="T86" fmla="*/ 2916 w 3447"/>
                <a:gd name="T87" fmla="*/ 574 h 2834"/>
                <a:gd name="T88" fmla="*/ 2873 w 3447"/>
                <a:gd name="T89" fmla="*/ 710 h 2834"/>
                <a:gd name="T90" fmla="*/ 2792 w 3447"/>
                <a:gd name="T91" fmla="*/ 828 h 2834"/>
                <a:gd name="T92" fmla="*/ 2676 w 3447"/>
                <a:gd name="T93" fmla="*/ 921 h 2834"/>
                <a:gd name="T94" fmla="*/ 2539 w 3447"/>
                <a:gd name="T95" fmla="*/ 975 h 2834"/>
                <a:gd name="T96" fmla="*/ 2396 w 3447"/>
                <a:gd name="T97" fmla="*/ 985 h 2834"/>
                <a:gd name="T98" fmla="*/ 2257 w 3447"/>
                <a:gd name="T99" fmla="*/ 955 h 2834"/>
                <a:gd name="T100" fmla="*/ 2132 w 3447"/>
                <a:gd name="T101" fmla="*/ 887 h 2834"/>
                <a:gd name="T102" fmla="*/ 2030 w 3447"/>
                <a:gd name="T103" fmla="*/ 782 h 2834"/>
                <a:gd name="T104" fmla="*/ 1961 w 3447"/>
                <a:gd name="T105" fmla="*/ 649 h 2834"/>
                <a:gd name="T106" fmla="*/ 1937 w 3447"/>
                <a:gd name="T107" fmla="*/ 507 h 2834"/>
                <a:gd name="T108" fmla="*/ 1954 w 3447"/>
                <a:gd name="T109" fmla="*/ 366 h 2834"/>
                <a:gd name="T110" fmla="*/ 2010 w 3447"/>
                <a:gd name="T111" fmla="*/ 235 h 2834"/>
                <a:gd name="T112" fmla="*/ 2102 w 3447"/>
                <a:gd name="T113" fmla="*/ 124 h 2834"/>
                <a:gd name="T114" fmla="*/ 2228 w 3447"/>
                <a:gd name="T115" fmla="*/ 43 h 2834"/>
                <a:gd name="T116" fmla="*/ 2369 w 3447"/>
                <a:gd name="T117" fmla="*/ 4 h 2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7" h="2834">
                  <a:moveTo>
                    <a:pt x="964" y="1557"/>
                  </a:moveTo>
                  <a:lnTo>
                    <a:pt x="824" y="1796"/>
                  </a:lnTo>
                  <a:lnTo>
                    <a:pt x="311" y="1796"/>
                  </a:lnTo>
                  <a:lnTo>
                    <a:pt x="311" y="2523"/>
                  </a:lnTo>
                  <a:lnTo>
                    <a:pt x="1303" y="2523"/>
                  </a:lnTo>
                  <a:lnTo>
                    <a:pt x="964" y="1557"/>
                  </a:lnTo>
                  <a:close/>
                  <a:moveTo>
                    <a:pt x="2986" y="1211"/>
                  </a:moveTo>
                  <a:lnTo>
                    <a:pt x="2996" y="1234"/>
                  </a:lnTo>
                  <a:lnTo>
                    <a:pt x="3001" y="1258"/>
                  </a:lnTo>
                  <a:lnTo>
                    <a:pt x="3001" y="1281"/>
                  </a:lnTo>
                  <a:lnTo>
                    <a:pt x="2998" y="1304"/>
                  </a:lnTo>
                  <a:lnTo>
                    <a:pt x="2990" y="1327"/>
                  </a:lnTo>
                  <a:lnTo>
                    <a:pt x="2977" y="1347"/>
                  </a:lnTo>
                  <a:lnTo>
                    <a:pt x="2961" y="1365"/>
                  </a:lnTo>
                  <a:lnTo>
                    <a:pt x="2941" y="1380"/>
                  </a:lnTo>
                  <a:lnTo>
                    <a:pt x="2919" y="1389"/>
                  </a:lnTo>
                  <a:lnTo>
                    <a:pt x="2894" y="1394"/>
                  </a:lnTo>
                  <a:lnTo>
                    <a:pt x="2871" y="1394"/>
                  </a:lnTo>
                  <a:lnTo>
                    <a:pt x="2848" y="1391"/>
                  </a:lnTo>
                  <a:lnTo>
                    <a:pt x="2826" y="1383"/>
                  </a:lnTo>
                  <a:lnTo>
                    <a:pt x="2806" y="1370"/>
                  </a:lnTo>
                  <a:lnTo>
                    <a:pt x="2789" y="1354"/>
                  </a:lnTo>
                  <a:lnTo>
                    <a:pt x="2774" y="1334"/>
                  </a:lnTo>
                  <a:lnTo>
                    <a:pt x="2986" y="1211"/>
                  </a:lnTo>
                  <a:close/>
                  <a:moveTo>
                    <a:pt x="2800" y="890"/>
                  </a:moveTo>
                  <a:lnTo>
                    <a:pt x="2963" y="1173"/>
                  </a:lnTo>
                  <a:lnTo>
                    <a:pt x="2752" y="1295"/>
                  </a:lnTo>
                  <a:lnTo>
                    <a:pt x="2588" y="1013"/>
                  </a:lnTo>
                  <a:lnTo>
                    <a:pt x="2800" y="890"/>
                  </a:lnTo>
                  <a:close/>
                  <a:moveTo>
                    <a:pt x="243" y="493"/>
                  </a:moveTo>
                  <a:lnTo>
                    <a:pt x="311" y="493"/>
                  </a:lnTo>
                  <a:lnTo>
                    <a:pt x="311" y="1657"/>
                  </a:lnTo>
                  <a:lnTo>
                    <a:pt x="745" y="1657"/>
                  </a:lnTo>
                  <a:lnTo>
                    <a:pt x="996" y="1228"/>
                  </a:lnTo>
                  <a:lnTo>
                    <a:pt x="1262" y="1990"/>
                  </a:lnTo>
                  <a:lnTo>
                    <a:pt x="1464" y="571"/>
                  </a:lnTo>
                  <a:lnTo>
                    <a:pt x="1848" y="1870"/>
                  </a:lnTo>
                  <a:lnTo>
                    <a:pt x="2216" y="1348"/>
                  </a:lnTo>
                  <a:lnTo>
                    <a:pt x="2784" y="1657"/>
                  </a:lnTo>
                  <a:lnTo>
                    <a:pt x="3447" y="1657"/>
                  </a:lnTo>
                  <a:lnTo>
                    <a:pt x="3447" y="1796"/>
                  </a:lnTo>
                  <a:lnTo>
                    <a:pt x="2734" y="1788"/>
                  </a:lnTo>
                  <a:lnTo>
                    <a:pt x="2258" y="1529"/>
                  </a:lnTo>
                  <a:lnTo>
                    <a:pt x="1796" y="2183"/>
                  </a:lnTo>
                  <a:lnTo>
                    <a:pt x="1511" y="1221"/>
                  </a:lnTo>
                  <a:lnTo>
                    <a:pt x="1327" y="2523"/>
                  </a:lnTo>
                  <a:lnTo>
                    <a:pt x="3447" y="2523"/>
                  </a:lnTo>
                  <a:lnTo>
                    <a:pt x="3447" y="2592"/>
                  </a:lnTo>
                  <a:lnTo>
                    <a:pt x="311" y="2592"/>
                  </a:lnTo>
                  <a:lnTo>
                    <a:pt x="311" y="2834"/>
                  </a:lnTo>
                  <a:lnTo>
                    <a:pt x="243" y="2834"/>
                  </a:lnTo>
                  <a:lnTo>
                    <a:pt x="243" y="2592"/>
                  </a:lnTo>
                  <a:lnTo>
                    <a:pt x="0" y="2592"/>
                  </a:lnTo>
                  <a:lnTo>
                    <a:pt x="0" y="2522"/>
                  </a:lnTo>
                  <a:lnTo>
                    <a:pt x="243" y="2522"/>
                  </a:lnTo>
                  <a:lnTo>
                    <a:pt x="243" y="493"/>
                  </a:lnTo>
                  <a:close/>
                  <a:moveTo>
                    <a:pt x="2448" y="82"/>
                  </a:moveTo>
                  <a:lnTo>
                    <a:pt x="2402" y="83"/>
                  </a:lnTo>
                  <a:lnTo>
                    <a:pt x="2356" y="88"/>
                  </a:lnTo>
                  <a:lnTo>
                    <a:pt x="2311" y="99"/>
                  </a:lnTo>
                  <a:lnTo>
                    <a:pt x="2268" y="116"/>
                  </a:lnTo>
                  <a:lnTo>
                    <a:pt x="2224" y="137"/>
                  </a:lnTo>
                  <a:lnTo>
                    <a:pt x="2184" y="163"/>
                  </a:lnTo>
                  <a:lnTo>
                    <a:pt x="2148" y="193"/>
                  </a:lnTo>
                  <a:lnTo>
                    <a:pt x="2116" y="227"/>
                  </a:lnTo>
                  <a:lnTo>
                    <a:pt x="2089" y="264"/>
                  </a:lnTo>
                  <a:lnTo>
                    <a:pt x="2065" y="302"/>
                  </a:lnTo>
                  <a:lnTo>
                    <a:pt x="2046" y="343"/>
                  </a:lnTo>
                  <a:lnTo>
                    <a:pt x="2032" y="387"/>
                  </a:lnTo>
                  <a:lnTo>
                    <a:pt x="2023" y="431"/>
                  </a:lnTo>
                  <a:lnTo>
                    <a:pt x="2019" y="476"/>
                  </a:lnTo>
                  <a:lnTo>
                    <a:pt x="2020" y="521"/>
                  </a:lnTo>
                  <a:lnTo>
                    <a:pt x="2025" y="567"/>
                  </a:lnTo>
                  <a:lnTo>
                    <a:pt x="2036" y="612"/>
                  </a:lnTo>
                  <a:lnTo>
                    <a:pt x="2051" y="656"/>
                  </a:lnTo>
                  <a:lnTo>
                    <a:pt x="2074" y="699"/>
                  </a:lnTo>
                  <a:lnTo>
                    <a:pt x="2100" y="740"/>
                  </a:lnTo>
                  <a:lnTo>
                    <a:pt x="2130" y="776"/>
                  </a:lnTo>
                  <a:lnTo>
                    <a:pt x="2164" y="807"/>
                  </a:lnTo>
                  <a:lnTo>
                    <a:pt x="2201" y="835"/>
                  </a:lnTo>
                  <a:lnTo>
                    <a:pt x="2240" y="858"/>
                  </a:lnTo>
                  <a:lnTo>
                    <a:pt x="2280" y="876"/>
                  </a:lnTo>
                  <a:lnTo>
                    <a:pt x="2324" y="891"/>
                  </a:lnTo>
                  <a:lnTo>
                    <a:pt x="2368" y="900"/>
                  </a:lnTo>
                  <a:lnTo>
                    <a:pt x="2413" y="905"/>
                  </a:lnTo>
                  <a:lnTo>
                    <a:pt x="2458" y="904"/>
                  </a:lnTo>
                  <a:lnTo>
                    <a:pt x="2504" y="899"/>
                  </a:lnTo>
                  <a:lnTo>
                    <a:pt x="2548" y="888"/>
                  </a:lnTo>
                  <a:lnTo>
                    <a:pt x="2593" y="871"/>
                  </a:lnTo>
                  <a:lnTo>
                    <a:pt x="2635" y="850"/>
                  </a:lnTo>
                  <a:lnTo>
                    <a:pt x="2675" y="823"/>
                  </a:lnTo>
                  <a:lnTo>
                    <a:pt x="2711" y="794"/>
                  </a:lnTo>
                  <a:lnTo>
                    <a:pt x="2744" y="760"/>
                  </a:lnTo>
                  <a:lnTo>
                    <a:pt x="2772" y="723"/>
                  </a:lnTo>
                  <a:lnTo>
                    <a:pt x="2794" y="685"/>
                  </a:lnTo>
                  <a:lnTo>
                    <a:pt x="2813" y="643"/>
                  </a:lnTo>
                  <a:lnTo>
                    <a:pt x="2827" y="600"/>
                  </a:lnTo>
                  <a:lnTo>
                    <a:pt x="2836" y="555"/>
                  </a:lnTo>
                  <a:lnTo>
                    <a:pt x="2840" y="511"/>
                  </a:lnTo>
                  <a:lnTo>
                    <a:pt x="2840" y="465"/>
                  </a:lnTo>
                  <a:lnTo>
                    <a:pt x="2835" y="420"/>
                  </a:lnTo>
                  <a:lnTo>
                    <a:pt x="2824" y="375"/>
                  </a:lnTo>
                  <a:lnTo>
                    <a:pt x="2808" y="331"/>
                  </a:lnTo>
                  <a:lnTo>
                    <a:pt x="2786" y="287"/>
                  </a:lnTo>
                  <a:lnTo>
                    <a:pt x="2760" y="247"/>
                  </a:lnTo>
                  <a:lnTo>
                    <a:pt x="2729" y="211"/>
                  </a:lnTo>
                  <a:lnTo>
                    <a:pt x="2696" y="179"/>
                  </a:lnTo>
                  <a:lnTo>
                    <a:pt x="2659" y="152"/>
                  </a:lnTo>
                  <a:lnTo>
                    <a:pt x="2620" y="128"/>
                  </a:lnTo>
                  <a:lnTo>
                    <a:pt x="2579" y="110"/>
                  </a:lnTo>
                  <a:lnTo>
                    <a:pt x="2537" y="95"/>
                  </a:lnTo>
                  <a:lnTo>
                    <a:pt x="2492" y="87"/>
                  </a:lnTo>
                  <a:lnTo>
                    <a:pt x="2448" y="82"/>
                  </a:lnTo>
                  <a:close/>
                  <a:moveTo>
                    <a:pt x="2417" y="0"/>
                  </a:moveTo>
                  <a:lnTo>
                    <a:pt x="2465" y="1"/>
                  </a:lnTo>
                  <a:lnTo>
                    <a:pt x="2511" y="7"/>
                  </a:lnTo>
                  <a:lnTo>
                    <a:pt x="2558" y="17"/>
                  </a:lnTo>
                  <a:lnTo>
                    <a:pt x="2602" y="32"/>
                  </a:lnTo>
                  <a:lnTo>
                    <a:pt x="2646" y="50"/>
                  </a:lnTo>
                  <a:lnTo>
                    <a:pt x="2688" y="73"/>
                  </a:lnTo>
                  <a:lnTo>
                    <a:pt x="2727" y="100"/>
                  </a:lnTo>
                  <a:lnTo>
                    <a:pt x="2764" y="130"/>
                  </a:lnTo>
                  <a:lnTo>
                    <a:pt x="2798" y="165"/>
                  </a:lnTo>
                  <a:lnTo>
                    <a:pt x="2830" y="205"/>
                  </a:lnTo>
                  <a:lnTo>
                    <a:pt x="2857" y="247"/>
                  </a:lnTo>
                  <a:lnTo>
                    <a:pt x="2880" y="291"/>
                  </a:lnTo>
                  <a:lnTo>
                    <a:pt x="2898" y="338"/>
                  </a:lnTo>
                  <a:lnTo>
                    <a:pt x="2911" y="385"/>
                  </a:lnTo>
                  <a:lnTo>
                    <a:pt x="2919" y="432"/>
                  </a:lnTo>
                  <a:lnTo>
                    <a:pt x="2923" y="480"/>
                  </a:lnTo>
                  <a:lnTo>
                    <a:pt x="2922" y="528"/>
                  </a:lnTo>
                  <a:lnTo>
                    <a:pt x="2916" y="574"/>
                  </a:lnTo>
                  <a:lnTo>
                    <a:pt x="2906" y="621"/>
                  </a:lnTo>
                  <a:lnTo>
                    <a:pt x="2891" y="667"/>
                  </a:lnTo>
                  <a:lnTo>
                    <a:pt x="2873" y="710"/>
                  </a:lnTo>
                  <a:lnTo>
                    <a:pt x="2850" y="751"/>
                  </a:lnTo>
                  <a:lnTo>
                    <a:pt x="2824" y="791"/>
                  </a:lnTo>
                  <a:lnTo>
                    <a:pt x="2792" y="828"/>
                  </a:lnTo>
                  <a:lnTo>
                    <a:pt x="2758" y="863"/>
                  </a:lnTo>
                  <a:lnTo>
                    <a:pt x="2719" y="893"/>
                  </a:lnTo>
                  <a:lnTo>
                    <a:pt x="2676" y="921"/>
                  </a:lnTo>
                  <a:lnTo>
                    <a:pt x="2632" y="943"/>
                  </a:lnTo>
                  <a:lnTo>
                    <a:pt x="2585" y="961"/>
                  </a:lnTo>
                  <a:lnTo>
                    <a:pt x="2539" y="975"/>
                  </a:lnTo>
                  <a:lnTo>
                    <a:pt x="2491" y="983"/>
                  </a:lnTo>
                  <a:lnTo>
                    <a:pt x="2443" y="987"/>
                  </a:lnTo>
                  <a:lnTo>
                    <a:pt x="2396" y="985"/>
                  </a:lnTo>
                  <a:lnTo>
                    <a:pt x="2348" y="980"/>
                  </a:lnTo>
                  <a:lnTo>
                    <a:pt x="2302" y="970"/>
                  </a:lnTo>
                  <a:lnTo>
                    <a:pt x="2257" y="955"/>
                  </a:lnTo>
                  <a:lnTo>
                    <a:pt x="2214" y="937"/>
                  </a:lnTo>
                  <a:lnTo>
                    <a:pt x="2172" y="913"/>
                  </a:lnTo>
                  <a:lnTo>
                    <a:pt x="2132" y="887"/>
                  </a:lnTo>
                  <a:lnTo>
                    <a:pt x="2095" y="855"/>
                  </a:lnTo>
                  <a:lnTo>
                    <a:pt x="2061" y="821"/>
                  </a:lnTo>
                  <a:lnTo>
                    <a:pt x="2030" y="782"/>
                  </a:lnTo>
                  <a:lnTo>
                    <a:pt x="2003" y="740"/>
                  </a:lnTo>
                  <a:lnTo>
                    <a:pt x="1979" y="695"/>
                  </a:lnTo>
                  <a:lnTo>
                    <a:pt x="1961" y="649"/>
                  </a:lnTo>
                  <a:lnTo>
                    <a:pt x="1949" y="602"/>
                  </a:lnTo>
                  <a:lnTo>
                    <a:pt x="1940" y="554"/>
                  </a:lnTo>
                  <a:lnTo>
                    <a:pt x="1937" y="507"/>
                  </a:lnTo>
                  <a:lnTo>
                    <a:pt x="1938" y="459"/>
                  </a:lnTo>
                  <a:lnTo>
                    <a:pt x="1943" y="412"/>
                  </a:lnTo>
                  <a:lnTo>
                    <a:pt x="1954" y="366"/>
                  </a:lnTo>
                  <a:lnTo>
                    <a:pt x="1968" y="320"/>
                  </a:lnTo>
                  <a:lnTo>
                    <a:pt x="1987" y="277"/>
                  </a:lnTo>
                  <a:lnTo>
                    <a:pt x="2010" y="235"/>
                  </a:lnTo>
                  <a:lnTo>
                    <a:pt x="2037" y="195"/>
                  </a:lnTo>
                  <a:lnTo>
                    <a:pt x="2067" y="159"/>
                  </a:lnTo>
                  <a:lnTo>
                    <a:pt x="2102" y="124"/>
                  </a:lnTo>
                  <a:lnTo>
                    <a:pt x="2140" y="93"/>
                  </a:lnTo>
                  <a:lnTo>
                    <a:pt x="2183" y="66"/>
                  </a:lnTo>
                  <a:lnTo>
                    <a:pt x="2228" y="43"/>
                  </a:lnTo>
                  <a:lnTo>
                    <a:pt x="2274" y="25"/>
                  </a:lnTo>
                  <a:lnTo>
                    <a:pt x="2322" y="12"/>
                  </a:lnTo>
                  <a:lnTo>
                    <a:pt x="2369" y="4"/>
                  </a:lnTo>
                  <a:lnTo>
                    <a:pt x="2417"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cxnSp>
        <p:nvCxnSpPr>
          <p:cNvPr id="79" name="Straight Connector 78"/>
          <p:cNvCxnSpPr/>
          <p:nvPr/>
        </p:nvCxnSpPr>
        <p:spPr>
          <a:xfrm>
            <a:off x="1266659" y="3265359"/>
            <a:ext cx="1205881" cy="0"/>
          </a:xfrm>
          <a:prstGeom prst="line">
            <a:avLst/>
          </a:prstGeom>
          <a:ln>
            <a:headEnd type="triangle" w="med" len="med"/>
            <a:tailEnd type="triangle" w="med" len="med"/>
          </a:ln>
        </p:spPr>
        <p:style>
          <a:lnRef idx="1">
            <a:schemeClr val="dk1"/>
          </a:lnRef>
          <a:fillRef idx="0">
            <a:schemeClr val="dk1"/>
          </a:fillRef>
          <a:effectRef idx="0">
            <a:schemeClr val="dk1"/>
          </a:effectRef>
          <a:fontRef idx="minor">
            <a:schemeClr val="tx1"/>
          </a:fontRef>
        </p:style>
      </p:cxnSp>
      <p:grpSp>
        <p:nvGrpSpPr>
          <p:cNvPr id="80" name="Group 79"/>
          <p:cNvGrpSpPr/>
          <p:nvPr/>
        </p:nvGrpSpPr>
        <p:grpSpPr>
          <a:xfrm>
            <a:off x="778685" y="3061222"/>
            <a:ext cx="438027" cy="406364"/>
            <a:chOff x="9190038" y="4740275"/>
            <a:chExt cx="263525" cy="244476"/>
          </a:xfrm>
          <a:solidFill>
            <a:schemeClr val="bg2">
              <a:lumMod val="25000"/>
            </a:schemeClr>
          </a:solidFill>
        </p:grpSpPr>
        <p:sp>
          <p:nvSpPr>
            <p:cNvPr id="81" name="Freeform 54"/>
            <p:cNvSpPr>
              <a:spLocks/>
            </p:cNvSpPr>
            <p:nvPr/>
          </p:nvSpPr>
          <p:spPr bwMode="auto">
            <a:xfrm>
              <a:off x="9282113" y="4964113"/>
              <a:ext cx="101600" cy="20638"/>
            </a:xfrm>
            <a:custGeom>
              <a:avLst/>
              <a:gdLst>
                <a:gd name="T0" fmla="*/ 128 w 1279"/>
                <a:gd name="T1" fmla="*/ 0 h 255"/>
                <a:gd name="T2" fmla="*/ 1152 w 1279"/>
                <a:gd name="T3" fmla="*/ 0 h 255"/>
                <a:gd name="T4" fmla="*/ 1178 w 1279"/>
                <a:gd name="T5" fmla="*/ 2 h 255"/>
                <a:gd name="T6" fmla="*/ 1202 w 1279"/>
                <a:gd name="T7" fmla="*/ 10 h 255"/>
                <a:gd name="T8" fmla="*/ 1223 w 1279"/>
                <a:gd name="T9" fmla="*/ 21 h 255"/>
                <a:gd name="T10" fmla="*/ 1243 w 1279"/>
                <a:gd name="T11" fmla="*/ 37 h 255"/>
                <a:gd name="T12" fmla="*/ 1258 w 1279"/>
                <a:gd name="T13" fmla="*/ 56 h 255"/>
                <a:gd name="T14" fmla="*/ 1270 w 1279"/>
                <a:gd name="T15" fmla="*/ 77 h 255"/>
                <a:gd name="T16" fmla="*/ 1277 w 1279"/>
                <a:gd name="T17" fmla="*/ 101 h 255"/>
                <a:gd name="T18" fmla="*/ 1279 w 1279"/>
                <a:gd name="T19" fmla="*/ 127 h 255"/>
                <a:gd name="T20" fmla="*/ 1279 w 1279"/>
                <a:gd name="T21" fmla="*/ 255 h 255"/>
                <a:gd name="T22" fmla="*/ 0 w 1279"/>
                <a:gd name="T23" fmla="*/ 255 h 255"/>
                <a:gd name="T24" fmla="*/ 0 w 1279"/>
                <a:gd name="T25" fmla="*/ 127 h 255"/>
                <a:gd name="T26" fmla="*/ 3 w 1279"/>
                <a:gd name="T27" fmla="*/ 100 h 255"/>
                <a:gd name="T28" fmla="*/ 10 w 1279"/>
                <a:gd name="T29" fmla="*/ 77 h 255"/>
                <a:gd name="T30" fmla="*/ 22 w 1279"/>
                <a:gd name="T31" fmla="*/ 55 h 255"/>
                <a:gd name="T32" fmla="*/ 37 w 1279"/>
                <a:gd name="T33" fmla="*/ 36 h 255"/>
                <a:gd name="T34" fmla="*/ 57 w 1279"/>
                <a:gd name="T35" fmla="*/ 21 h 255"/>
                <a:gd name="T36" fmla="*/ 78 w 1279"/>
                <a:gd name="T37" fmla="*/ 9 h 255"/>
                <a:gd name="T38" fmla="*/ 102 w 1279"/>
                <a:gd name="T39" fmla="*/ 2 h 255"/>
                <a:gd name="T40" fmla="*/ 128 w 1279"/>
                <a:gd name="T4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9" h="255">
                  <a:moveTo>
                    <a:pt x="128" y="0"/>
                  </a:moveTo>
                  <a:lnTo>
                    <a:pt x="1152" y="0"/>
                  </a:lnTo>
                  <a:lnTo>
                    <a:pt x="1178" y="2"/>
                  </a:lnTo>
                  <a:lnTo>
                    <a:pt x="1202" y="10"/>
                  </a:lnTo>
                  <a:lnTo>
                    <a:pt x="1223" y="21"/>
                  </a:lnTo>
                  <a:lnTo>
                    <a:pt x="1243" y="37"/>
                  </a:lnTo>
                  <a:lnTo>
                    <a:pt x="1258" y="56"/>
                  </a:lnTo>
                  <a:lnTo>
                    <a:pt x="1270" y="77"/>
                  </a:lnTo>
                  <a:lnTo>
                    <a:pt x="1277" y="101"/>
                  </a:lnTo>
                  <a:lnTo>
                    <a:pt x="1279" y="127"/>
                  </a:lnTo>
                  <a:lnTo>
                    <a:pt x="1279" y="255"/>
                  </a:lnTo>
                  <a:lnTo>
                    <a:pt x="0" y="255"/>
                  </a:lnTo>
                  <a:lnTo>
                    <a:pt x="0" y="127"/>
                  </a:lnTo>
                  <a:lnTo>
                    <a:pt x="3" y="100"/>
                  </a:lnTo>
                  <a:lnTo>
                    <a:pt x="10" y="77"/>
                  </a:lnTo>
                  <a:lnTo>
                    <a:pt x="22" y="55"/>
                  </a:lnTo>
                  <a:lnTo>
                    <a:pt x="37" y="36"/>
                  </a:lnTo>
                  <a:lnTo>
                    <a:pt x="57" y="21"/>
                  </a:lnTo>
                  <a:lnTo>
                    <a:pt x="78" y="9"/>
                  </a:lnTo>
                  <a:lnTo>
                    <a:pt x="102" y="2"/>
                  </a:lnTo>
                  <a:lnTo>
                    <a:pt x="1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82" name="Freeform 55"/>
            <p:cNvSpPr>
              <a:spLocks noEditPoints="1"/>
            </p:cNvSpPr>
            <p:nvPr/>
          </p:nvSpPr>
          <p:spPr bwMode="auto">
            <a:xfrm>
              <a:off x="9190038" y="4740275"/>
              <a:ext cx="71438" cy="244475"/>
            </a:xfrm>
            <a:custGeom>
              <a:avLst/>
              <a:gdLst>
                <a:gd name="T0" fmla="*/ 413 w 896"/>
                <a:gd name="T1" fmla="*/ 2159 h 3072"/>
                <a:gd name="T2" fmla="*/ 350 w 896"/>
                <a:gd name="T3" fmla="*/ 2180 h 3072"/>
                <a:gd name="T4" fmla="*/ 298 w 896"/>
                <a:gd name="T5" fmla="*/ 2218 h 3072"/>
                <a:gd name="T6" fmla="*/ 260 w 896"/>
                <a:gd name="T7" fmla="*/ 2271 h 3072"/>
                <a:gd name="T8" fmla="*/ 239 w 896"/>
                <a:gd name="T9" fmla="*/ 2334 h 3072"/>
                <a:gd name="T10" fmla="*/ 239 w 896"/>
                <a:gd name="T11" fmla="*/ 2402 h 3072"/>
                <a:gd name="T12" fmla="*/ 260 w 896"/>
                <a:gd name="T13" fmla="*/ 2465 h 3072"/>
                <a:gd name="T14" fmla="*/ 298 w 896"/>
                <a:gd name="T15" fmla="*/ 2518 h 3072"/>
                <a:gd name="T16" fmla="*/ 350 w 896"/>
                <a:gd name="T17" fmla="*/ 2556 h 3072"/>
                <a:gd name="T18" fmla="*/ 413 w 896"/>
                <a:gd name="T19" fmla="*/ 2577 h 3072"/>
                <a:gd name="T20" fmla="*/ 483 w 896"/>
                <a:gd name="T21" fmla="*/ 2577 h 3072"/>
                <a:gd name="T22" fmla="*/ 546 w 896"/>
                <a:gd name="T23" fmla="*/ 2556 h 3072"/>
                <a:gd name="T24" fmla="*/ 598 w 896"/>
                <a:gd name="T25" fmla="*/ 2518 h 3072"/>
                <a:gd name="T26" fmla="*/ 636 w 896"/>
                <a:gd name="T27" fmla="*/ 2465 h 3072"/>
                <a:gd name="T28" fmla="*/ 657 w 896"/>
                <a:gd name="T29" fmla="*/ 2402 h 3072"/>
                <a:gd name="T30" fmla="*/ 657 w 896"/>
                <a:gd name="T31" fmla="*/ 2334 h 3072"/>
                <a:gd name="T32" fmla="*/ 636 w 896"/>
                <a:gd name="T33" fmla="*/ 2271 h 3072"/>
                <a:gd name="T34" fmla="*/ 598 w 896"/>
                <a:gd name="T35" fmla="*/ 2218 h 3072"/>
                <a:gd name="T36" fmla="*/ 546 w 896"/>
                <a:gd name="T37" fmla="*/ 2180 h 3072"/>
                <a:gd name="T38" fmla="*/ 483 w 896"/>
                <a:gd name="T39" fmla="*/ 2159 h 3072"/>
                <a:gd name="T40" fmla="*/ 128 w 896"/>
                <a:gd name="T41" fmla="*/ 0 h 3072"/>
                <a:gd name="T42" fmla="*/ 794 w 896"/>
                <a:gd name="T43" fmla="*/ 2 h 3072"/>
                <a:gd name="T44" fmla="*/ 840 w 896"/>
                <a:gd name="T45" fmla="*/ 22 h 3072"/>
                <a:gd name="T46" fmla="*/ 875 w 896"/>
                <a:gd name="T47" fmla="*/ 56 h 3072"/>
                <a:gd name="T48" fmla="*/ 894 w 896"/>
                <a:gd name="T49" fmla="*/ 102 h 3072"/>
                <a:gd name="T50" fmla="*/ 896 w 896"/>
                <a:gd name="T51" fmla="*/ 2944 h 3072"/>
                <a:gd name="T52" fmla="*/ 886 w 896"/>
                <a:gd name="T53" fmla="*/ 2994 h 3072"/>
                <a:gd name="T54" fmla="*/ 858 w 896"/>
                <a:gd name="T55" fmla="*/ 3034 h 3072"/>
                <a:gd name="T56" fmla="*/ 818 w 896"/>
                <a:gd name="T57" fmla="*/ 3062 h 3072"/>
                <a:gd name="T58" fmla="*/ 768 w 896"/>
                <a:gd name="T59" fmla="*/ 3072 h 3072"/>
                <a:gd name="T60" fmla="*/ 103 w 896"/>
                <a:gd name="T61" fmla="*/ 3069 h 3072"/>
                <a:gd name="T62" fmla="*/ 57 w 896"/>
                <a:gd name="T63" fmla="*/ 3050 h 3072"/>
                <a:gd name="T64" fmla="*/ 22 w 896"/>
                <a:gd name="T65" fmla="*/ 3015 h 3072"/>
                <a:gd name="T66" fmla="*/ 3 w 896"/>
                <a:gd name="T67" fmla="*/ 2969 h 3072"/>
                <a:gd name="T68" fmla="*/ 0 w 896"/>
                <a:gd name="T69" fmla="*/ 129 h 3072"/>
                <a:gd name="T70" fmla="*/ 10 w 896"/>
                <a:gd name="T71" fmla="*/ 79 h 3072"/>
                <a:gd name="T72" fmla="*/ 38 w 896"/>
                <a:gd name="T73" fmla="*/ 38 h 3072"/>
                <a:gd name="T74" fmla="*/ 78 w 896"/>
                <a:gd name="T75" fmla="*/ 10 h 3072"/>
                <a:gd name="T76" fmla="*/ 128 w 896"/>
                <a:gd name="T77" fmla="*/ 0 h 3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6" h="3072">
                  <a:moveTo>
                    <a:pt x="448" y="2157"/>
                  </a:moveTo>
                  <a:lnTo>
                    <a:pt x="413" y="2159"/>
                  </a:lnTo>
                  <a:lnTo>
                    <a:pt x="381" y="2167"/>
                  </a:lnTo>
                  <a:lnTo>
                    <a:pt x="350" y="2180"/>
                  </a:lnTo>
                  <a:lnTo>
                    <a:pt x="323" y="2198"/>
                  </a:lnTo>
                  <a:lnTo>
                    <a:pt x="298" y="2218"/>
                  </a:lnTo>
                  <a:lnTo>
                    <a:pt x="277" y="2242"/>
                  </a:lnTo>
                  <a:lnTo>
                    <a:pt x="260" y="2271"/>
                  </a:lnTo>
                  <a:lnTo>
                    <a:pt x="247" y="2301"/>
                  </a:lnTo>
                  <a:lnTo>
                    <a:pt x="239" y="2334"/>
                  </a:lnTo>
                  <a:lnTo>
                    <a:pt x="236" y="2369"/>
                  </a:lnTo>
                  <a:lnTo>
                    <a:pt x="239" y="2402"/>
                  </a:lnTo>
                  <a:lnTo>
                    <a:pt x="247" y="2435"/>
                  </a:lnTo>
                  <a:lnTo>
                    <a:pt x="260" y="2465"/>
                  </a:lnTo>
                  <a:lnTo>
                    <a:pt x="277" y="2493"/>
                  </a:lnTo>
                  <a:lnTo>
                    <a:pt x="298" y="2518"/>
                  </a:lnTo>
                  <a:lnTo>
                    <a:pt x="323" y="2539"/>
                  </a:lnTo>
                  <a:lnTo>
                    <a:pt x="350" y="2556"/>
                  </a:lnTo>
                  <a:lnTo>
                    <a:pt x="381" y="2569"/>
                  </a:lnTo>
                  <a:lnTo>
                    <a:pt x="413" y="2577"/>
                  </a:lnTo>
                  <a:lnTo>
                    <a:pt x="448" y="2580"/>
                  </a:lnTo>
                  <a:lnTo>
                    <a:pt x="483" y="2577"/>
                  </a:lnTo>
                  <a:lnTo>
                    <a:pt x="515" y="2569"/>
                  </a:lnTo>
                  <a:lnTo>
                    <a:pt x="546" y="2556"/>
                  </a:lnTo>
                  <a:lnTo>
                    <a:pt x="573" y="2539"/>
                  </a:lnTo>
                  <a:lnTo>
                    <a:pt x="598" y="2518"/>
                  </a:lnTo>
                  <a:lnTo>
                    <a:pt x="619" y="2493"/>
                  </a:lnTo>
                  <a:lnTo>
                    <a:pt x="636" y="2465"/>
                  </a:lnTo>
                  <a:lnTo>
                    <a:pt x="650" y="2435"/>
                  </a:lnTo>
                  <a:lnTo>
                    <a:pt x="657" y="2402"/>
                  </a:lnTo>
                  <a:lnTo>
                    <a:pt x="660" y="2369"/>
                  </a:lnTo>
                  <a:lnTo>
                    <a:pt x="657" y="2334"/>
                  </a:lnTo>
                  <a:lnTo>
                    <a:pt x="650" y="2301"/>
                  </a:lnTo>
                  <a:lnTo>
                    <a:pt x="636" y="2271"/>
                  </a:lnTo>
                  <a:lnTo>
                    <a:pt x="619" y="2242"/>
                  </a:lnTo>
                  <a:lnTo>
                    <a:pt x="598" y="2218"/>
                  </a:lnTo>
                  <a:lnTo>
                    <a:pt x="573" y="2198"/>
                  </a:lnTo>
                  <a:lnTo>
                    <a:pt x="546" y="2180"/>
                  </a:lnTo>
                  <a:lnTo>
                    <a:pt x="515" y="2167"/>
                  </a:lnTo>
                  <a:lnTo>
                    <a:pt x="483" y="2159"/>
                  </a:lnTo>
                  <a:lnTo>
                    <a:pt x="448" y="2157"/>
                  </a:lnTo>
                  <a:close/>
                  <a:moveTo>
                    <a:pt x="128" y="0"/>
                  </a:moveTo>
                  <a:lnTo>
                    <a:pt x="768" y="0"/>
                  </a:lnTo>
                  <a:lnTo>
                    <a:pt x="794" y="2"/>
                  </a:lnTo>
                  <a:lnTo>
                    <a:pt x="818" y="10"/>
                  </a:lnTo>
                  <a:lnTo>
                    <a:pt x="840" y="22"/>
                  </a:lnTo>
                  <a:lnTo>
                    <a:pt x="858" y="38"/>
                  </a:lnTo>
                  <a:lnTo>
                    <a:pt x="875" y="56"/>
                  </a:lnTo>
                  <a:lnTo>
                    <a:pt x="886" y="79"/>
                  </a:lnTo>
                  <a:lnTo>
                    <a:pt x="894" y="102"/>
                  </a:lnTo>
                  <a:lnTo>
                    <a:pt x="896" y="129"/>
                  </a:lnTo>
                  <a:lnTo>
                    <a:pt x="896" y="2944"/>
                  </a:lnTo>
                  <a:lnTo>
                    <a:pt x="894" y="2969"/>
                  </a:lnTo>
                  <a:lnTo>
                    <a:pt x="886" y="2994"/>
                  </a:lnTo>
                  <a:lnTo>
                    <a:pt x="875" y="3015"/>
                  </a:lnTo>
                  <a:lnTo>
                    <a:pt x="858" y="3034"/>
                  </a:lnTo>
                  <a:lnTo>
                    <a:pt x="840" y="3050"/>
                  </a:lnTo>
                  <a:lnTo>
                    <a:pt x="818" y="3062"/>
                  </a:lnTo>
                  <a:lnTo>
                    <a:pt x="794" y="3069"/>
                  </a:lnTo>
                  <a:lnTo>
                    <a:pt x="768" y="3072"/>
                  </a:lnTo>
                  <a:lnTo>
                    <a:pt x="128" y="3072"/>
                  </a:lnTo>
                  <a:lnTo>
                    <a:pt x="103" y="3069"/>
                  </a:lnTo>
                  <a:lnTo>
                    <a:pt x="78" y="3062"/>
                  </a:lnTo>
                  <a:lnTo>
                    <a:pt x="57" y="3050"/>
                  </a:lnTo>
                  <a:lnTo>
                    <a:pt x="38" y="3034"/>
                  </a:lnTo>
                  <a:lnTo>
                    <a:pt x="22" y="3015"/>
                  </a:lnTo>
                  <a:lnTo>
                    <a:pt x="10" y="2994"/>
                  </a:lnTo>
                  <a:lnTo>
                    <a:pt x="3" y="2969"/>
                  </a:lnTo>
                  <a:lnTo>
                    <a:pt x="0" y="2944"/>
                  </a:lnTo>
                  <a:lnTo>
                    <a:pt x="0" y="129"/>
                  </a:lnTo>
                  <a:lnTo>
                    <a:pt x="3" y="102"/>
                  </a:lnTo>
                  <a:lnTo>
                    <a:pt x="10" y="79"/>
                  </a:lnTo>
                  <a:lnTo>
                    <a:pt x="22" y="56"/>
                  </a:lnTo>
                  <a:lnTo>
                    <a:pt x="38" y="38"/>
                  </a:lnTo>
                  <a:lnTo>
                    <a:pt x="57" y="22"/>
                  </a:lnTo>
                  <a:lnTo>
                    <a:pt x="78" y="10"/>
                  </a:lnTo>
                  <a:lnTo>
                    <a:pt x="103" y="2"/>
                  </a:lnTo>
                  <a:lnTo>
                    <a:pt x="1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83" name="Freeform 56"/>
            <p:cNvSpPr>
              <a:spLocks/>
            </p:cNvSpPr>
            <p:nvPr/>
          </p:nvSpPr>
          <p:spPr bwMode="auto">
            <a:xfrm>
              <a:off x="9282113" y="4740275"/>
              <a:ext cx="171450" cy="214313"/>
            </a:xfrm>
            <a:custGeom>
              <a:avLst/>
              <a:gdLst>
                <a:gd name="T0" fmla="*/ 1792 w 2176"/>
                <a:gd name="T1" fmla="*/ 0 h 2688"/>
                <a:gd name="T2" fmla="*/ 1886 w 2176"/>
                <a:gd name="T3" fmla="*/ 11 h 2688"/>
                <a:gd name="T4" fmla="*/ 1973 w 2176"/>
                <a:gd name="T5" fmla="*/ 45 h 2688"/>
                <a:gd name="T6" fmla="*/ 2047 w 2176"/>
                <a:gd name="T7" fmla="*/ 97 h 2688"/>
                <a:gd name="T8" fmla="*/ 2107 w 2176"/>
                <a:gd name="T9" fmla="*/ 164 h 2688"/>
                <a:gd name="T10" fmla="*/ 2150 w 2176"/>
                <a:gd name="T11" fmla="*/ 245 h 2688"/>
                <a:gd name="T12" fmla="*/ 2173 w 2176"/>
                <a:gd name="T13" fmla="*/ 335 h 2688"/>
                <a:gd name="T14" fmla="*/ 2176 w 2176"/>
                <a:gd name="T15" fmla="*/ 2048 h 2688"/>
                <a:gd name="T16" fmla="*/ 2164 w 2176"/>
                <a:gd name="T17" fmla="*/ 2143 h 2688"/>
                <a:gd name="T18" fmla="*/ 2132 w 2176"/>
                <a:gd name="T19" fmla="*/ 2228 h 2688"/>
                <a:gd name="T20" fmla="*/ 2080 w 2176"/>
                <a:gd name="T21" fmla="*/ 2303 h 2688"/>
                <a:gd name="T22" fmla="*/ 2011 w 2176"/>
                <a:gd name="T23" fmla="*/ 2363 h 2688"/>
                <a:gd name="T24" fmla="*/ 1931 w 2176"/>
                <a:gd name="T25" fmla="*/ 2406 h 2688"/>
                <a:gd name="T26" fmla="*/ 1840 w 2176"/>
                <a:gd name="T27" fmla="*/ 2429 h 2688"/>
                <a:gd name="T28" fmla="*/ 1024 w 2176"/>
                <a:gd name="T29" fmla="*/ 2432 h 2688"/>
                <a:gd name="T30" fmla="*/ 1022 w 2176"/>
                <a:gd name="T31" fmla="*/ 2586 h 2688"/>
                <a:gd name="T32" fmla="*/ 1002 w 2176"/>
                <a:gd name="T33" fmla="*/ 2632 h 2688"/>
                <a:gd name="T34" fmla="*/ 968 w 2176"/>
                <a:gd name="T35" fmla="*/ 2667 h 2688"/>
                <a:gd name="T36" fmla="*/ 922 w 2176"/>
                <a:gd name="T37" fmla="*/ 2685 h 2688"/>
                <a:gd name="T38" fmla="*/ 384 w 2176"/>
                <a:gd name="T39" fmla="*/ 2688 h 2688"/>
                <a:gd name="T40" fmla="*/ 335 w 2176"/>
                <a:gd name="T41" fmla="*/ 2678 h 2688"/>
                <a:gd name="T42" fmla="*/ 294 w 2176"/>
                <a:gd name="T43" fmla="*/ 2651 h 2688"/>
                <a:gd name="T44" fmla="*/ 266 w 2176"/>
                <a:gd name="T45" fmla="*/ 2610 h 2688"/>
                <a:gd name="T46" fmla="*/ 256 w 2176"/>
                <a:gd name="T47" fmla="*/ 2560 h 2688"/>
                <a:gd name="T48" fmla="*/ 0 w 2176"/>
                <a:gd name="T49" fmla="*/ 2432 h 2688"/>
                <a:gd name="T50" fmla="*/ 1792 w 2176"/>
                <a:gd name="T51" fmla="*/ 1920 h 2688"/>
                <a:gd name="T52" fmla="*/ 1841 w 2176"/>
                <a:gd name="T53" fmla="*/ 1910 h 2688"/>
                <a:gd name="T54" fmla="*/ 1882 w 2176"/>
                <a:gd name="T55" fmla="*/ 1883 h 2688"/>
                <a:gd name="T56" fmla="*/ 1910 w 2176"/>
                <a:gd name="T57" fmla="*/ 1842 h 2688"/>
                <a:gd name="T58" fmla="*/ 1920 w 2176"/>
                <a:gd name="T59" fmla="*/ 1792 h 2688"/>
                <a:gd name="T60" fmla="*/ 1917 w 2176"/>
                <a:gd name="T61" fmla="*/ 358 h 2688"/>
                <a:gd name="T62" fmla="*/ 1897 w 2176"/>
                <a:gd name="T63" fmla="*/ 313 h 2688"/>
                <a:gd name="T64" fmla="*/ 1863 w 2176"/>
                <a:gd name="T65" fmla="*/ 278 h 2688"/>
                <a:gd name="T66" fmla="*/ 1817 w 2176"/>
                <a:gd name="T67" fmla="*/ 259 h 2688"/>
                <a:gd name="T68" fmla="*/ 0 w 2176"/>
                <a:gd name="T69" fmla="*/ 256 h 2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76" h="2688">
                  <a:moveTo>
                    <a:pt x="0" y="0"/>
                  </a:moveTo>
                  <a:lnTo>
                    <a:pt x="1792" y="0"/>
                  </a:lnTo>
                  <a:lnTo>
                    <a:pt x="1840" y="3"/>
                  </a:lnTo>
                  <a:lnTo>
                    <a:pt x="1886" y="11"/>
                  </a:lnTo>
                  <a:lnTo>
                    <a:pt x="1931" y="26"/>
                  </a:lnTo>
                  <a:lnTo>
                    <a:pt x="1973" y="45"/>
                  </a:lnTo>
                  <a:lnTo>
                    <a:pt x="2011" y="68"/>
                  </a:lnTo>
                  <a:lnTo>
                    <a:pt x="2047" y="97"/>
                  </a:lnTo>
                  <a:lnTo>
                    <a:pt x="2080" y="129"/>
                  </a:lnTo>
                  <a:lnTo>
                    <a:pt x="2107" y="164"/>
                  </a:lnTo>
                  <a:lnTo>
                    <a:pt x="2132" y="203"/>
                  </a:lnTo>
                  <a:lnTo>
                    <a:pt x="2150" y="245"/>
                  </a:lnTo>
                  <a:lnTo>
                    <a:pt x="2164" y="289"/>
                  </a:lnTo>
                  <a:lnTo>
                    <a:pt x="2173" y="335"/>
                  </a:lnTo>
                  <a:lnTo>
                    <a:pt x="2176" y="384"/>
                  </a:lnTo>
                  <a:lnTo>
                    <a:pt x="2176" y="2048"/>
                  </a:lnTo>
                  <a:lnTo>
                    <a:pt x="2173" y="2097"/>
                  </a:lnTo>
                  <a:lnTo>
                    <a:pt x="2164" y="2143"/>
                  </a:lnTo>
                  <a:lnTo>
                    <a:pt x="2150" y="2186"/>
                  </a:lnTo>
                  <a:lnTo>
                    <a:pt x="2132" y="2228"/>
                  </a:lnTo>
                  <a:lnTo>
                    <a:pt x="2107" y="2268"/>
                  </a:lnTo>
                  <a:lnTo>
                    <a:pt x="2080" y="2303"/>
                  </a:lnTo>
                  <a:lnTo>
                    <a:pt x="2047" y="2335"/>
                  </a:lnTo>
                  <a:lnTo>
                    <a:pt x="2011" y="2363"/>
                  </a:lnTo>
                  <a:lnTo>
                    <a:pt x="1973" y="2387"/>
                  </a:lnTo>
                  <a:lnTo>
                    <a:pt x="1931" y="2406"/>
                  </a:lnTo>
                  <a:lnTo>
                    <a:pt x="1886" y="2420"/>
                  </a:lnTo>
                  <a:lnTo>
                    <a:pt x="1840" y="2429"/>
                  </a:lnTo>
                  <a:lnTo>
                    <a:pt x="1792" y="2432"/>
                  </a:lnTo>
                  <a:lnTo>
                    <a:pt x="1024" y="2432"/>
                  </a:lnTo>
                  <a:lnTo>
                    <a:pt x="1024" y="2560"/>
                  </a:lnTo>
                  <a:lnTo>
                    <a:pt x="1022" y="2586"/>
                  </a:lnTo>
                  <a:lnTo>
                    <a:pt x="1015" y="2610"/>
                  </a:lnTo>
                  <a:lnTo>
                    <a:pt x="1002" y="2632"/>
                  </a:lnTo>
                  <a:lnTo>
                    <a:pt x="987" y="2651"/>
                  </a:lnTo>
                  <a:lnTo>
                    <a:pt x="968" y="2667"/>
                  </a:lnTo>
                  <a:lnTo>
                    <a:pt x="945" y="2678"/>
                  </a:lnTo>
                  <a:lnTo>
                    <a:pt x="922" y="2685"/>
                  </a:lnTo>
                  <a:lnTo>
                    <a:pt x="897" y="2688"/>
                  </a:lnTo>
                  <a:lnTo>
                    <a:pt x="384" y="2688"/>
                  </a:lnTo>
                  <a:lnTo>
                    <a:pt x="359" y="2685"/>
                  </a:lnTo>
                  <a:lnTo>
                    <a:pt x="335" y="2678"/>
                  </a:lnTo>
                  <a:lnTo>
                    <a:pt x="313" y="2666"/>
                  </a:lnTo>
                  <a:lnTo>
                    <a:pt x="294" y="2651"/>
                  </a:lnTo>
                  <a:lnTo>
                    <a:pt x="279" y="2631"/>
                  </a:lnTo>
                  <a:lnTo>
                    <a:pt x="266" y="2610"/>
                  </a:lnTo>
                  <a:lnTo>
                    <a:pt x="259" y="2585"/>
                  </a:lnTo>
                  <a:lnTo>
                    <a:pt x="256" y="2560"/>
                  </a:lnTo>
                  <a:lnTo>
                    <a:pt x="256" y="2432"/>
                  </a:lnTo>
                  <a:lnTo>
                    <a:pt x="0" y="2432"/>
                  </a:lnTo>
                  <a:lnTo>
                    <a:pt x="0" y="1920"/>
                  </a:lnTo>
                  <a:lnTo>
                    <a:pt x="1792" y="1920"/>
                  </a:lnTo>
                  <a:lnTo>
                    <a:pt x="1817" y="1918"/>
                  </a:lnTo>
                  <a:lnTo>
                    <a:pt x="1841" y="1910"/>
                  </a:lnTo>
                  <a:lnTo>
                    <a:pt x="1863" y="1898"/>
                  </a:lnTo>
                  <a:lnTo>
                    <a:pt x="1882" y="1883"/>
                  </a:lnTo>
                  <a:lnTo>
                    <a:pt x="1897" y="1864"/>
                  </a:lnTo>
                  <a:lnTo>
                    <a:pt x="1910" y="1842"/>
                  </a:lnTo>
                  <a:lnTo>
                    <a:pt x="1917" y="1818"/>
                  </a:lnTo>
                  <a:lnTo>
                    <a:pt x="1920" y="1792"/>
                  </a:lnTo>
                  <a:lnTo>
                    <a:pt x="1920" y="384"/>
                  </a:lnTo>
                  <a:lnTo>
                    <a:pt x="1917" y="358"/>
                  </a:lnTo>
                  <a:lnTo>
                    <a:pt x="1910" y="334"/>
                  </a:lnTo>
                  <a:lnTo>
                    <a:pt x="1897" y="313"/>
                  </a:lnTo>
                  <a:lnTo>
                    <a:pt x="1882" y="294"/>
                  </a:lnTo>
                  <a:lnTo>
                    <a:pt x="1863" y="278"/>
                  </a:lnTo>
                  <a:lnTo>
                    <a:pt x="1841" y="266"/>
                  </a:lnTo>
                  <a:lnTo>
                    <a:pt x="1817" y="259"/>
                  </a:lnTo>
                  <a:lnTo>
                    <a:pt x="1792" y="256"/>
                  </a:lnTo>
                  <a:lnTo>
                    <a:pt x="0" y="25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sp>
        <p:nvSpPr>
          <p:cNvPr id="84" name="Freeform 6"/>
          <p:cNvSpPr>
            <a:spLocks noEditPoints="1"/>
          </p:cNvSpPr>
          <p:nvPr/>
        </p:nvSpPr>
        <p:spPr bwMode="auto">
          <a:xfrm>
            <a:off x="788308" y="3871559"/>
            <a:ext cx="336955" cy="645572"/>
          </a:xfrm>
          <a:custGeom>
            <a:avLst/>
            <a:gdLst>
              <a:gd name="T0" fmla="*/ 1235 w 1736"/>
              <a:gd name="T1" fmla="*/ 2807 h 3326"/>
              <a:gd name="T2" fmla="*/ 1283 w 1736"/>
              <a:gd name="T3" fmla="*/ 2966 h 3326"/>
              <a:gd name="T4" fmla="*/ 1448 w 1736"/>
              <a:gd name="T5" fmla="*/ 2949 h 3326"/>
              <a:gd name="T6" fmla="*/ 1464 w 1736"/>
              <a:gd name="T7" fmla="*/ 2784 h 3326"/>
              <a:gd name="T8" fmla="*/ 842 w 1736"/>
              <a:gd name="T9" fmla="*/ 2730 h 3326"/>
              <a:gd name="T10" fmla="*/ 737 w 1736"/>
              <a:gd name="T11" fmla="*/ 2857 h 3326"/>
              <a:gd name="T12" fmla="*/ 842 w 1736"/>
              <a:gd name="T13" fmla="*/ 2985 h 3326"/>
              <a:gd name="T14" fmla="*/ 987 w 1736"/>
              <a:gd name="T15" fmla="*/ 2908 h 3326"/>
              <a:gd name="T16" fmla="*/ 941 w 1736"/>
              <a:gd name="T17" fmla="*/ 2749 h 3326"/>
              <a:gd name="T18" fmla="*/ 307 w 1736"/>
              <a:gd name="T19" fmla="*/ 2749 h 3326"/>
              <a:gd name="T20" fmla="*/ 260 w 1736"/>
              <a:gd name="T21" fmla="*/ 2908 h 3326"/>
              <a:gd name="T22" fmla="*/ 406 w 1736"/>
              <a:gd name="T23" fmla="*/ 2985 h 3326"/>
              <a:gd name="T24" fmla="*/ 510 w 1736"/>
              <a:gd name="T25" fmla="*/ 2857 h 3326"/>
              <a:gd name="T26" fmla="*/ 406 w 1736"/>
              <a:gd name="T27" fmla="*/ 2730 h 3326"/>
              <a:gd name="T28" fmla="*/ 1247 w 1736"/>
              <a:gd name="T29" fmla="*/ 2400 h 3326"/>
              <a:gd name="T30" fmla="*/ 1264 w 1736"/>
              <a:gd name="T31" fmla="*/ 2565 h 3326"/>
              <a:gd name="T32" fmla="*/ 1428 w 1736"/>
              <a:gd name="T33" fmla="*/ 2581 h 3326"/>
              <a:gd name="T34" fmla="*/ 1476 w 1736"/>
              <a:gd name="T35" fmla="*/ 2422 h 3326"/>
              <a:gd name="T36" fmla="*/ 868 w 1736"/>
              <a:gd name="T37" fmla="*/ 2342 h 3326"/>
              <a:gd name="T38" fmla="*/ 741 w 1736"/>
              <a:gd name="T39" fmla="*/ 2446 h 3326"/>
              <a:gd name="T40" fmla="*/ 817 w 1736"/>
              <a:gd name="T41" fmla="*/ 2593 h 3326"/>
              <a:gd name="T42" fmla="*/ 976 w 1736"/>
              <a:gd name="T43" fmla="*/ 2546 h 3326"/>
              <a:gd name="T44" fmla="*/ 960 w 1736"/>
              <a:gd name="T45" fmla="*/ 2381 h 3326"/>
              <a:gd name="T46" fmla="*/ 329 w 1736"/>
              <a:gd name="T47" fmla="*/ 2352 h 3326"/>
              <a:gd name="T48" fmla="*/ 252 w 1736"/>
              <a:gd name="T49" fmla="*/ 2499 h 3326"/>
              <a:gd name="T50" fmla="*/ 380 w 1736"/>
              <a:gd name="T51" fmla="*/ 2603 h 3326"/>
              <a:gd name="T52" fmla="*/ 508 w 1736"/>
              <a:gd name="T53" fmla="*/ 2499 h 3326"/>
              <a:gd name="T54" fmla="*/ 431 w 1736"/>
              <a:gd name="T55" fmla="*/ 2352 h 3326"/>
              <a:gd name="T56" fmla="*/ 1264 w 1736"/>
              <a:gd name="T57" fmla="*/ 1996 h 3326"/>
              <a:gd name="T58" fmla="*/ 1247 w 1736"/>
              <a:gd name="T59" fmla="*/ 2161 h 3326"/>
              <a:gd name="T60" fmla="*/ 1406 w 1736"/>
              <a:gd name="T61" fmla="*/ 2207 h 3326"/>
              <a:gd name="T62" fmla="*/ 1483 w 1736"/>
              <a:gd name="T63" fmla="*/ 2062 h 3326"/>
              <a:gd name="T64" fmla="*/ 1356 w 1736"/>
              <a:gd name="T65" fmla="*/ 1957 h 3326"/>
              <a:gd name="T66" fmla="*/ 748 w 1736"/>
              <a:gd name="T67" fmla="*/ 2037 h 3326"/>
              <a:gd name="T68" fmla="*/ 795 w 1736"/>
              <a:gd name="T69" fmla="*/ 2196 h 3326"/>
              <a:gd name="T70" fmla="*/ 960 w 1736"/>
              <a:gd name="T71" fmla="*/ 2180 h 3326"/>
              <a:gd name="T72" fmla="*/ 976 w 1736"/>
              <a:gd name="T73" fmla="*/ 2015 h 3326"/>
              <a:gd name="T74" fmla="*/ 354 w 1736"/>
              <a:gd name="T75" fmla="*/ 1961 h 3326"/>
              <a:gd name="T76" fmla="*/ 250 w 1736"/>
              <a:gd name="T77" fmla="*/ 2088 h 3326"/>
              <a:gd name="T78" fmla="*/ 354 w 1736"/>
              <a:gd name="T79" fmla="*/ 2216 h 3326"/>
              <a:gd name="T80" fmla="*/ 500 w 1736"/>
              <a:gd name="T81" fmla="*/ 2139 h 3326"/>
              <a:gd name="T82" fmla="*/ 453 w 1736"/>
              <a:gd name="T83" fmla="*/ 1980 h 3326"/>
              <a:gd name="T84" fmla="*/ 188 w 1736"/>
              <a:gd name="T85" fmla="*/ 866 h 3326"/>
              <a:gd name="T86" fmla="*/ 207 w 1736"/>
              <a:gd name="T87" fmla="*/ 1702 h 3326"/>
              <a:gd name="T88" fmla="*/ 1555 w 1736"/>
              <a:gd name="T89" fmla="*/ 1665 h 3326"/>
              <a:gd name="T90" fmla="*/ 1515 w 1736"/>
              <a:gd name="T91" fmla="*/ 850 h 3326"/>
              <a:gd name="T92" fmla="*/ 668 w 1736"/>
              <a:gd name="T93" fmla="*/ 693 h 3326"/>
              <a:gd name="T94" fmla="*/ 1056 w 1736"/>
              <a:gd name="T95" fmla="*/ 732 h 3326"/>
              <a:gd name="T96" fmla="*/ 1066 w 1736"/>
              <a:gd name="T97" fmla="*/ 662 h 3326"/>
              <a:gd name="T98" fmla="*/ 1694 w 1736"/>
              <a:gd name="T99" fmla="*/ 24 h 3326"/>
              <a:gd name="T100" fmla="*/ 1736 w 1736"/>
              <a:gd name="T101" fmla="*/ 1018 h 3326"/>
              <a:gd name="T102" fmla="*/ 1664 w 1736"/>
              <a:gd name="T103" fmla="*/ 3005 h 3326"/>
              <a:gd name="T104" fmla="*/ 1403 w 1736"/>
              <a:gd name="T105" fmla="*/ 3243 h 3326"/>
              <a:gd name="T106" fmla="*/ 952 w 1736"/>
              <a:gd name="T107" fmla="*/ 3325 h 3326"/>
              <a:gd name="T108" fmla="*/ 438 w 1736"/>
              <a:gd name="T109" fmla="*/ 3279 h 3326"/>
              <a:gd name="T110" fmla="*/ 127 w 1736"/>
              <a:gd name="T111" fmla="*/ 3092 h 3326"/>
              <a:gd name="T112" fmla="*/ 2 w 1736"/>
              <a:gd name="T113" fmla="*/ 2725 h 3326"/>
              <a:gd name="T114" fmla="*/ 35 w 1736"/>
              <a:gd name="T115" fmla="*/ 778 h 3326"/>
              <a:gd name="T116" fmla="*/ 243 w 1736"/>
              <a:gd name="T117" fmla="*/ 500 h 3326"/>
              <a:gd name="T118" fmla="*/ 631 w 1736"/>
              <a:gd name="T119" fmla="*/ 380 h 3326"/>
              <a:gd name="T120" fmla="*/ 1174 w 1736"/>
              <a:gd name="T121" fmla="*/ 389 h 3326"/>
              <a:gd name="T122" fmla="*/ 1519 w 1736"/>
              <a:gd name="T123" fmla="*/ 518 h 3326"/>
              <a:gd name="T124" fmla="*/ 1602 w 1736"/>
              <a:gd name="T125" fmla="*/ 3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36" h="3326">
                <a:moveTo>
                  <a:pt x="1356" y="2727"/>
                </a:moveTo>
                <a:lnTo>
                  <a:pt x="1329" y="2730"/>
                </a:lnTo>
                <a:lnTo>
                  <a:pt x="1305" y="2737"/>
                </a:lnTo>
                <a:lnTo>
                  <a:pt x="1283" y="2749"/>
                </a:lnTo>
                <a:lnTo>
                  <a:pt x="1264" y="2765"/>
                </a:lnTo>
                <a:lnTo>
                  <a:pt x="1247" y="2784"/>
                </a:lnTo>
                <a:lnTo>
                  <a:pt x="1235" y="2807"/>
                </a:lnTo>
                <a:lnTo>
                  <a:pt x="1228" y="2831"/>
                </a:lnTo>
                <a:lnTo>
                  <a:pt x="1225" y="2857"/>
                </a:lnTo>
                <a:lnTo>
                  <a:pt x="1228" y="2884"/>
                </a:lnTo>
                <a:lnTo>
                  <a:pt x="1235" y="2908"/>
                </a:lnTo>
                <a:lnTo>
                  <a:pt x="1247" y="2930"/>
                </a:lnTo>
                <a:lnTo>
                  <a:pt x="1264" y="2949"/>
                </a:lnTo>
                <a:lnTo>
                  <a:pt x="1283" y="2966"/>
                </a:lnTo>
                <a:lnTo>
                  <a:pt x="1305" y="2978"/>
                </a:lnTo>
                <a:lnTo>
                  <a:pt x="1329" y="2985"/>
                </a:lnTo>
                <a:lnTo>
                  <a:pt x="1356" y="2988"/>
                </a:lnTo>
                <a:lnTo>
                  <a:pt x="1382" y="2985"/>
                </a:lnTo>
                <a:lnTo>
                  <a:pt x="1406" y="2978"/>
                </a:lnTo>
                <a:lnTo>
                  <a:pt x="1428" y="2966"/>
                </a:lnTo>
                <a:lnTo>
                  <a:pt x="1448" y="2949"/>
                </a:lnTo>
                <a:lnTo>
                  <a:pt x="1464" y="2930"/>
                </a:lnTo>
                <a:lnTo>
                  <a:pt x="1476" y="2908"/>
                </a:lnTo>
                <a:lnTo>
                  <a:pt x="1483" y="2884"/>
                </a:lnTo>
                <a:lnTo>
                  <a:pt x="1486" y="2857"/>
                </a:lnTo>
                <a:lnTo>
                  <a:pt x="1483" y="2831"/>
                </a:lnTo>
                <a:lnTo>
                  <a:pt x="1476" y="2807"/>
                </a:lnTo>
                <a:lnTo>
                  <a:pt x="1464" y="2784"/>
                </a:lnTo>
                <a:lnTo>
                  <a:pt x="1448" y="2765"/>
                </a:lnTo>
                <a:lnTo>
                  <a:pt x="1428" y="2749"/>
                </a:lnTo>
                <a:lnTo>
                  <a:pt x="1406" y="2737"/>
                </a:lnTo>
                <a:lnTo>
                  <a:pt x="1382" y="2730"/>
                </a:lnTo>
                <a:lnTo>
                  <a:pt x="1356" y="2727"/>
                </a:lnTo>
                <a:close/>
                <a:moveTo>
                  <a:pt x="868" y="2727"/>
                </a:moveTo>
                <a:lnTo>
                  <a:pt x="842" y="2730"/>
                </a:lnTo>
                <a:lnTo>
                  <a:pt x="817" y="2737"/>
                </a:lnTo>
                <a:lnTo>
                  <a:pt x="795" y="2749"/>
                </a:lnTo>
                <a:lnTo>
                  <a:pt x="776" y="2765"/>
                </a:lnTo>
                <a:lnTo>
                  <a:pt x="760" y="2784"/>
                </a:lnTo>
                <a:lnTo>
                  <a:pt x="748" y="2807"/>
                </a:lnTo>
                <a:lnTo>
                  <a:pt x="741" y="2831"/>
                </a:lnTo>
                <a:lnTo>
                  <a:pt x="737" y="2857"/>
                </a:lnTo>
                <a:lnTo>
                  <a:pt x="741" y="2884"/>
                </a:lnTo>
                <a:lnTo>
                  <a:pt x="748" y="2908"/>
                </a:lnTo>
                <a:lnTo>
                  <a:pt x="760" y="2930"/>
                </a:lnTo>
                <a:lnTo>
                  <a:pt x="776" y="2949"/>
                </a:lnTo>
                <a:lnTo>
                  <a:pt x="795" y="2966"/>
                </a:lnTo>
                <a:lnTo>
                  <a:pt x="817" y="2978"/>
                </a:lnTo>
                <a:lnTo>
                  <a:pt x="842" y="2985"/>
                </a:lnTo>
                <a:lnTo>
                  <a:pt x="868" y="2988"/>
                </a:lnTo>
                <a:lnTo>
                  <a:pt x="894" y="2985"/>
                </a:lnTo>
                <a:lnTo>
                  <a:pt x="919" y="2978"/>
                </a:lnTo>
                <a:lnTo>
                  <a:pt x="941" y="2966"/>
                </a:lnTo>
                <a:lnTo>
                  <a:pt x="960" y="2949"/>
                </a:lnTo>
                <a:lnTo>
                  <a:pt x="976" y="2930"/>
                </a:lnTo>
                <a:lnTo>
                  <a:pt x="987" y="2908"/>
                </a:lnTo>
                <a:lnTo>
                  <a:pt x="995" y="2884"/>
                </a:lnTo>
                <a:lnTo>
                  <a:pt x="998" y="2857"/>
                </a:lnTo>
                <a:lnTo>
                  <a:pt x="995" y="2831"/>
                </a:lnTo>
                <a:lnTo>
                  <a:pt x="987" y="2807"/>
                </a:lnTo>
                <a:lnTo>
                  <a:pt x="976" y="2784"/>
                </a:lnTo>
                <a:lnTo>
                  <a:pt x="960" y="2765"/>
                </a:lnTo>
                <a:lnTo>
                  <a:pt x="941" y="2749"/>
                </a:lnTo>
                <a:lnTo>
                  <a:pt x="919" y="2737"/>
                </a:lnTo>
                <a:lnTo>
                  <a:pt x="894" y="2730"/>
                </a:lnTo>
                <a:lnTo>
                  <a:pt x="868" y="2727"/>
                </a:lnTo>
                <a:close/>
                <a:moveTo>
                  <a:pt x="380" y="2727"/>
                </a:moveTo>
                <a:lnTo>
                  <a:pt x="354" y="2730"/>
                </a:lnTo>
                <a:lnTo>
                  <a:pt x="329" y="2737"/>
                </a:lnTo>
                <a:lnTo>
                  <a:pt x="307" y="2749"/>
                </a:lnTo>
                <a:lnTo>
                  <a:pt x="287" y="2765"/>
                </a:lnTo>
                <a:lnTo>
                  <a:pt x="272" y="2784"/>
                </a:lnTo>
                <a:lnTo>
                  <a:pt x="260" y="2807"/>
                </a:lnTo>
                <a:lnTo>
                  <a:pt x="252" y="2831"/>
                </a:lnTo>
                <a:lnTo>
                  <a:pt x="250" y="2857"/>
                </a:lnTo>
                <a:lnTo>
                  <a:pt x="252" y="2884"/>
                </a:lnTo>
                <a:lnTo>
                  <a:pt x="260" y="2908"/>
                </a:lnTo>
                <a:lnTo>
                  <a:pt x="272" y="2930"/>
                </a:lnTo>
                <a:lnTo>
                  <a:pt x="287" y="2949"/>
                </a:lnTo>
                <a:lnTo>
                  <a:pt x="307" y="2966"/>
                </a:lnTo>
                <a:lnTo>
                  <a:pt x="329" y="2978"/>
                </a:lnTo>
                <a:lnTo>
                  <a:pt x="354" y="2985"/>
                </a:lnTo>
                <a:lnTo>
                  <a:pt x="380" y="2988"/>
                </a:lnTo>
                <a:lnTo>
                  <a:pt x="406" y="2985"/>
                </a:lnTo>
                <a:lnTo>
                  <a:pt x="431" y="2978"/>
                </a:lnTo>
                <a:lnTo>
                  <a:pt x="453" y="2966"/>
                </a:lnTo>
                <a:lnTo>
                  <a:pt x="472" y="2949"/>
                </a:lnTo>
                <a:lnTo>
                  <a:pt x="488" y="2930"/>
                </a:lnTo>
                <a:lnTo>
                  <a:pt x="500" y="2908"/>
                </a:lnTo>
                <a:lnTo>
                  <a:pt x="508" y="2884"/>
                </a:lnTo>
                <a:lnTo>
                  <a:pt x="510" y="2857"/>
                </a:lnTo>
                <a:lnTo>
                  <a:pt x="508" y="2831"/>
                </a:lnTo>
                <a:lnTo>
                  <a:pt x="500" y="2807"/>
                </a:lnTo>
                <a:lnTo>
                  <a:pt x="488" y="2784"/>
                </a:lnTo>
                <a:lnTo>
                  <a:pt x="472" y="2765"/>
                </a:lnTo>
                <a:lnTo>
                  <a:pt x="453" y="2749"/>
                </a:lnTo>
                <a:lnTo>
                  <a:pt x="431" y="2737"/>
                </a:lnTo>
                <a:lnTo>
                  <a:pt x="406" y="2730"/>
                </a:lnTo>
                <a:lnTo>
                  <a:pt x="380" y="2727"/>
                </a:lnTo>
                <a:close/>
                <a:moveTo>
                  <a:pt x="1356" y="2342"/>
                </a:moveTo>
                <a:lnTo>
                  <a:pt x="1329" y="2345"/>
                </a:lnTo>
                <a:lnTo>
                  <a:pt x="1305" y="2352"/>
                </a:lnTo>
                <a:lnTo>
                  <a:pt x="1283" y="2364"/>
                </a:lnTo>
                <a:lnTo>
                  <a:pt x="1264" y="2381"/>
                </a:lnTo>
                <a:lnTo>
                  <a:pt x="1247" y="2400"/>
                </a:lnTo>
                <a:lnTo>
                  <a:pt x="1235" y="2422"/>
                </a:lnTo>
                <a:lnTo>
                  <a:pt x="1228" y="2446"/>
                </a:lnTo>
                <a:lnTo>
                  <a:pt x="1225" y="2473"/>
                </a:lnTo>
                <a:lnTo>
                  <a:pt x="1228" y="2499"/>
                </a:lnTo>
                <a:lnTo>
                  <a:pt x="1235" y="2523"/>
                </a:lnTo>
                <a:lnTo>
                  <a:pt x="1247" y="2546"/>
                </a:lnTo>
                <a:lnTo>
                  <a:pt x="1264" y="2565"/>
                </a:lnTo>
                <a:lnTo>
                  <a:pt x="1283" y="2581"/>
                </a:lnTo>
                <a:lnTo>
                  <a:pt x="1305" y="2593"/>
                </a:lnTo>
                <a:lnTo>
                  <a:pt x="1329" y="2600"/>
                </a:lnTo>
                <a:lnTo>
                  <a:pt x="1356" y="2603"/>
                </a:lnTo>
                <a:lnTo>
                  <a:pt x="1382" y="2600"/>
                </a:lnTo>
                <a:lnTo>
                  <a:pt x="1406" y="2593"/>
                </a:lnTo>
                <a:lnTo>
                  <a:pt x="1428" y="2581"/>
                </a:lnTo>
                <a:lnTo>
                  <a:pt x="1448" y="2565"/>
                </a:lnTo>
                <a:lnTo>
                  <a:pt x="1464" y="2546"/>
                </a:lnTo>
                <a:lnTo>
                  <a:pt x="1476" y="2523"/>
                </a:lnTo>
                <a:lnTo>
                  <a:pt x="1483" y="2499"/>
                </a:lnTo>
                <a:lnTo>
                  <a:pt x="1486" y="2473"/>
                </a:lnTo>
                <a:lnTo>
                  <a:pt x="1483" y="2446"/>
                </a:lnTo>
                <a:lnTo>
                  <a:pt x="1476" y="2422"/>
                </a:lnTo>
                <a:lnTo>
                  <a:pt x="1464" y="2400"/>
                </a:lnTo>
                <a:lnTo>
                  <a:pt x="1448" y="2381"/>
                </a:lnTo>
                <a:lnTo>
                  <a:pt x="1428" y="2364"/>
                </a:lnTo>
                <a:lnTo>
                  <a:pt x="1406" y="2352"/>
                </a:lnTo>
                <a:lnTo>
                  <a:pt x="1382" y="2345"/>
                </a:lnTo>
                <a:lnTo>
                  <a:pt x="1356" y="2342"/>
                </a:lnTo>
                <a:close/>
                <a:moveTo>
                  <a:pt x="868" y="2342"/>
                </a:moveTo>
                <a:lnTo>
                  <a:pt x="842" y="2345"/>
                </a:lnTo>
                <a:lnTo>
                  <a:pt x="817" y="2352"/>
                </a:lnTo>
                <a:lnTo>
                  <a:pt x="795" y="2364"/>
                </a:lnTo>
                <a:lnTo>
                  <a:pt x="776" y="2381"/>
                </a:lnTo>
                <a:lnTo>
                  <a:pt x="760" y="2400"/>
                </a:lnTo>
                <a:lnTo>
                  <a:pt x="748" y="2422"/>
                </a:lnTo>
                <a:lnTo>
                  <a:pt x="741" y="2446"/>
                </a:lnTo>
                <a:lnTo>
                  <a:pt x="737" y="2473"/>
                </a:lnTo>
                <a:lnTo>
                  <a:pt x="741" y="2499"/>
                </a:lnTo>
                <a:lnTo>
                  <a:pt x="748" y="2523"/>
                </a:lnTo>
                <a:lnTo>
                  <a:pt x="760" y="2546"/>
                </a:lnTo>
                <a:lnTo>
                  <a:pt x="776" y="2565"/>
                </a:lnTo>
                <a:lnTo>
                  <a:pt x="795" y="2581"/>
                </a:lnTo>
                <a:lnTo>
                  <a:pt x="817" y="2593"/>
                </a:lnTo>
                <a:lnTo>
                  <a:pt x="842" y="2600"/>
                </a:lnTo>
                <a:lnTo>
                  <a:pt x="868" y="2603"/>
                </a:lnTo>
                <a:lnTo>
                  <a:pt x="894" y="2600"/>
                </a:lnTo>
                <a:lnTo>
                  <a:pt x="919" y="2593"/>
                </a:lnTo>
                <a:lnTo>
                  <a:pt x="941" y="2581"/>
                </a:lnTo>
                <a:lnTo>
                  <a:pt x="960" y="2565"/>
                </a:lnTo>
                <a:lnTo>
                  <a:pt x="976" y="2546"/>
                </a:lnTo>
                <a:lnTo>
                  <a:pt x="987" y="2523"/>
                </a:lnTo>
                <a:lnTo>
                  <a:pt x="995" y="2499"/>
                </a:lnTo>
                <a:lnTo>
                  <a:pt x="998" y="2473"/>
                </a:lnTo>
                <a:lnTo>
                  <a:pt x="995" y="2446"/>
                </a:lnTo>
                <a:lnTo>
                  <a:pt x="987" y="2422"/>
                </a:lnTo>
                <a:lnTo>
                  <a:pt x="976" y="2400"/>
                </a:lnTo>
                <a:lnTo>
                  <a:pt x="960" y="2381"/>
                </a:lnTo>
                <a:lnTo>
                  <a:pt x="941" y="2364"/>
                </a:lnTo>
                <a:lnTo>
                  <a:pt x="919" y="2352"/>
                </a:lnTo>
                <a:lnTo>
                  <a:pt x="894" y="2345"/>
                </a:lnTo>
                <a:lnTo>
                  <a:pt x="868" y="2342"/>
                </a:lnTo>
                <a:close/>
                <a:moveTo>
                  <a:pt x="380" y="2342"/>
                </a:moveTo>
                <a:lnTo>
                  <a:pt x="354" y="2345"/>
                </a:lnTo>
                <a:lnTo>
                  <a:pt x="329" y="2352"/>
                </a:lnTo>
                <a:lnTo>
                  <a:pt x="307" y="2364"/>
                </a:lnTo>
                <a:lnTo>
                  <a:pt x="287" y="2381"/>
                </a:lnTo>
                <a:lnTo>
                  <a:pt x="272" y="2400"/>
                </a:lnTo>
                <a:lnTo>
                  <a:pt x="260" y="2422"/>
                </a:lnTo>
                <a:lnTo>
                  <a:pt x="252" y="2446"/>
                </a:lnTo>
                <a:lnTo>
                  <a:pt x="250" y="2473"/>
                </a:lnTo>
                <a:lnTo>
                  <a:pt x="252" y="2499"/>
                </a:lnTo>
                <a:lnTo>
                  <a:pt x="260" y="2523"/>
                </a:lnTo>
                <a:lnTo>
                  <a:pt x="272" y="2546"/>
                </a:lnTo>
                <a:lnTo>
                  <a:pt x="287" y="2565"/>
                </a:lnTo>
                <a:lnTo>
                  <a:pt x="307" y="2581"/>
                </a:lnTo>
                <a:lnTo>
                  <a:pt x="329" y="2593"/>
                </a:lnTo>
                <a:lnTo>
                  <a:pt x="354" y="2600"/>
                </a:lnTo>
                <a:lnTo>
                  <a:pt x="380" y="2603"/>
                </a:lnTo>
                <a:lnTo>
                  <a:pt x="406" y="2600"/>
                </a:lnTo>
                <a:lnTo>
                  <a:pt x="431" y="2593"/>
                </a:lnTo>
                <a:lnTo>
                  <a:pt x="453" y="2581"/>
                </a:lnTo>
                <a:lnTo>
                  <a:pt x="472" y="2565"/>
                </a:lnTo>
                <a:lnTo>
                  <a:pt x="488" y="2546"/>
                </a:lnTo>
                <a:lnTo>
                  <a:pt x="500" y="2523"/>
                </a:lnTo>
                <a:lnTo>
                  <a:pt x="508" y="2499"/>
                </a:lnTo>
                <a:lnTo>
                  <a:pt x="510" y="2473"/>
                </a:lnTo>
                <a:lnTo>
                  <a:pt x="508" y="2446"/>
                </a:lnTo>
                <a:lnTo>
                  <a:pt x="500" y="2422"/>
                </a:lnTo>
                <a:lnTo>
                  <a:pt x="488" y="2400"/>
                </a:lnTo>
                <a:lnTo>
                  <a:pt x="472" y="2381"/>
                </a:lnTo>
                <a:lnTo>
                  <a:pt x="453" y="2364"/>
                </a:lnTo>
                <a:lnTo>
                  <a:pt x="431" y="2352"/>
                </a:lnTo>
                <a:lnTo>
                  <a:pt x="406" y="2345"/>
                </a:lnTo>
                <a:lnTo>
                  <a:pt x="380" y="2342"/>
                </a:lnTo>
                <a:close/>
                <a:moveTo>
                  <a:pt x="1356" y="1957"/>
                </a:moveTo>
                <a:lnTo>
                  <a:pt x="1329" y="1961"/>
                </a:lnTo>
                <a:lnTo>
                  <a:pt x="1305" y="1968"/>
                </a:lnTo>
                <a:lnTo>
                  <a:pt x="1283" y="1980"/>
                </a:lnTo>
                <a:lnTo>
                  <a:pt x="1264" y="1996"/>
                </a:lnTo>
                <a:lnTo>
                  <a:pt x="1247" y="2015"/>
                </a:lnTo>
                <a:lnTo>
                  <a:pt x="1235" y="2037"/>
                </a:lnTo>
                <a:lnTo>
                  <a:pt x="1228" y="2062"/>
                </a:lnTo>
                <a:lnTo>
                  <a:pt x="1225" y="2088"/>
                </a:lnTo>
                <a:lnTo>
                  <a:pt x="1228" y="2114"/>
                </a:lnTo>
                <a:lnTo>
                  <a:pt x="1235" y="2139"/>
                </a:lnTo>
                <a:lnTo>
                  <a:pt x="1247" y="2161"/>
                </a:lnTo>
                <a:lnTo>
                  <a:pt x="1264" y="2180"/>
                </a:lnTo>
                <a:lnTo>
                  <a:pt x="1283" y="2196"/>
                </a:lnTo>
                <a:lnTo>
                  <a:pt x="1305" y="2207"/>
                </a:lnTo>
                <a:lnTo>
                  <a:pt x="1329" y="2216"/>
                </a:lnTo>
                <a:lnTo>
                  <a:pt x="1356" y="2219"/>
                </a:lnTo>
                <a:lnTo>
                  <a:pt x="1382" y="2216"/>
                </a:lnTo>
                <a:lnTo>
                  <a:pt x="1406" y="2207"/>
                </a:lnTo>
                <a:lnTo>
                  <a:pt x="1428" y="2196"/>
                </a:lnTo>
                <a:lnTo>
                  <a:pt x="1448" y="2180"/>
                </a:lnTo>
                <a:lnTo>
                  <a:pt x="1464" y="2161"/>
                </a:lnTo>
                <a:lnTo>
                  <a:pt x="1476" y="2139"/>
                </a:lnTo>
                <a:lnTo>
                  <a:pt x="1483" y="2114"/>
                </a:lnTo>
                <a:lnTo>
                  <a:pt x="1486" y="2088"/>
                </a:lnTo>
                <a:lnTo>
                  <a:pt x="1483" y="2062"/>
                </a:lnTo>
                <a:lnTo>
                  <a:pt x="1476" y="2037"/>
                </a:lnTo>
                <a:lnTo>
                  <a:pt x="1464" y="2015"/>
                </a:lnTo>
                <a:lnTo>
                  <a:pt x="1448" y="1996"/>
                </a:lnTo>
                <a:lnTo>
                  <a:pt x="1428" y="1980"/>
                </a:lnTo>
                <a:lnTo>
                  <a:pt x="1406" y="1968"/>
                </a:lnTo>
                <a:lnTo>
                  <a:pt x="1382" y="1961"/>
                </a:lnTo>
                <a:lnTo>
                  <a:pt x="1356" y="1957"/>
                </a:lnTo>
                <a:close/>
                <a:moveTo>
                  <a:pt x="868" y="1957"/>
                </a:moveTo>
                <a:lnTo>
                  <a:pt x="842" y="1961"/>
                </a:lnTo>
                <a:lnTo>
                  <a:pt x="817" y="1968"/>
                </a:lnTo>
                <a:lnTo>
                  <a:pt x="795" y="1980"/>
                </a:lnTo>
                <a:lnTo>
                  <a:pt x="776" y="1996"/>
                </a:lnTo>
                <a:lnTo>
                  <a:pt x="760" y="2015"/>
                </a:lnTo>
                <a:lnTo>
                  <a:pt x="748" y="2037"/>
                </a:lnTo>
                <a:lnTo>
                  <a:pt x="741" y="2062"/>
                </a:lnTo>
                <a:lnTo>
                  <a:pt x="737" y="2088"/>
                </a:lnTo>
                <a:lnTo>
                  <a:pt x="741" y="2114"/>
                </a:lnTo>
                <a:lnTo>
                  <a:pt x="748" y="2139"/>
                </a:lnTo>
                <a:lnTo>
                  <a:pt x="760" y="2161"/>
                </a:lnTo>
                <a:lnTo>
                  <a:pt x="776" y="2180"/>
                </a:lnTo>
                <a:lnTo>
                  <a:pt x="795" y="2196"/>
                </a:lnTo>
                <a:lnTo>
                  <a:pt x="817" y="2207"/>
                </a:lnTo>
                <a:lnTo>
                  <a:pt x="842" y="2216"/>
                </a:lnTo>
                <a:lnTo>
                  <a:pt x="868" y="2219"/>
                </a:lnTo>
                <a:lnTo>
                  <a:pt x="894" y="2216"/>
                </a:lnTo>
                <a:lnTo>
                  <a:pt x="919" y="2207"/>
                </a:lnTo>
                <a:lnTo>
                  <a:pt x="941" y="2196"/>
                </a:lnTo>
                <a:lnTo>
                  <a:pt x="960" y="2180"/>
                </a:lnTo>
                <a:lnTo>
                  <a:pt x="976" y="2161"/>
                </a:lnTo>
                <a:lnTo>
                  <a:pt x="987" y="2139"/>
                </a:lnTo>
                <a:lnTo>
                  <a:pt x="995" y="2114"/>
                </a:lnTo>
                <a:lnTo>
                  <a:pt x="998" y="2088"/>
                </a:lnTo>
                <a:lnTo>
                  <a:pt x="995" y="2062"/>
                </a:lnTo>
                <a:lnTo>
                  <a:pt x="987" y="2037"/>
                </a:lnTo>
                <a:lnTo>
                  <a:pt x="976" y="2015"/>
                </a:lnTo>
                <a:lnTo>
                  <a:pt x="960" y="1996"/>
                </a:lnTo>
                <a:lnTo>
                  <a:pt x="941" y="1980"/>
                </a:lnTo>
                <a:lnTo>
                  <a:pt x="919" y="1968"/>
                </a:lnTo>
                <a:lnTo>
                  <a:pt x="894" y="1961"/>
                </a:lnTo>
                <a:lnTo>
                  <a:pt x="868" y="1957"/>
                </a:lnTo>
                <a:close/>
                <a:moveTo>
                  <a:pt x="380" y="1957"/>
                </a:moveTo>
                <a:lnTo>
                  <a:pt x="354" y="1961"/>
                </a:lnTo>
                <a:lnTo>
                  <a:pt x="329" y="1968"/>
                </a:lnTo>
                <a:lnTo>
                  <a:pt x="307" y="1980"/>
                </a:lnTo>
                <a:lnTo>
                  <a:pt x="287" y="1996"/>
                </a:lnTo>
                <a:lnTo>
                  <a:pt x="272" y="2015"/>
                </a:lnTo>
                <a:lnTo>
                  <a:pt x="260" y="2037"/>
                </a:lnTo>
                <a:lnTo>
                  <a:pt x="252" y="2062"/>
                </a:lnTo>
                <a:lnTo>
                  <a:pt x="250" y="2088"/>
                </a:lnTo>
                <a:lnTo>
                  <a:pt x="252" y="2114"/>
                </a:lnTo>
                <a:lnTo>
                  <a:pt x="260" y="2139"/>
                </a:lnTo>
                <a:lnTo>
                  <a:pt x="272" y="2161"/>
                </a:lnTo>
                <a:lnTo>
                  <a:pt x="287" y="2180"/>
                </a:lnTo>
                <a:lnTo>
                  <a:pt x="307" y="2196"/>
                </a:lnTo>
                <a:lnTo>
                  <a:pt x="329" y="2207"/>
                </a:lnTo>
                <a:lnTo>
                  <a:pt x="354" y="2216"/>
                </a:lnTo>
                <a:lnTo>
                  <a:pt x="380" y="2219"/>
                </a:lnTo>
                <a:lnTo>
                  <a:pt x="406" y="2216"/>
                </a:lnTo>
                <a:lnTo>
                  <a:pt x="431" y="2207"/>
                </a:lnTo>
                <a:lnTo>
                  <a:pt x="453" y="2196"/>
                </a:lnTo>
                <a:lnTo>
                  <a:pt x="472" y="2180"/>
                </a:lnTo>
                <a:lnTo>
                  <a:pt x="488" y="2161"/>
                </a:lnTo>
                <a:lnTo>
                  <a:pt x="500" y="2139"/>
                </a:lnTo>
                <a:lnTo>
                  <a:pt x="508" y="2114"/>
                </a:lnTo>
                <a:lnTo>
                  <a:pt x="510" y="2088"/>
                </a:lnTo>
                <a:lnTo>
                  <a:pt x="508" y="2062"/>
                </a:lnTo>
                <a:lnTo>
                  <a:pt x="500" y="2037"/>
                </a:lnTo>
                <a:lnTo>
                  <a:pt x="488" y="2015"/>
                </a:lnTo>
                <a:lnTo>
                  <a:pt x="472" y="1996"/>
                </a:lnTo>
                <a:lnTo>
                  <a:pt x="453" y="1980"/>
                </a:lnTo>
                <a:lnTo>
                  <a:pt x="431" y="1968"/>
                </a:lnTo>
                <a:lnTo>
                  <a:pt x="406" y="1961"/>
                </a:lnTo>
                <a:lnTo>
                  <a:pt x="380" y="1957"/>
                </a:lnTo>
                <a:close/>
                <a:moveTo>
                  <a:pt x="220" y="850"/>
                </a:moveTo>
                <a:lnTo>
                  <a:pt x="207" y="852"/>
                </a:lnTo>
                <a:lnTo>
                  <a:pt x="196" y="857"/>
                </a:lnTo>
                <a:lnTo>
                  <a:pt x="188" y="866"/>
                </a:lnTo>
                <a:lnTo>
                  <a:pt x="182" y="878"/>
                </a:lnTo>
                <a:lnTo>
                  <a:pt x="180" y="890"/>
                </a:lnTo>
                <a:lnTo>
                  <a:pt x="180" y="1665"/>
                </a:lnTo>
                <a:lnTo>
                  <a:pt x="182" y="1677"/>
                </a:lnTo>
                <a:lnTo>
                  <a:pt x="188" y="1688"/>
                </a:lnTo>
                <a:lnTo>
                  <a:pt x="196" y="1697"/>
                </a:lnTo>
                <a:lnTo>
                  <a:pt x="207" y="1702"/>
                </a:lnTo>
                <a:lnTo>
                  <a:pt x="220" y="1704"/>
                </a:lnTo>
                <a:lnTo>
                  <a:pt x="1515" y="1704"/>
                </a:lnTo>
                <a:lnTo>
                  <a:pt x="1529" y="1702"/>
                </a:lnTo>
                <a:lnTo>
                  <a:pt x="1539" y="1697"/>
                </a:lnTo>
                <a:lnTo>
                  <a:pt x="1548" y="1688"/>
                </a:lnTo>
                <a:lnTo>
                  <a:pt x="1553" y="1677"/>
                </a:lnTo>
                <a:lnTo>
                  <a:pt x="1555" y="1665"/>
                </a:lnTo>
                <a:lnTo>
                  <a:pt x="1555" y="1665"/>
                </a:lnTo>
                <a:lnTo>
                  <a:pt x="1555" y="890"/>
                </a:lnTo>
                <a:lnTo>
                  <a:pt x="1553" y="878"/>
                </a:lnTo>
                <a:lnTo>
                  <a:pt x="1548" y="866"/>
                </a:lnTo>
                <a:lnTo>
                  <a:pt x="1539" y="857"/>
                </a:lnTo>
                <a:lnTo>
                  <a:pt x="1529" y="852"/>
                </a:lnTo>
                <a:lnTo>
                  <a:pt x="1515" y="850"/>
                </a:lnTo>
                <a:lnTo>
                  <a:pt x="220" y="850"/>
                </a:lnTo>
                <a:close/>
                <a:moveTo>
                  <a:pt x="708" y="654"/>
                </a:moveTo>
                <a:lnTo>
                  <a:pt x="695" y="656"/>
                </a:lnTo>
                <a:lnTo>
                  <a:pt x="685" y="662"/>
                </a:lnTo>
                <a:lnTo>
                  <a:pt x="676" y="670"/>
                </a:lnTo>
                <a:lnTo>
                  <a:pt x="670" y="681"/>
                </a:lnTo>
                <a:lnTo>
                  <a:pt x="668" y="693"/>
                </a:lnTo>
                <a:lnTo>
                  <a:pt x="670" y="707"/>
                </a:lnTo>
                <a:lnTo>
                  <a:pt x="676" y="718"/>
                </a:lnTo>
                <a:lnTo>
                  <a:pt x="685" y="726"/>
                </a:lnTo>
                <a:lnTo>
                  <a:pt x="695" y="732"/>
                </a:lnTo>
                <a:lnTo>
                  <a:pt x="708" y="734"/>
                </a:lnTo>
                <a:lnTo>
                  <a:pt x="1043" y="734"/>
                </a:lnTo>
                <a:lnTo>
                  <a:pt x="1056" y="732"/>
                </a:lnTo>
                <a:lnTo>
                  <a:pt x="1066" y="726"/>
                </a:lnTo>
                <a:lnTo>
                  <a:pt x="1075" y="718"/>
                </a:lnTo>
                <a:lnTo>
                  <a:pt x="1081" y="707"/>
                </a:lnTo>
                <a:lnTo>
                  <a:pt x="1083" y="693"/>
                </a:lnTo>
                <a:lnTo>
                  <a:pt x="1081" y="681"/>
                </a:lnTo>
                <a:lnTo>
                  <a:pt x="1075" y="670"/>
                </a:lnTo>
                <a:lnTo>
                  <a:pt x="1066" y="662"/>
                </a:lnTo>
                <a:lnTo>
                  <a:pt x="1056" y="656"/>
                </a:lnTo>
                <a:lnTo>
                  <a:pt x="1043" y="654"/>
                </a:lnTo>
                <a:lnTo>
                  <a:pt x="708" y="654"/>
                </a:lnTo>
                <a:close/>
                <a:moveTo>
                  <a:pt x="1627" y="0"/>
                </a:moveTo>
                <a:lnTo>
                  <a:pt x="1652" y="3"/>
                </a:lnTo>
                <a:lnTo>
                  <a:pt x="1674" y="11"/>
                </a:lnTo>
                <a:lnTo>
                  <a:pt x="1694" y="24"/>
                </a:lnTo>
                <a:lnTo>
                  <a:pt x="1711" y="41"/>
                </a:lnTo>
                <a:lnTo>
                  <a:pt x="1724" y="61"/>
                </a:lnTo>
                <a:lnTo>
                  <a:pt x="1732" y="83"/>
                </a:lnTo>
                <a:lnTo>
                  <a:pt x="1735" y="107"/>
                </a:lnTo>
                <a:lnTo>
                  <a:pt x="1735" y="982"/>
                </a:lnTo>
                <a:lnTo>
                  <a:pt x="1736" y="1013"/>
                </a:lnTo>
                <a:lnTo>
                  <a:pt x="1736" y="1018"/>
                </a:lnTo>
                <a:lnTo>
                  <a:pt x="1736" y="2657"/>
                </a:lnTo>
                <a:lnTo>
                  <a:pt x="1734" y="2725"/>
                </a:lnTo>
                <a:lnTo>
                  <a:pt x="1728" y="2788"/>
                </a:lnTo>
                <a:lnTo>
                  <a:pt x="1718" y="2848"/>
                </a:lnTo>
                <a:lnTo>
                  <a:pt x="1705" y="2904"/>
                </a:lnTo>
                <a:lnTo>
                  <a:pt x="1686" y="2956"/>
                </a:lnTo>
                <a:lnTo>
                  <a:pt x="1664" y="3005"/>
                </a:lnTo>
                <a:lnTo>
                  <a:pt x="1638" y="3051"/>
                </a:lnTo>
                <a:lnTo>
                  <a:pt x="1609" y="3092"/>
                </a:lnTo>
                <a:lnTo>
                  <a:pt x="1574" y="3130"/>
                </a:lnTo>
                <a:lnTo>
                  <a:pt x="1536" y="3164"/>
                </a:lnTo>
                <a:lnTo>
                  <a:pt x="1493" y="3194"/>
                </a:lnTo>
                <a:lnTo>
                  <a:pt x="1450" y="3220"/>
                </a:lnTo>
                <a:lnTo>
                  <a:pt x="1403" y="3243"/>
                </a:lnTo>
                <a:lnTo>
                  <a:pt x="1353" y="3262"/>
                </a:lnTo>
                <a:lnTo>
                  <a:pt x="1297" y="3279"/>
                </a:lnTo>
                <a:lnTo>
                  <a:pt x="1237" y="3293"/>
                </a:lnTo>
                <a:lnTo>
                  <a:pt x="1174" y="3306"/>
                </a:lnTo>
                <a:lnTo>
                  <a:pt x="1105" y="3315"/>
                </a:lnTo>
                <a:lnTo>
                  <a:pt x="1031" y="3321"/>
                </a:lnTo>
                <a:lnTo>
                  <a:pt x="952" y="3325"/>
                </a:lnTo>
                <a:lnTo>
                  <a:pt x="868" y="3326"/>
                </a:lnTo>
                <a:lnTo>
                  <a:pt x="784" y="3325"/>
                </a:lnTo>
                <a:lnTo>
                  <a:pt x="705" y="3321"/>
                </a:lnTo>
                <a:lnTo>
                  <a:pt x="631" y="3315"/>
                </a:lnTo>
                <a:lnTo>
                  <a:pt x="562" y="3306"/>
                </a:lnTo>
                <a:lnTo>
                  <a:pt x="498" y="3293"/>
                </a:lnTo>
                <a:lnTo>
                  <a:pt x="438" y="3279"/>
                </a:lnTo>
                <a:lnTo>
                  <a:pt x="383" y="3262"/>
                </a:lnTo>
                <a:lnTo>
                  <a:pt x="332" y="3243"/>
                </a:lnTo>
                <a:lnTo>
                  <a:pt x="285" y="3220"/>
                </a:lnTo>
                <a:lnTo>
                  <a:pt x="243" y="3194"/>
                </a:lnTo>
                <a:lnTo>
                  <a:pt x="200" y="3164"/>
                </a:lnTo>
                <a:lnTo>
                  <a:pt x="162" y="3130"/>
                </a:lnTo>
                <a:lnTo>
                  <a:pt x="127" y="3092"/>
                </a:lnTo>
                <a:lnTo>
                  <a:pt x="97" y="3051"/>
                </a:lnTo>
                <a:lnTo>
                  <a:pt x="71" y="3005"/>
                </a:lnTo>
                <a:lnTo>
                  <a:pt x="50" y="2956"/>
                </a:lnTo>
                <a:lnTo>
                  <a:pt x="31" y="2904"/>
                </a:lnTo>
                <a:lnTo>
                  <a:pt x="17" y="2848"/>
                </a:lnTo>
                <a:lnTo>
                  <a:pt x="7" y="2788"/>
                </a:lnTo>
                <a:lnTo>
                  <a:pt x="2" y="2725"/>
                </a:lnTo>
                <a:lnTo>
                  <a:pt x="0" y="2657"/>
                </a:lnTo>
                <a:lnTo>
                  <a:pt x="0" y="1018"/>
                </a:lnTo>
                <a:lnTo>
                  <a:pt x="0" y="1013"/>
                </a:lnTo>
                <a:lnTo>
                  <a:pt x="3" y="949"/>
                </a:lnTo>
                <a:lnTo>
                  <a:pt x="10" y="889"/>
                </a:lnTo>
                <a:lnTo>
                  <a:pt x="20" y="832"/>
                </a:lnTo>
                <a:lnTo>
                  <a:pt x="35" y="778"/>
                </a:lnTo>
                <a:lnTo>
                  <a:pt x="54" y="729"/>
                </a:lnTo>
                <a:lnTo>
                  <a:pt x="75" y="682"/>
                </a:lnTo>
                <a:lnTo>
                  <a:pt x="101" y="639"/>
                </a:lnTo>
                <a:lnTo>
                  <a:pt x="131" y="599"/>
                </a:lnTo>
                <a:lnTo>
                  <a:pt x="164" y="563"/>
                </a:lnTo>
                <a:lnTo>
                  <a:pt x="201" y="529"/>
                </a:lnTo>
                <a:lnTo>
                  <a:pt x="243" y="500"/>
                </a:lnTo>
                <a:lnTo>
                  <a:pt x="285" y="475"/>
                </a:lnTo>
                <a:lnTo>
                  <a:pt x="332" y="451"/>
                </a:lnTo>
                <a:lnTo>
                  <a:pt x="383" y="432"/>
                </a:lnTo>
                <a:lnTo>
                  <a:pt x="438" y="415"/>
                </a:lnTo>
                <a:lnTo>
                  <a:pt x="498" y="401"/>
                </a:lnTo>
                <a:lnTo>
                  <a:pt x="562" y="389"/>
                </a:lnTo>
                <a:lnTo>
                  <a:pt x="631" y="380"/>
                </a:lnTo>
                <a:lnTo>
                  <a:pt x="705" y="374"/>
                </a:lnTo>
                <a:lnTo>
                  <a:pt x="784" y="369"/>
                </a:lnTo>
                <a:lnTo>
                  <a:pt x="868" y="368"/>
                </a:lnTo>
                <a:lnTo>
                  <a:pt x="952" y="369"/>
                </a:lnTo>
                <a:lnTo>
                  <a:pt x="1031" y="374"/>
                </a:lnTo>
                <a:lnTo>
                  <a:pt x="1105" y="380"/>
                </a:lnTo>
                <a:lnTo>
                  <a:pt x="1174" y="389"/>
                </a:lnTo>
                <a:lnTo>
                  <a:pt x="1237" y="401"/>
                </a:lnTo>
                <a:lnTo>
                  <a:pt x="1297" y="415"/>
                </a:lnTo>
                <a:lnTo>
                  <a:pt x="1353" y="432"/>
                </a:lnTo>
                <a:lnTo>
                  <a:pt x="1403" y="451"/>
                </a:lnTo>
                <a:lnTo>
                  <a:pt x="1450" y="475"/>
                </a:lnTo>
                <a:lnTo>
                  <a:pt x="1493" y="500"/>
                </a:lnTo>
                <a:lnTo>
                  <a:pt x="1519" y="518"/>
                </a:lnTo>
                <a:lnTo>
                  <a:pt x="1519" y="107"/>
                </a:lnTo>
                <a:lnTo>
                  <a:pt x="1523" y="83"/>
                </a:lnTo>
                <a:lnTo>
                  <a:pt x="1531" y="61"/>
                </a:lnTo>
                <a:lnTo>
                  <a:pt x="1544" y="41"/>
                </a:lnTo>
                <a:lnTo>
                  <a:pt x="1560" y="24"/>
                </a:lnTo>
                <a:lnTo>
                  <a:pt x="1580" y="11"/>
                </a:lnTo>
                <a:lnTo>
                  <a:pt x="1602" y="3"/>
                </a:lnTo>
                <a:lnTo>
                  <a:pt x="1627" y="0"/>
                </a:lnTo>
                <a:close/>
              </a:path>
            </a:pathLst>
          </a:custGeom>
          <a:solidFill>
            <a:schemeClr val="bg2">
              <a:lumMod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cs typeface="Calibri" panose="020F0502020204030204" pitchFamily="34" charset="0"/>
            </a:endParaRPr>
          </a:p>
        </p:txBody>
      </p:sp>
      <p:sp>
        <p:nvSpPr>
          <p:cNvPr id="85" name="Content Placeholder 1"/>
          <p:cNvSpPr txBox="1">
            <a:spLocks/>
          </p:cNvSpPr>
          <p:nvPr/>
        </p:nvSpPr>
        <p:spPr bwMode="gray">
          <a:xfrm>
            <a:off x="1675928" y="3074384"/>
            <a:ext cx="142668" cy="215444"/>
          </a:xfrm>
          <a:prstGeom prst="rect">
            <a:avLst/>
          </a:prstGeom>
          <a:noFill/>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400" dirty="0">
                <a:latin typeface="Calibri" panose="020F0502020204030204" pitchFamily="34" charset="0"/>
                <a:cs typeface="Calibri" panose="020F0502020204030204" pitchFamily="34" charset="0"/>
              </a:rPr>
              <a:t>IB</a:t>
            </a:r>
          </a:p>
        </p:txBody>
      </p:sp>
      <p:sp>
        <p:nvSpPr>
          <p:cNvPr id="86" name="Content Placeholder 1"/>
          <p:cNvSpPr txBox="1">
            <a:spLocks/>
          </p:cNvSpPr>
          <p:nvPr/>
        </p:nvSpPr>
        <p:spPr bwMode="gray">
          <a:xfrm>
            <a:off x="1581554" y="4184133"/>
            <a:ext cx="258084" cy="215444"/>
          </a:xfrm>
          <a:prstGeom prst="rect">
            <a:avLst/>
          </a:prstGeom>
          <a:noFill/>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400" dirty="0">
                <a:latin typeface="Calibri" panose="020F0502020204030204" pitchFamily="34" charset="0"/>
                <a:cs typeface="Calibri" panose="020F0502020204030204" pitchFamily="34" charset="0"/>
              </a:rPr>
              <a:t>MB</a:t>
            </a:r>
          </a:p>
        </p:txBody>
      </p:sp>
      <p:sp>
        <p:nvSpPr>
          <p:cNvPr id="87" name="Content Placeholder 1"/>
          <p:cNvSpPr txBox="1">
            <a:spLocks/>
          </p:cNvSpPr>
          <p:nvPr/>
        </p:nvSpPr>
        <p:spPr bwMode="gray">
          <a:xfrm>
            <a:off x="1487787" y="3606910"/>
            <a:ext cx="473463" cy="215444"/>
          </a:xfrm>
          <a:prstGeom prst="rect">
            <a:avLst/>
          </a:prstGeom>
          <a:noFill/>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400" dirty="0">
                <a:latin typeface="Calibri" panose="020F0502020204030204" pitchFamily="34" charset="0"/>
                <a:cs typeface="Calibri" panose="020F0502020204030204" pitchFamily="34" charset="0"/>
              </a:rPr>
              <a:t>HTTPS</a:t>
            </a:r>
          </a:p>
        </p:txBody>
      </p:sp>
      <p:cxnSp>
        <p:nvCxnSpPr>
          <p:cNvPr id="88" name="Straight Connector 87"/>
          <p:cNvCxnSpPr/>
          <p:nvPr/>
        </p:nvCxnSpPr>
        <p:spPr>
          <a:xfrm>
            <a:off x="4042478" y="3718007"/>
            <a:ext cx="689673" cy="0"/>
          </a:xfrm>
          <a:prstGeom prst="line">
            <a:avLst/>
          </a:prstGeom>
          <a:ln>
            <a:headEnd type="triangle" w="med" len="med"/>
            <a:tailEnd type="triangle" w="med" len="med"/>
          </a:ln>
        </p:spPr>
        <p:style>
          <a:lnRef idx="1">
            <a:schemeClr val="dk1"/>
          </a:lnRef>
          <a:fillRef idx="0">
            <a:schemeClr val="dk1"/>
          </a:fillRef>
          <a:effectRef idx="0">
            <a:schemeClr val="dk1"/>
          </a:effectRef>
          <a:fontRef idx="minor">
            <a:schemeClr val="tx1"/>
          </a:fontRef>
        </p:style>
      </p:cxnSp>
      <p:sp>
        <p:nvSpPr>
          <p:cNvPr id="89" name="Rounded Rectangle 88"/>
          <p:cNvSpPr/>
          <p:nvPr/>
        </p:nvSpPr>
        <p:spPr>
          <a:xfrm>
            <a:off x="4390800" y="2749917"/>
            <a:ext cx="7225944" cy="2004526"/>
          </a:xfrm>
          <a:prstGeom prst="roundRect">
            <a:avLst>
              <a:gd name="adj" fmla="val 5121"/>
            </a:avLst>
          </a:prstGeom>
          <a:noFill/>
          <a:ln w="6350" cap="flat">
            <a:solidFill>
              <a:srgbClr val="007BA2"/>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400" dirty="0">
              <a:latin typeface="Calibri" panose="020F0502020204030204" pitchFamily="34" charset="0"/>
              <a:cs typeface="Calibri" panose="020F0502020204030204" pitchFamily="34" charset="0"/>
            </a:endParaRPr>
          </a:p>
        </p:txBody>
      </p:sp>
      <p:sp>
        <p:nvSpPr>
          <p:cNvPr id="93" name="Arc 92"/>
          <p:cNvSpPr/>
          <p:nvPr/>
        </p:nvSpPr>
        <p:spPr>
          <a:xfrm>
            <a:off x="7732495" y="2178001"/>
            <a:ext cx="203359" cy="279969"/>
          </a:xfrm>
          <a:prstGeom prst="arc">
            <a:avLst>
              <a:gd name="adj1" fmla="val 12412998"/>
              <a:gd name="adj2" fmla="val 19864543"/>
            </a:avLst>
          </a:prstGeom>
          <a:solidFill>
            <a:schemeClr val="bg2"/>
          </a:solidFill>
          <a:ln w="6350">
            <a:solidFill>
              <a:srgbClr val="92D050"/>
            </a:solidFill>
            <a:prstDash val="sysDash"/>
          </a:ln>
        </p:spPr>
        <p:style>
          <a:lnRef idx="2">
            <a:schemeClr val="accent3"/>
          </a:lnRef>
          <a:fillRef idx="1">
            <a:schemeClr val="lt1"/>
          </a:fillRef>
          <a:effectRef idx="0">
            <a:schemeClr val="accent3"/>
          </a:effectRef>
          <a:fontRef idx="minor">
            <a:schemeClr val="dk1"/>
          </a:fontRef>
        </p:style>
        <p:txBody>
          <a:bodyPr rtlCol="0" anchor="ctr"/>
          <a:lstStyle/>
          <a:p>
            <a:pPr algn="ctr"/>
            <a:endParaRPr lang="en-IN" sz="1400" dirty="0">
              <a:latin typeface="Calibri" panose="020F0502020204030204" pitchFamily="34" charset="0"/>
              <a:cs typeface="Calibri" panose="020F0502020204030204" pitchFamily="34" charset="0"/>
            </a:endParaRPr>
          </a:p>
        </p:txBody>
      </p:sp>
      <p:sp>
        <p:nvSpPr>
          <p:cNvPr id="94" name="Content Placeholder 1"/>
          <p:cNvSpPr txBox="1">
            <a:spLocks/>
          </p:cNvSpPr>
          <p:nvPr/>
        </p:nvSpPr>
        <p:spPr bwMode="gray">
          <a:xfrm>
            <a:off x="6906176" y="1408847"/>
            <a:ext cx="2471639" cy="215444"/>
          </a:xfrm>
          <a:prstGeom prst="rect">
            <a:avLst/>
          </a:prstGeom>
          <a:noFill/>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400" b="1" dirty="0">
                <a:latin typeface="Calibri" panose="020F0502020204030204" pitchFamily="34" charset="0"/>
                <a:cs typeface="Calibri" panose="020F0502020204030204" pitchFamily="34" charset="0"/>
              </a:rPr>
              <a:t>End to End Simulation (Channels)</a:t>
            </a:r>
          </a:p>
        </p:txBody>
      </p:sp>
      <p:cxnSp>
        <p:nvCxnSpPr>
          <p:cNvPr id="95" name="Straight Connector 94"/>
          <p:cNvCxnSpPr/>
          <p:nvPr/>
        </p:nvCxnSpPr>
        <p:spPr>
          <a:xfrm flipV="1">
            <a:off x="7834174" y="1602462"/>
            <a:ext cx="0" cy="576000"/>
          </a:xfrm>
          <a:prstGeom prst="line">
            <a:avLst/>
          </a:prstGeom>
          <a:ln w="9525">
            <a:solidFill>
              <a:srgbClr val="92D050"/>
            </a:solidFill>
          </a:ln>
          <a:effectLst/>
        </p:spPr>
        <p:style>
          <a:lnRef idx="2">
            <a:schemeClr val="accent1"/>
          </a:lnRef>
          <a:fillRef idx="0">
            <a:schemeClr val="accent1"/>
          </a:fillRef>
          <a:effectRef idx="1">
            <a:schemeClr val="accent1"/>
          </a:effectRef>
          <a:fontRef idx="minor">
            <a:schemeClr val="tx1"/>
          </a:fontRef>
        </p:style>
      </p:cxnSp>
      <p:sp>
        <p:nvSpPr>
          <p:cNvPr id="96" name="Content Placeholder 1"/>
          <p:cNvSpPr txBox="1">
            <a:spLocks/>
          </p:cNvSpPr>
          <p:nvPr/>
        </p:nvSpPr>
        <p:spPr bwMode="gray">
          <a:xfrm>
            <a:off x="4885174" y="5602080"/>
            <a:ext cx="1647861" cy="671979"/>
          </a:xfrm>
          <a:prstGeom prst="rect">
            <a:avLst/>
          </a:prstGeom>
        </p:spPr>
        <p:txBody>
          <a:bodyPr wrap="squar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400" b="1" dirty="0">
                <a:latin typeface="Calibri" panose="020F0502020204030204" pitchFamily="34" charset="0"/>
                <a:cs typeface="Calibri" panose="020F0502020204030204" pitchFamily="34" charset="0"/>
              </a:rPr>
              <a:t>IB:</a:t>
            </a:r>
            <a:r>
              <a:rPr lang="en-US" sz="1400" dirty="0">
                <a:latin typeface="Calibri" panose="020F0502020204030204" pitchFamily="34" charset="0"/>
                <a:cs typeface="Calibri" panose="020F0502020204030204" pitchFamily="34" charset="0"/>
              </a:rPr>
              <a:t> Internet Banking</a:t>
            </a:r>
          </a:p>
          <a:p>
            <a:pPr marL="0" indent="0">
              <a:buNone/>
            </a:pPr>
            <a:r>
              <a:rPr lang="en-US" sz="1400" b="1" dirty="0">
                <a:latin typeface="Calibri" panose="020F0502020204030204" pitchFamily="34" charset="0"/>
                <a:cs typeface="Calibri" panose="020F0502020204030204" pitchFamily="34" charset="0"/>
              </a:rPr>
              <a:t>MB:</a:t>
            </a:r>
            <a:r>
              <a:rPr lang="en-US" sz="1400" dirty="0">
                <a:latin typeface="Calibri" panose="020F0502020204030204" pitchFamily="34" charset="0"/>
                <a:cs typeface="Calibri" panose="020F0502020204030204" pitchFamily="34" charset="0"/>
              </a:rPr>
              <a:t> Mobile Banking	</a:t>
            </a:r>
          </a:p>
        </p:txBody>
      </p:sp>
      <p:sp>
        <p:nvSpPr>
          <p:cNvPr id="97" name="Content Placeholder 1"/>
          <p:cNvSpPr txBox="1">
            <a:spLocks/>
          </p:cNvSpPr>
          <p:nvPr/>
        </p:nvSpPr>
        <p:spPr bwMode="gray">
          <a:xfrm>
            <a:off x="2147322" y="1113838"/>
            <a:ext cx="4977847" cy="938719"/>
          </a:xfrm>
          <a:prstGeom prst="rect">
            <a:avLst/>
          </a:prstGeom>
        </p:spPr>
        <p:txBody>
          <a:bodyPr wrap="squar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400" b="1" dirty="0">
                <a:latin typeface="Calibri" panose="020F0502020204030204" pitchFamily="34" charset="0"/>
                <a:cs typeface="Calibri" panose="020F0502020204030204" pitchFamily="34" charset="0"/>
              </a:rPr>
              <a:t>Recommended Testing Types</a:t>
            </a:r>
          </a:p>
          <a:p>
            <a:pPr>
              <a:buFont typeface="Wingdings" panose="05000000000000000000" pitchFamily="2" charset="2"/>
              <a:buChar char="§"/>
            </a:pPr>
            <a:r>
              <a:rPr lang="en-US" sz="1400" dirty="0">
                <a:latin typeface="Calibri" panose="020F0502020204030204" pitchFamily="34" charset="0"/>
                <a:cs typeface="Calibri" panose="020F0502020204030204" pitchFamily="34" charset="0"/>
              </a:rPr>
              <a:t>Load/Volume Testing</a:t>
            </a:r>
          </a:p>
          <a:p>
            <a:pPr>
              <a:buFont typeface="Wingdings" panose="05000000000000000000" pitchFamily="2" charset="2"/>
              <a:buChar char="§"/>
            </a:pPr>
            <a:r>
              <a:rPr lang="en-US" sz="1400" dirty="0">
                <a:latin typeface="Calibri" panose="020F0502020204030204" pitchFamily="34" charset="0"/>
                <a:cs typeface="Calibri" panose="020F0502020204030204" pitchFamily="34" charset="0"/>
              </a:rPr>
              <a:t>Stress Testing</a:t>
            </a:r>
          </a:p>
          <a:p>
            <a:pPr>
              <a:buFont typeface="Wingdings" panose="05000000000000000000" pitchFamily="2" charset="2"/>
              <a:buChar char="§"/>
            </a:pPr>
            <a:r>
              <a:rPr lang="en-US" sz="1400" dirty="0">
                <a:latin typeface="Calibri" panose="020F0502020204030204" pitchFamily="34" charset="0"/>
                <a:cs typeface="Calibri" panose="020F0502020204030204" pitchFamily="34" charset="0"/>
              </a:rPr>
              <a:t>Endurance Testing</a:t>
            </a:r>
            <a:endParaRPr lang="en-US" sz="1400" b="1" dirty="0">
              <a:latin typeface="Calibri" panose="020F0502020204030204" pitchFamily="34" charset="0"/>
              <a:cs typeface="Calibri" panose="020F0502020204030204" pitchFamily="34" charset="0"/>
            </a:endParaRPr>
          </a:p>
        </p:txBody>
      </p:sp>
      <p:grpSp>
        <p:nvGrpSpPr>
          <p:cNvPr id="98" name="Group 97"/>
          <p:cNvGrpSpPr/>
          <p:nvPr/>
        </p:nvGrpSpPr>
        <p:grpSpPr>
          <a:xfrm>
            <a:off x="471901" y="4086373"/>
            <a:ext cx="218732" cy="287459"/>
            <a:chOff x="1951038" y="5440363"/>
            <a:chExt cx="581025" cy="763587"/>
          </a:xfrm>
          <a:solidFill>
            <a:schemeClr val="accent6"/>
          </a:solidFill>
        </p:grpSpPr>
        <p:sp>
          <p:nvSpPr>
            <p:cNvPr id="99" name="Freeform 71"/>
            <p:cNvSpPr>
              <a:spLocks/>
            </p:cNvSpPr>
            <p:nvPr/>
          </p:nvSpPr>
          <p:spPr bwMode="auto">
            <a:xfrm>
              <a:off x="2087563" y="5440363"/>
              <a:ext cx="307975" cy="373062"/>
            </a:xfrm>
            <a:custGeom>
              <a:avLst/>
              <a:gdLst>
                <a:gd name="T0" fmla="*/ 746 w 1357"/>
                <a:gd name="T1" fmla="*/ 2 h 1647"/>
                <a:gd name="T2" fmla="*/ 867 w 1357"/>
                <a:gd name="T3" fmla="*/ 15 h 1647"/>
                <a:gd name="T4" fmla="*/ 972 w 1357"/>
                <a:gd name="T5" fmla="*/ 42 h 1647"/>
                <a:gd name="T6" fmla="*/ 1061 w 1357"/>
                <a:gd name="T7" fmla="*/ 81 h 1647"/>
                <a:gd name="T8" fmla="*/ 1135 w 1357"/>
                <a:gd name="T9" fmla="*/ 131 h 1647"/>
                <a:gd name="T10" fmla="*/ 1197 w 1357"/>
                <a:gd name="T11" fmla="*/ 190 h 1647"/>
                <a:gd name="T12" fmla="*/ 1247 w 1357"/>
                <a:gd name="T13" fmla="*/ 259 h 1647"/>
                <a:gd name="T14" fmla="*/ 1285 w 1357"/>
                <a:gd name="T15" fmla="*/ 337 h 1647"/>
                <a:gd name="T16" fmla="*/ 1314 w 1357"/>
                <a:gd name="T17" fmla="*/ 422 h 1647"/>
                <a:gd name="T18" fmla="*/ 1334 w 1357"/>
                <a:gd name="T19" fmla="*/ 514 h 1647"/>
                <a:gd name="T20" fmla="*/ 1348 w 1357"/>
                <a:gd name="T21" fmla="*/ 613 h 1647"/>
                <a:gd name="T22" fmla="*/ 1355 w 1357"/>
                <a:gd name="T23" fmla="*/ 716 h 1647"/>
                <a:gd name="T24" fmla="*/ 1357 w 1357"/>
                <a:gd name="T25" fmla="*/ 823 h 1647"/>
                <a:gd name="T26" fmla="*/ 1346 w 1357"/>
                <a:gd name="T27" fmla="*/ 971 h 1647"/>
                <a:gd name="T28" fmla="*/ 1315 w 1357"/>
                <a:gd name="T29" fmla="*/ 1111 h 1647"/>
                <a:gd name="T30" fmla="*/ 1264 w 1357"/>
                <a:gd name="T31" fmla="*/ 1239 h 1647"/>
                <a:gd name="T32" fmla="*/ 1198 w 1357"/>
                <a:gd name="T33" fmla="*/ 1354 h 1647"/>
                <a:gd name="T34" fmla="*/ 1116 w 1357"/>
                <a:gd name="T35" fmla="*/ 1453 h 1647"/>
                <a:gd name="T36" fmla="*/ 1021 w 1357"/>
                <a:gd name="T37" fmla="*/ 1535 h 1647"/>
                <a:gd name="T38" fmla="*/ 916 w 1357"/>
                <a:gd name="T39" fmla="*/ 1595 h 1647"/>
                <a:gd name="T40" fmla="*/ 800 w 1357"/>
                <a:gd name="T41" fmla="*/ 1634 h 1647"/>
                <a:gd name="T42" fmla="*/ 678 w 1357"/>
                <a:gd name="T43" fmla="*/ 1647 h 1647"/>
                <a:gd name="T44" fmla="*/ 557 w 1357"/>
                <a:gd name="T45" fmla="*/ 1634 h 1647"/>
                <a:gd name="T46" fmla="*/ 442 w 1357"/>
                <a:gd name="T47" fmla="*/ 1595 h 1647"/>
                <a:gd name="T48" fmla="*/ 336 w 1357"/>
                <a:gd name="T49" fmla="*/ 1535 h 1647"/>
                <a:gd name="T50" fmla="*/ 242 w 1357"/>
                <a:gd name="T51" fmla="*/ 1453 h 1647"/>
                <a:gd name="T52" fmla="*/ 160 w 1357"/>
                <a:gd name="T53" fmla="*/ 1354 h 1647"/>
                <a:gd name="T54" fmla="*/ 93 w 1357"/>
                <a:gd name="T55" fmla="*/ 1239 h 1647"/>
                <a:gd name="T56" fmla="*/ 43 w 1357"/>
                <a:gd name="T57" fmla="*/ 1111 h 1647"/>
                <a:gd name="T58" fmla="*/ 11 w 1357"/>
                <a:gd name="T59" fmla="*/ 971 h 1647"/>
                <a:gd name="T60" fmla="*/ 0 w 1357"/>
                <a:gd name="T61" fmla="*/ 823 h 1647"/>
                <a:gd name="T62" fmla="*/ 3 w 1357"/>
                <a:gd name="T63" fmla="*/ 716 h 1647"/>
                <a:gd name="T64" fmla="*/ 9 w 1357"/>
                <a:gd name="T65" fmla="*/ 613 h 1647"/>
                <a:gd name="T66" fmla="*/ 23 w 1357"/>
                <a:gd name="T67" fmla="*/ 514 h 1647"/>
                <a:gd name="T68" fmla="*/ 44 w 1357"/>
                <a:gd name="T69" fmla="*/ 422 h 1647"/>
                <a:gd name="T70" fmla="*/ 73 w 1357"/>
                <a:gd name="T71" fmla="*/ 337 h 1647"/>
                <a:gd name="T72" fmla="*/ 111 w 1357"/>
                <a:gd name="T73" fmla="*/ 259 h 1647"/>
                <a:gd name="T74" fmla="*/ 161 w 1357"/>
                <a:gd name="T75" fmla="*/ 190 h 1647"/>
                <a:gd name="T76" fmla="*/ 223 w 1357"/>
                <a:gd name="T77" fmla="*/ 131 h 1647"/>
                <a:gd name="T78" fmla="*/ 297 w 1357"/>
                <a:gd name="T79" fmla="*/ 81 h 1647"/>
                <a:gd name="T80" fmla="*/ 386 w 1357"/>
                <a:gd name="T81" fmla="*/ 42 h 1647"/>
                <a:gd name="T82" fmla="*/ 490 w 1357"/>
                <a:gd name="T83" fmla="*/ 15 h 1647"/>
                <a:gd name="T84" fmla="*/ 612 w 1357"/>
                <a:gd name="T85" fmla="*/ 2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7" h="1647">
                  <a:moveTo>
                    <a:pt x="678" y="0"/>
                  </a:moveTo>
                  <a:lnTo>
                    <a:pt x="746" y="2"/>
                  </a:lnTo>
                  <a:lnTo>
                    <a:pt x="809" y="7"/>
                  </a:lnTo>
                  <a:lnTo>
                    <a:pt x="867" y="15"/>
                  </a:lnTo>
                  <a:lnTo>
                    <a:pt x="921" y="28"/>
                  </a:lnTo>
                  <a:lnTo>
                    <a:pt x="972" y="42"/>
                  </a:lnTo>
                  <a:lnTo>
                    <a:pt x="1018" y="60"/>
                  </a:lnTo>
                  <a:lnTo>
                    <a:pt x="1061" y="81"/>
                  </a:lnTo>
                  <a:lnTo>
                    <a:pt x="1100" y="104"/>
                  </a:lnTo>
                  <a:lnTo>
                    <a:pt x="1135" y="131"/>
                  </a:lnTo>
                  <a:lnTo>
                    <a:pt x="1167" y="159"/>
                  </a:lnTo>
                  <a:lnTo>
                    <a:pt x="1197" y="190"/>
                  </a:lnTo>
                  <a:lnTo>
                    <a:pt x="1223" y="223"/>
                  </a:lnTo>
                  <a:lnTo>
                    <a:pt x="1247" y="259"/>
                  </a:lnTo>
                  <a:lnTo>
                    <a:pt x="1267" y="297"/>
                  </a:lnTo>
                  <a:lnTo>
                    <a:pt x="1285" y="337"/>
                  </a:lnTo>
                  <a:lnTo>
                    <a:pt x="1301" y="379"/>
                  </a:lnTo>
                  <a:lnTo>
                    <a:pt x="1314" y="422"/>
                  </a:lnTo>
                  <a:lnTo>
                    <a:pt x="1325" y="468"/>
                  </a:lnTo>
                  <a:lnTo>
                    <a:pt x="1334" y="514"/>
                  </a:lnTo>
                  <a:lnTo>
                    <a:pt x="1341" y="563"/>
                  </a:lnTo>
                  <a:lnTo>
                    <a:pt x="1348" y="613"/>
                  </a:lnTo>
                  <a:lnTo>
                    <a:pt x="1352" y="664"/>
                  </a:lnTo>
                  <a:lnTo>
                    <a:pt x="1355" y="716"/>
                  </a:lnTo>
                  <a:lnTo>
                    <a:pt x="1357" y="769"/>
                  </a:lnTo>
                  <a:lnTo>
                    <a:pt x="1357" y="823"/>
                  </a:lnTo>
                  <a:lnTo>
                    <a:pt x="1354" y="898"/>
                  </a:lnTo>
                  <a:lnTo>
                    <a:pt x="1346" y="971"/>
                  </a:lnTo>
                  <a:lnTo>
                    <a:pt x="1332" y="1042"/>
                  </a:lnTo>
                  <a:lnTo>
                    <a:pt x="1315" y="1111"/>
                  </a:lnTo>
                  <a:lnTo>
                    <a:pt x="1291" y="1176"/>
                  </a:lnTo>
                  <a:lnTo>
                    <a:pt x="1264" y="1239"/>
                  </a:lnTo>
                  <a:lnTo>
                    <a:pt x="1233" y="1298"/>
                  </a:lnTo>
                  <a:lnTo>
                    <a:pt x="1198" y="1354"/>
                  </a:lnTo>
                  <a:lnTo>
                    <a:pt x="1159" y="1406"/>
                  </a:lnTo>
                  <a:lnTo>
                    <a:pt x="1116" y="1453"/>
                  </a:lnTo>
                  <a:lnTo>
                    <a:pt x="1070" y="1496"/>
                  </a:lnTo>
                  <a:lnTo>
                    <a:pt x="1021" y="1535"/>
                  </a:lnTo>
                  <a:lnTo>
                    <a:pt x="970" y="1567"/>
                  </a:lnTo>
                  <a:lnTo>
                    <a:pt x="916" y="1595"/>
                  </a:lnTo>
                  <a:lnTo>
                    <a:pt x="859" y="1617"/>
                  </a:lnTo>
                  <a:lnTo>
                    <a:pt x="800" y="1634"/>
                  </a:lnTo>
                  <a:lnTo>
                    <a:pt x="740" y="1644"/>
                  </a:lnTo>
                  <a:lnTo>
                    <a:pt x="678" y="1647"/>
                  </a:lnTo>
                  <a:lnTo>
                    <a:pt x="617" y="1644"/>
                  </a:lnTo>
                  <a:lnTo>
                    <a:pt x="557" y="1634"/>
                  </a:lnTo>
                  <a:lnTo>
                    <a:pt x="498" y="1617"/>
                  </a:lnTo>
                  <a:lnTo>
                    <a:pt x="442" y="1595"/>
                  </a:lnTo>
                  <a:lnTo>
                    <a:pt x="388" y="1567"/>
                  </a:lnTo>
                  <a:lnTo>
                    <a:pt x="336" y="1535"/>
                  </a:lnTo>
                  <a:lnTo>
                    <a:pt x="288" y="1496"/>
                  </a:lnTo>
                  <a:lnTo>
                    <a:pt x="242" y="1453"/>
                  </a:lnTo>
                  <a:lnTo>
                    <a:pt x="199" y="1406"/>
                  </a:lnTo>
                  <a:lnTo>
                    <a:pt x="160" y="1354"/>
                  </a:lnTo>
                  <a:lnTo>
                    <a:pt x="125" y="1298"/>
                  </a:lnTo>
                  <a:lnTo>
                    <a:pt x="93" y="1239"/>
                  </a:lnTo>
                  <a:lnTo>
                    <a:pt x="66" y="1176"/>
                  </a:lnTo>
                  <a:lnTo>
                    <a:pt x="43" y="1111"/>
                  </a:lnTo>
                  <a:lnTo>
                    <a:pt x="25" y="1042"/>
                  </a:lnTo>
                  <a:lnTo>
                    <a:pt x="11" y="971"/>
                  </a:lnTo>
                  <a:lnTo>
                    <a:pt x="3" y="898"/>
                  </a:lnTo>
                  <a:lnTo>
                    <a:pt x="0" y="823"/>
                  </a:lnTo>
                  <a:lnTo>
                    <a:pt x="1" y="769"/>
                  </a:lnTo>
                  <a:lnTo>
                    <a:pt x="3" y="716"/>
                  </a:lnTo>
                  <a:lnTo>
                    <a:pt x="5" y="664"/>
                  </a:lnTo>
                  <a:lnTo>
                    <a:pt x="9" y="613"/>
                  </a:lnTo>
                  <a:lnTo>
                    <a:pt x="16" y="563"/>
                  </a:lnTo>
                  <a:lnTo>
                    <a:pt x="23" y="514"/>
                  </a:lnTo>
                  <a:lnTo>
                    <a:pt x="33" y="468"/>
                  </a:lnTo>
                  <a:lnTo>
                    <a:pt x="44" y="422"/>
                  </a:lnTo>
                  <a:lnTo>
                    <a:pt x="57" y="379"/>
                  </a:lnTo>
                  <a:lnTo>
                    <a:pt x="73" y="337"/>
                  </a:lnTo>
                  <a:lnTo>
                    <a:pt x="91" y="297"/>
                  </a:lnTo>
                  <a:lnTo>
                    <a:pt x="111" y="259"/>
                  </a:lnTo>
                  <a:lnTo>
                    <a:pt x="135" y="223"/>
                  </a:lnTo>
                  <a:lnTo>
                    <a:pt x="161" y="190"/>
                  </a:lnTo>
                  <a:lnTo>
                    <a:pt x="190" y="159"/>
                  </a:lnTo>
                  <a:lnTo>
                    <a:pt x="223" y="131"/>
                  </a:lnTo>
                  <a:lnTo>
                    <a:pt x="258" y="104"/>
                  </a:lnTo>
                  <a:lnTo>
                    <a:pt x="297" y="81"/>
                  </a:lnTo>
                  <a:lnTo>
                    <a:pt x="340" y="60"/>
                  </a:lnTo>
                  <a:lnTo>
                    <a:pt x="386" y="42"/>
                  </a:lnTo>
                  <a:lnTo>
                    <a:pt x="436" y="28"/>
                  </a:lnTo>
                  <a:lnTo>
                    <a:pt x="490" y="15"/>
                  </a:lnTo>
                  <a:lnTo>
                    <a:pt x="549" y="7"/>
                  </a:lnTo>
                  <a:lnTo>
                    <a:pt x="612" y="2"/>
                  </a:lnTo>
                  <a:lnTo>
                    <a:pt x="67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00" name="Freeform 72"/>
            <p:cNvSpPr>
              <a:spLocks/>
            </p:cNvSpPr>
            <p:nvPr/>
          </p:nvSpPr>
          <p:spPr bwMode="auto">
            <a:xfrm>
              <a:off x="1951038" y="5827713"/>
              <a:ext cx="581025" cy="376237"/>
            </a:xfrm>
            <a:custGeom>
              <a:avLst/>
              <a:gdLst>
                <a:gd name="T0" fmla="*/ 916 w 2562"/>
                <a:gd name="T1" fmla="*/ 7 h 1657"/>
                <a:gd name="T2" fmla="*/ 948 w 2562"/>
                <a:gd name="T3" fmla="*/ 37 h 1657"/>
                <a:gd name="T4" fmla="*/ 1011 w 2562"/>
                <a:gd name="T5" fmla="*/ 78 h 1657"/>
                <a:gd name="T6" fmla="*/ 1103 w 2562"/>
                <a:gd name="T7" fmla="*/ 117 h 1657"/>
                <a:gd name="T8" fmla="*/ 1231 w 2562"/>
                <a:gd name="T9" fmla="*/ 140 h 1657"/>
                <a:gd name="T10" fmla="*/ 1377 w 2562"/>
                <a:gd name="T11" fmla="*/ 135 h 1657"/>
                <a:gd name="T12" fmla="*/ 1492 w 2562"/>
                <a:gd name="T13" fmla="*/ 105 h 1657"/>
                <a:gd name="T14" fmla="*/ 1576 w 2562"/>
                <a:gd name="T15" fmla="*/ 63 h 1657"/>
                <a:gd name="T16" fmla="*/ 1628 w 2562"/>
                <a:gd name="T17" fmla="*/ 25 h 1657"/>
                <a:gd name="T18" fmla="*/ 1650 w 2562"/>
                <a:gd name="T19" fmla="*/ 2 h 1657"/>
                <a:gd name="T20" fmla="*/ 1836 w 2562"/>
                <a:gd name="T21" fmla="*/ 38 h 1657"/>
                <a:gd name="T22" fmla="*/ 2063 w 2562"/>
                <a:gd name="T23" fmla="*/ 104 h 1657"/>
                <a:gd name="T24" fmla="*/ 2236 w 2562"/>
                <a:gd name="T25" fmla="*/ 188 h 1657"/>
                <a:gd name="T26" fmla="*/ 2365 w 2562"/>
                <a:gd name="T27" fmla="*/ 295 h 1657"/>
                <a:gd name="T28" fmla="*/ 2454 w 2562"/>
                <a:gd name="T29" fmla="*/ 431 h 1657"/>
                <a:gd name="T30" fmla="*/ 2511 w 2562"/>
                <a:gd name="T31" fmla="*/ 600 h 1657"/>
                <a:gd name="T32" fmla="*/ 2544 w 2562"/>
                <a:gd name="T33" fmla="*/ 809 h 1657"/>
                <a:gd name="T34" fmla="*/ 2558 w 2562"/>
                <a:gd name="T35" fmla="*/ 1064 h 1657"/>
                <a:gd name="T36" fmla="*/ 2561 w 2562"/>
                <a:gd name="T37" fmla="*/ 1198 h 1657"/>
                <a:gd name="T38" fmla="*/ 2561 w 2562"/>
                <a:gd name="T39" fmla="*/ 1216 h 1657"/>
                <a:gd name="T40" fmla="*/ 2562 w 2562"/>
                <a:gd name="T41" fmla="*/ 1252 h 1657"/>
                <a:gd name="T42" fmla="*/ 2559 w 2562"/>
                <a:gd name="T43" fmla="*/ 1282 h 1657"/>
                <a:gd name="T44" fmla="*/ 2544 w 2562"/>
                <a:gd name="T45" fmla="*/ 1304 h 1657"/>
                <a:gd name="T46" fmla="*/ 2512 w 2562"/>
                <a:gd name="T47" fmla="*/ 1340 h 1657"/>
                <a:gd name="T48" fmla="*/ 2458 w 2562"/>
                <a:gd name="T49" fmla="*/ 1387 h 1657"/>
                <a:gd name="T50" fmla="*/ 2380 w 2562"/>
                <a:gd name="T51" fmla="*/ 1440 h 1657"/>
                <a:gd name="T52" fmla="*/ 2273 w 2562"/>
                <a:gd name="T53" fmla="*/ 1495 h 1657"/>
                <a:gd name="T54" fmla="*/ 2134 w 2562"/>
                <a:gd name="T55" fmla="*/ 1548 h 1657"/>
                <a:gd name="T56" fmla="*/ 1958 w 2562"/>
                <a:gd name="T57" fmla="*/ 1594 h 1657"/>
                <a:gd name="T58" fmla="*/ 1741 w 2562"/>
                <a:gd name="T59" fmla="*/ 1630 h 1657"/>
                <a:gd name="T60" fmla="*/ 1481 w 2562"/>
                <a:gd name="T61" fmla="*/ 1653 h 1657"/>
                <a:gd name="T62" fmla="*/ 1178 w 2562"/>
                <a:gd name="T63" fmla="*/ 1656 h 1657"/>
                <a:gd name="T64" fmla="*/ 901 w 2562"/>
                <a:gd name="T65" fmla="*/ 1640 h 1657"/>
                <a:gd name="T66" fmla="*/ 671 w 2562"/>
                <a:gd name="T67" fmla="*/ 1608 h 1657"/>
                <a:gd name="T68" fmla="*/ 482 w 2562"/>
                <a:gd name="T69" fmla="*/ 1564 h 1657"/>
                <a:gd name="T70" fmla="*/ 331 w 2562"/>
                <a:gd name="T71" fmla="*/ 1512 h 1657"/>
                <a:gd name="T72" fmla="*/ 213 w 2562"/>
                <a:gd name="T73" fmla="*/ 1458 h 1657"/>
                <a:gd name="T74" fmla="*/ 127 w 2562"/>
                <a:gd name="T75" fmla="*/ 1404 h 1657"/>
                <a:gd name="T76" fmla="*/ 65 w 2562"/>
                <a:gd name="T77" fmla="*/ 1355 h 1657"/>
                <a:gd name="T78" fmla="*/ 27 w 2562"/>
                <a:gd name="T79" fmla="*/ 1314 h 1657"/>
                <a:gd name="T80" fmla="*/ 6 w 2562"/>
                <a:gd name="T81" fmla="*/ 1287 h 1657"/>
                <a:gd name="T82" fmla="*/ 0 w 2562"/>
                <a:gd name="T83" fmla="*/ 1277 h 1657"/>
                <a:gd name="T84" fmla="*/ 0 w 2562"/>
                <a:gd name="T85" fmla="*/ 1206 h 1657"/>
                <a:gd name="T86" fmla="*/ 0 w 2562"/>
                <a:gd name="T87" fmla="*/ 1197 h 1657"/>
                <a:gd name="T88" fmla="*/ 1 w 2562"/>
                <a:gd name="T89" fmla="*/ 1175 h 1657"/>
                <a:gd name="T90" fmla="*/ 4 w 2562"/>
                <a:gd name="T91" fmla="*/ 1042 h 1657"/>
                <a:gd name="T92" fmla="*/ 19 w 2562"/>
                <a:gd name="T93" fmla="*/ 793 h 1657"/>
                <a:gd name="T94" fmla="*/ 53 w 2562"/>
                <a:gd name="T95" fmla="*/ 589 h 1657"/>
                <a:gd name="T96" fmla="*/ 111 w 2562"/>
                <a:gd name="T97" fmla="*/ 422 h 1657"/>
                <a:gd name="T98" fmla="*/ 201 w 2562"/>
                <a:gd name="T99" fmla="*/ 291 h 1657"/>
                <a:gd name="T100" fmla="*/ 330 w 2562"/>
                <a:gd name="T101" fmla="*/ 186 h 1657"/>
                <a:gd name="T102" fmla="*/ 502 w 2562"/>
                <a:gd name="T103" fmla="*/ 103 h 1657"/>
                <a:gd name="T104" fmla="*/ 728 w 2562"/>
                <a:gd name="T105" fmla="*/ 37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62" h="1657">
                  <a:moveTo>
                    <a:pt x="909" y="0"/>
                  </a:moveTo>
                  <a:lnTo>
                    <a:pt x="910" y="2"/>
                  </a:lnTo>
                  <a:lnTo>
                    <a:pt x="916" y="7"/>
                  </a:lnTo>
                  <a:lnTo>
                    <a:pt x="923" y="14"/>
                  </a:lnTo>
                  <a:lnTo>
                    <a:pt x="934" y="25"/>
                  </a:lnTo>
                  <a:lnTo>
                    <a:pt x="948" y="37"/>
                  </a:lnTo>
                  <a:lnTo>
                    <a:pt x="966" y="50"/>
                  </a:lnTo>
                  <a:lnTo>
                    <a:pt x="986" y="63"/>
                  </a:lnTo>
                  <a:lnTo>
                    <a:pt x="1011" y="78"/>
                  </a:lnTo>
                  <a:lnTo>
                    <a:pt x="1038" y="92"/>
                  </a:lnTo>
                  <a:lnTo>
                    <a:pt x="1069" y="105"/>
                  </a:lnTo>
                  <a:lnTo>
                    <a:pt x="1103" y="117"/>
                  </a:lnTo>
                  <a:lnTo>
                    <a:pt x="1142" y="128"/>
                  </a:lnTo>
                  <a:lnTo>
                    <a:pt x="1185" y="135"/>
                  </a:lnTo>
                  <a:lnTo>
                    <a:pt x="1231" y="140"/>
                  </a:lnTo>
                  <a:lnTo>
                    <a:pt x="1280" y="142"/>
                  </a:lnTo>
                  <a:lnTo>
                    <a:pt x="1331" y="140"/>
                  </a:lnTo>
                  <a:lnTo>
                    <a:pt x="1377" y="135"/>
                  </a:lnTo>
                  <a:lnTo>
                    <a:pt x="1419" y="128"/>
                  </a:lnTo>
                  <a:lnTo>
                    <a:pt x="1458" y="117"/>
                  </a:lnTo>
                  <a:lnTo>
                    <a:pt x="1492" y="105"/>
                  </a:lnTo>
                  <a:lnTo>
                    <a:pt x="1524" y="92"/>
                  </a:lnTo>
                  <a:lnTo>
                    <a:pt x="1551" y="78"/>
                  </a:lnTo>
                  <a:lnTo>
                    <a:pt x="1576" y="63"/>
                  </a:lnTo>
                  <a:lnTo>
                    <a:pt x="1596" y="50"/>
                  </a:lnTo>
                  <a:lnTo>
                    <a:pt x="1614" y="37"/>
                  </a:lnTo>
                  <a:lnTo>
                    <a:pt x="1628" y="25"/>
                  </a:lnTo>
                  <a:lnTo>
                    <a:pt x="1638" y="14"/>
                  </a:lnTo>
                  <a:lnTo>
                    <a:pt x="1646" y="7"/>
                  </a:lnTo>
                  <a:lnTo>
                    <a:pt x="1650" y="2"/>
                  </a:lnTo>
                  <a:lnTo>
                    <a:pt x="1653" y="0"/>
                  </a:lnTo>
                  <a:lnTo>
                    <a:pt x="1747" y="18"/>
                  </a:lnTo>
                  <a:lnTo>
                    <a:pt x="1836" y="38"/>
                  </a:lnTo>
                  <a:lnTo>
                    <a:pt x="1918" y="58"/>
                  </a:lnTo>
                  <a:lnTo>
                    <a:pt x="1993" y="81"/>
                  </a:lnTo>
                  <a:lnTo>
                    <a:pt x="2063" y="104"/>
                  </a:lnTo>
                  <a:lnTo>
                    <a:pt x="2126" y="130"/>
                  </a:lnTo>
                  <a:lnTo>
                    <a:pt x="2184" y="158"/>
                  </a:lnTo>
                  <a:lnTo>
                    <a:pt x="2236" y="188"/>
                  </a:lnTo>
                  <a:lnTo>
                    <a:pt x="2284" y="221"/>
                  </a:lnTo>
                  <a:lnTo>
                    <a:pt x="2327" y="256"/>
                  </a:lnTo>
                  <a:lnTo>
                    <a:pt x="2365" y="295"/>
                  </a:lnTo>
                  <a:lnTo>
                    <a:pt x="2399" y="337"/>
                  </a:lnTo>
                  <a:lnTo>
                    <a:pt x="2428" y="382"/>
                  </a:lnTo>
                  <a:lnTo>
                    <a:pt x="2454" y="431"/>
                  </a:lnTo>
                  <a:lnTo>
                    <a:pt x="2476" y="483"/>
                  </a:lnTo>
                  <a:lnTo>
                    <a:pt x="2496" y="540"/>
                  </a:lnTo>
                  <a:lnTo>
                    <a:pt x="2511" y="600"/>
                  </a:lnTo>
                  <a:lnTo>
                    <a:pt x="2524" y="665"/>
                  </a:lnTo>
                  <a:lnTo>
                    <a:pt x="2535" y="735"/>
                  </a:lnTo>
                  <a:lnTo>
                    <a:pt x="2544" y="809"/>
                  </a:lnTo>
                  <a:lnTo>
                    <a:pt x="2550" y="889"/>
                  </a:lnTo>
                  <a:lnTo>
                    <a:pt x="2555" y="974"/>
                  </a:lnTo>
                  <a:lnTo>
                    <a:pt x="2558" y="1064"/>
                  </a:lnTo>
                  <a:lnTo>
                    <a:pt x="2560" y="1160"/>
                  </a:lnTo>
                  <a:lnTo>
                    <a:pt x="2561" y="1183"/>
                  </a:lnTo>
                  <a:lnTo>
                    <a:pt x="2561" y="1198"/>
                  </a:lnTo>
                  <a:lnTo>
                    <a:pt x="2561" y="1209"/>
                  </a:lnTo>
                  <a:lnTo>
                    <a:pt x="2561" y="1214"/>
                  </a:lnTo>
                  <a:lnTo>
                    <a:pt x="2561" y="1216"/>
                  </a:lnTo>
                  <a:lnTo>
                    <a:pt x="2562" y="1215"/>
                  </a:lnTo>
                  <a:lnTo>
                    <a:pt x="2562" y="1232"/>
                  </a:lnTo>
                  <a:lnTo>
                    <a:pt x="2562" y="1252"/>
                  </a:lnTo>
                  <a:lnTo>
                    <a:pt x="2562" y="1277"/>
                  </a:lnTo>
                  <a:lnTo>
                    <a:pt x="2561" y="1278"/>
                  </a:lnTo>
                  <a:lnTo>
                    <a:pt x="2559" y="1282"/>
                  </a:lnTo>
                  <a:lnTo>
                    <a:pt x="2556" y="1287"/>
                  </a:lnTo>
                  <a:lnTo>
                    <a:pt x="2551" y="1295"/>
                  </a:lnTo>
                  <a:lnTo>
                    <a:pt x="2544" y="1304"/>
                  </a:lnTo>
                  <a:lnTo>
                    <a:pt x="2535" y="1314"/>
                  </a:lnTo>
                  <a:lnTo>
                    <a:pt x="2524" y="1326"/>
                  </a:lnTo>
                  <a:lnTo>
                    <a:pt x="2512" y="1340"/>
                  </a:lnTo>
                  <a:lnTo>
                    <a:pt x="2497" y="1355"/>
                  </a:lnTo>
                  <a:lnTo>
                    <a:pt x="2478" y="1370"/>
                  </a:lnTo>
                  <a:lnTo>
                    <a:pt x="2458" y="1387"/>
                  </a:lnTo>
                  <a:lnTo>
                    <a:pt x="2435" y="1404"/>
                  </a:lnTo>
                  <a:lnTo>
                    <a:pt x="2409" y="1421"/>
                  </a:lnTo>
                  <a:lnTo>
                    <a:pt x="2380" y="1440"/>
                  </a:lnTo>
                  <a:lnTo>
                    <a:pt x="2348" y="1458"/>
                  </a:lnTo>
                  <a:lnTo>
                    <a:pt x="2313" y="1476"/>
                  </a:lnTo>
                  <a:lnTo>
                    <a:pt x="2273" y="1495"/>
                  </a:lnTo>
                  <a:lnTo>
                    <a:pt x="2231" y="1512"/>
                  </a:lnTo>
                  <a:lnTo>
                    <a:pt x="2184" y="1530"/>
                  </a:lnTo>
                  <a:lnTo>
                    <a:pt x="2134" y="1548"/>
                  </a:lnTo>
                  <a:lnTo>
                    <a:pt x="2079" y="1564"/>
                  </a:lnTo>
                  <a:lnTo>
                    <a:pt x="2021" y="1579"/>
                  </a:lnTo>
                  <a:lnTo>
                    <a:pt x="1958" y="1594"/>
                  </a:lnTo>
                  <a:lnTo>
                    <a:pt x="1890" y="1608"/>
                  </a:lnTo>
                  <a:lnTo>
                    <a:pt x="1819" y="1620"/>
                  </a:lnTo>
                  <a:lnTo>
                    <a:pt x="1741" y="1630"/>
                  </a:lnTo>
                  <a:lnTo>
                    <a:pt x="1660" y="1640"/>
                  </a:lnTo>
                  <a:lnTo>
                    <a:pt x="1573" y="1647"/>
                  </a:lnTo>
                  <a:lnTo>
                    <a:pt x="1481" y="1653"/>
                  </a:lnTo>
                  <a:lnTo>
                    <a:pt x="1384" y="1656"/>
                  </a:lnTo>
                  <a:lnTo>
                    <a:pt x="1280" y="1657"/>
                  </a:lnTo>
                  <a:lnTo>
                    <a:pt x="1178" y="1656"/>
                  </a:lnTo>
                  <a:lnTo>
                    <a:pt x="1081" y="1653"/>
                  </a:lnTo>
                  <a:lnTo>
                    <a:pt x="988" y="1647"/>
                  </a:lnTo>
                  <a:lnTo>
                    <a:pt x="901" y="1640"/>
                  </a:lnTo>
                  <a:lnTo>
                    <a:pt x="820" y="1630"/>
                  </a:lnTo>
                  <a:lnTo>
                    <a:pt x="743" y="1620"/>
                  </a:lnTo>
                  <a:lnTo>
                    <a:pt x="671" y="1608"/>
                  </a:lnTo>
                  <a:lnTo>
                    <a:pt x="603" y="1594"/>
                  </a:lnTo>
                  <a:lnTo>
                    <a:pt x="541" y="1579"/>
                  </a:lnTo>
                  <a:lnTo>
                    <a:pt x="482" y="1564"/>
                  </a:lnTo>
                  <a:lnTo>
                    <a:pt x="428" y="1548"/>
                  </a:lnTo>
                  <a:lnTo>
                    <a:pt x="378" y="1530"/>
                  </a:lnTo>
                  <a:lnTo>
                    <a:pt x="331" y="1512"/>
                  </a:lnTo>
                  <a:lnTo>
                    <a:pt x="288" y="1495"/>
                  </a:lnTo>
                  <a:lnTo>
                    <a:pt x="249" y="1476"/>
                  </a:lnTo>
                  <a:lnTo>
                    <a:pt x="213" y="1458"/>
                  </a:lnTo>
                  <a:lnTo>
                    <a:pt x="182" y="1440"/>
                  </a:lnTo>
                  <a:lnTo>
                    <a:pt x="152" y="1421"/>
                  </a:lnTo>
                  <a:lnTo>
                    <a:pt x="127" y="1404"/>
                  </a:lnTo>
                  <a:lnTo>
                    <a:pt x="103" y="1387"/>
                  </a:lnTo>
                  <a:lnTo>
                    <a:pt x="83" y="1370"/>
                  </a:lnTo>
                  <a:lnTo>
                    <a:pt x="65" y="1355"/>
                  </a:lnTo>
                  <a:lnTo>
                    <a:pt x="50" y="1340"/>
                  </a:lnTo>
                  <a:lnTo>
                    <a:pt x="37" y="1326"/>
                  </a:lnTo>
                  <a:lnTo>
                    <a:pt x="27" y="1314"/>
                  </a:lnTo>
                  <a:lnTo>
                    <a:pt x="17" y="1304"/>
                  </a:lnTo>
                  <a:lnTo>
                    <a:pt x="11" y="1295"/>
                  </a:lnTo>
                  <a:lnTo>
                    <a:pt x="6" y="1287"/>
                  </a:lnTo>
                  <a:lnTo>
                    <a:pt x="3" y="1282"/>
                  </a:lnTo>
                  <a:lnTo>
                    <a:pt x="1" y="1278"/>
                  </a:lnTo>
                  <a:lnTo>
                    <a:pt x="0" y="1277"/>
                  </a:lnTo>
                  <a:lnTo>
                    <a:pt x="0" y="1247"/>
                  </a:lnTo>
                  <a:lnTo>
                    <a:pt x="0" y="1224"/>
                  </a:lnTo>
                  <a:lnTo>
                    <a:pt x="0" y="1206"/>
                  </a:lnTo>
                  <a:lnTo>
                    <a:pt x="0" y="1194"/>
                  </a:lnTo>
                  <a:lnTo>
                    <a:pt x="0" y="1196"/>
                  </a:lnTo>
                  <a:lnTo>
                    <a:pt x="0" y="1197"/>
                  </a:lnTo>
                  <a:lnTo>
                    <a:pt x="0" y="1194"/>
                  </a:lnTo>
                  <a:lnTo>
                    <a:pt x="1" y="1187"/>
                  </a:lnTo>
                  <a:lnTo>
                    <a:pt x="1" y="1175"/>
                  </a:lnTo>
                  <a:lnTo>
                    <a:pt x="1" y="1158"/>
                  </a:lnTo>
                  <a:lnTo>
                    <a:pt x="2" y="1135"/>
                  </a:lnTo>
                  <a:lnTo>
                    <a:pt x="4" y="1042"/>
                  </a:lnTo>
                  <a:lnTo>
                    <a:pt x="8" y="953"/>
                  </a:lnTo>
                  <a:lnTo>
                    <a:pt x="13" y="870"/>
                  </a:lnTo>
                  <a:lnTo>
                    <a:pt x="19" y="793"/>
                  </a:lnTo>
                  <a:lnTo>
                    <a:pt x="29" y="720"/>
                  </a:lnTo>
                  <a:lnTo>
                    <a:pt x="40" y="652"/>
                  </a:lnTo>
                  <a:lnTo>
                    <a:pt x="53" y="589"/>
                  </a:lnTo>
                  <a:lnTo>
                    <a:pt x="69" y="530"/>
                  </a:lnTo>
                  <a:lnTo>
                    <a:pt x="89" y="474"/>
                  </a:lnTo>
                  <a:lnTo>
                    <a:pt x="111" y="422"/>
                  </a:lnTo>
                  <a:lnTo>
                    <a:pt x="138" y="375"/>
                  </a:lnTo>
                  <a:lnTo>
                    <a:pt x="167" y="332"/>
                  </a:lnTo>
                  <a:lnTo>
                    <a:pt x="201" y="291"/>
                  </a:lnTo>
                  <a:lnTo>
                    <a:pt x="239" y="253"/>
                  </a:lnTo>
                  <a:lnTo>
                    <a:pt x="282" y="217"/>
                  </a:lnTo>
                  <a:lnTo>
                    <a:pt x="330" y="186"/>
                  </a:lnTo>
                  <a:lnTo>
                    <a:pt x="382" y="156"/>
                  </a:lnTo>
                  <a:lnTo>
                    <a:pt x="439" y="129"/>
                  </a:lnTo>
                  <a:lnTo>
                    <a:pt x="502" y="103"/>
                  </a:lnTo>
                  <a:lnTo>
                    <a:pt x="572" y="80"/>
                  </a:lnTo>
                  <a:lnTo>
                    <a:pt x="646" y="57"/>
                  </a:lnTo>
                  <a:lnTo>
                    <a:pt x="728" y="37"/>
                  </a:lnTo>
                  <a:lnTo>
                    <a:pt x="815" y="18"/>
                  </a:lnTo>
                  <a:lnTo>
                    <a:pt x="9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grpSp>
        <p:nvGrpSpPr>
          <p:cNvPr id="101" name="Group 100"/>
          <p:cNvGrpSpPr/>
          <p:nvPr/>
        </p:nvGrpSpPr>
        <p:grpSpPr>
          <a:xfrm>
            <a:off x="463764" y="3111885"/>
            <a:ext cx="218732" cy="287459"/>
            <a:chOff x="1951038" y="5440363"/>
            <a:chExt cx="581025" cy="763587"/>
          </a:xfrm>
          <a:solidFill>
            <a:schemeClr val="accent6"/>
          </a:solidFill>
        </p:grpSpPr>
        <p:sp>
          <p:nvSpPr>
            <p:cNvPr id="102" name="Freeform 71"/>
            <p:cNvSpPr>
              <a:spLocks/>
            </p:cNvSpPr>
            <p:nvPr/>
          </p:nvSpPr>
          <p:spPr bwMode="auto">
            <a:xfrm>
              <a:off x="2087563" y="5440363"/>
              <a:ext cx="307975" cy="373062"/>
            </a:xfrm>
            <a:custGeom>
              <a:avLst/>
              <a:gdLst>
                <a:gd name="T0" fmla="*/ 746 w 1357"/>
                <a:gd name="T1" fmla="*/ 2 h 1647"/>
                <a:gd name="T2" fmla="*/ 867 w 1357"/>
                <a:gd name="T3" fmla="*/ 15 h 1647"/>
                <a:gd name="T4" fmla="*/ 972 w 1357"/>
                <a:gd name="T5" fmla="*/ 42 h 1647"/>
                <a:gd name="T6" fmla="*/ 1061 w 1357"/>
                <a:gd name="T7" fmla="*/ 81 h 1647"/>
                <a:gd name="T8" fmla="*/ 1135 w 1357"/>
                <a:gd name="T9" fmla="*/ 131 h 1647"/>
                <a:gd name="T10" fmla="*/ 1197 w 1357"/>
                <a:gd name="T11" fmla="*/ 190 h 1647"/>
                <a:gd name="T12" fmla="*/ 1247 w 1357"/>
                <a:gd name="T13" fmla="*/ 259 h 1647"/>
                <a:gd name="T14" fmla="*/ 1285 w 1357"/>
                <a:gd name="T15" fmla="*/ 337 h 1647"/>
                <a:gd name="T16" fmla="*/ 1314 w 1357"/>
                <a:gd name="T17" fmla="*/ 422 h 1647"/>
                <a:gd name="T18" fmla="*/ 1334 w 1357"/>
                <a:gd name="T19" fmla="*/ 514 h 1647"/>
                <a:gd name="T20" fmla="*/ 1348 w 1357"/>
                <a:gd name="T21" fmla="*/ 613 h 1647"/>
                <a:gd name="T22" fmla="*/ 1355 w 1357"/>
                <a:gd name="T23" fmla="*/ 716 h 1647"/>
                <a:gd name="T24" fmla="*/ 1357 w 1357"/>
                <a:gd name="T25" fmla="*/ 823 h 1647"/>
                <a:gd name="T26" fmla="*/ 1346 w 1357"/>
                <a:gd name="T27" fmla="*/ 971 h 1647"/>
                <a:gd name="T28" fmla="*/ 1315 w 1357"/>
                <a:gd name="T29" fmla="*/ 1111 h 1647"/>
                <a:gd name="T30" fmla="*/ 1264 w 1357"/>
                <a:gd name="T31" fmla="*/ 1239 h 1647"/>
                <a:gd name="T32" fmla="*/ 1198 w 1357"/>
                <a:gd name="T33" fmla="*/ 1354 h 1647"/>
                <a:gd name="T34" fmla="*/ 1116 w 1357"/>
                <a:gd name="T35" fmla="*/ 1453 h 1647"/>
                <a:gd name="T36" fmla="*/ 1021 w 1357"/>
                <a:gd name="T37" fmla="*/ 1535 h 1647"/>
                <a:gd name="T38" fmla="*/ 916 w 1357"/>
                <a:gd name="T39" fmla="*/ 1595 h 1647"/>
                <a:gd name="T40" fmla="*/ 800 w 1357"/>
                <a:gd name="T41" fmla="*/ 1634 h 1647"/>
                <a:gd name="T42" fmla="*/ 678 w 1357"/>
                <a:gd name="T43" fmla="*/ 1647 h 1647"/>
                <a:gd name="T44" fmla="*/ 557 w 1357"/>
                <a:gd name="T45" fmla="*/ 1634 h 1647"/>
                <a:gd name="T46" fmla="*/ 442 w 1357"/>
                <a:gd name="T47" fmla="*/ 1595 h 1647"/>
                <a:gd name="T48" fmla="*/ 336 w 1357"/>
                <a:gd name="T49" fmla="*/ 1535 h 1647"/>
                <a:gd name="T50" fmla="*/ 242 w 1357"/>
                <a:gd name="T51" fmla="*/ 1453 h 1647"/>
                <a:gd name="T52" fmla="*/ 160 w 1357"/>
                <a:gd name="T53" fmla="*/ 1354 h 1647"/>
                <a:gd name="T54" fmla="*/ 93 w 1357"/>
                <a:gd name="T55" fmla="*/ 1239 h 1647"/>
                <a:gd name="T56" fmla="*/ 43 w 1357"/>
                <a:gd name="T57" fmla="*/ 1111 h 1647"/>
                <a:gd name="T58" fmla="*/ 11 w 1357"/>
                <a:gd name="T59" fmla="*/ 971 h 1647"/>
                <a:gd name="T60" fmla="*/ 0 w 1357"/>
                <a:gd name="T61" fmla="*/ 823 h 1647"/>
                <a:gd name="T62" fmla="*/ 3 w 1357"/>
                <a:gd name="T63" fmla="*/ 716 h 1647"/>
                <a:gd name="T64" fmla="*/ 9 w 1357"/>
                <a:gd name="T65" fmla="*/ 613 h 1647"/>
                <a:gd name="T66" fmla="*/ 23 w 1357"/>
                <a:gd name="T67" fmla="*/ 514 h 1647"/>
                <a:gd name="T68" fmla="*/ 44 w 1357"/>
                <a:gd name="T69" fmla="*/ 422 h 1647"/>
                <a:gd name="T70" fmla="*/ 73 w 1357"/>
                <a:gd name="T71" fmla="*/ 337 h 1647"/>
                <a:gd name="T72" fmla="*/ 111 w 1357"/>
                <a:gd name="T73" fmla="*/ 259 h 1647"/>
                <a:gd name="T74" fmla="*/ 161 w 1357"/>
                <a:gd name="T75" fmla="*/ 190 h 1647"/>
                <a:gd name="T76" fmla="*/ 223 w 1357"/>
                <a:gd name="T77" fmla="*/ 131 h 1647"/>
                <a:gd name="T78" fmla="*/ 297 w 1357"/>
                <a:gd name="T79" fmla="*/ 81 h 1647"/>
                <a:gd name="T80" fmla="*/ 386 w 1357"/>
                <a:gd name="T81" fmla="*/ 42 h 1647"/>
                <a:gd name="T82" fmla="*/ 490 w 1357"/>
                <a:gd name="T83" fmla="*/ 15 h 1647"/>
                <a:gd name="T84" fmla="*/ 612 w 1357"/>
                <a:gd name="T85" fmla="*/ 2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7" h="1647">
                  <a:moveTo>
                    <a:pt x="678" y="0"/>
                  </a:moveTo>
                  <a:lnTo>
                    <a:pt x="746" y="2"/>
                  </a:lnTo>
                  <a:lnTo>
                    <a:pt x="809" y="7"/>
                  </a:lnTo>
                  <a:lnTo>
                    <a:pt x="867" y="15"/>
                  </a:lnTo>
                  <a:lnTo>
                    <a:pt x="921" y="28"/>
                  </a:lnTo>
                  <a:lnTo>
                    <a:pt x="972" y="42"/>
                  </a:lnTo>
                  <a:lnTo>
                    <a:pt x="1018" y="60"/>
                  </a:lnTo>
                  <a:lnTo>
                    <a:pt x="1061" y="81"/>
                  </a:lnTo>
                  <a:lnTo>
                    <a:pt x="1100" y="104"/>
                  </a:lnTo>
                  <a:lnTo>
                    <a:pt x="1135" y="131"/>
                  </a:lnTo>
                  <a:lnTo>
                    <a:pt x="1167" y="159"/>
                  </a:lnTo>
                  <a:lnTo>
                    <a:pt x="1197" y="190"/>
                  </a:lnTo>
                  <a:lnTo>
                    <a:pt x="1223" y="223"/>
                  </a:lnTo>
                  <a:lnTo>
                    <a:pt x="1247" y="259"/>
                  </a:lnTo>
                  <a:lnTo>
                    <a:pt x="1267" y="297"/>
                  </a:lnTo>
                  <a:lnTo>
                    <a:pt x="1285" y="337"/>
                  </a:lnTo>
                  <a:lnTo>
                    <a:pt x="1301" y="379"/>
                  </a:lnTo>
                  <a:lnTo>
                    <a:pt x="1314" y="422"/>
                  </a:lnTo>
                  <a:lnTo>
                    <a:pt x="1325" y="468"/>
                  </a:lnTo>
                  <a:lnTo>
                    <a:pt x="1334" y="514"/>
                  </a:lnTo>
                  <a:lnTo>
                    <a:pt x="1341" y="563"/>
                  </a:lnTo>
                  <a:lnTo>
                    <a:pt x="1348" y="613"/>
                  </a:lnTo>
                  <a:lnTo>
                    <a:pt x="1352" y="664"/>
                  </a:lnTo>
                  <a:lnTo>
                    <a:pt x="1355" y="716"/>
                  </a:lnTo>
                  <a:lnTo>
                    <a:pt x="1357" y="769"/>
                  </a:lnTo>
                  <a:lnTo>
                    <a:pt x="1357" y="823"/>
                  </a:lnTo>
                  <a:lnTo>
                    <a:pt x="1354" y="898"/>
                  </a:lnTo>
                  <a:lnTo>
                    <a:pt x="1346" y="971"/>
                  </a:lnTo>
                  <a:lnTo>
                    <a:pt x="1332" y="1042"/>
                  </a:lnTo>
                  <a:lnTo>
                    <a:pt x="1315" y="1111"/>
                  </a:lnTo>
                  <a:lnTo>
                    <a:pt x="1291" y="1176"/>
                  </a:lnTo>
                  <a:lnTo>
                    <a:pt x="1264" y="1239"/>
                  </a:lnTo>
                  <a:lnTo>
                    <a:pt x="1233" y="1298"/>
                  </a:lnTo>
                  <a:lnTo>
                    <a:pt x="1198" y="1354"/>
                  </a:lnTo>
                  <a:lnTo>
                    <a:pt x="1159" y="1406"/>
                  </a:lnTo>
                  <a:lnTo>
                    <a:pt x="1116" y="1453"/>
                  </a:lnTo>
                  <a:lnTo>
                    <a:pt x="1070" y="1496"/>
                  </a:lnTo>
                  <a:lnTo>
                    <a:pt x="1021" y="1535"/>
                  </a:lnTo>
                  <a:lnTo>
                    <a:pt x="970" y="1567"/>
                  </a:lnTo>
                  <a:lnTo>
                    <a:pt x="916" y="1595"/>
                  </a:lnTo>
                  <a:lnTo>
                    <a:pt x="859" y="1617"/>
                  </a:lnTo>
                  <a:lnTo>
                    <a:pt x="800" y="1634"/>
                  </a:lnTo>
                  <a:lnTo>
                    <a:pt x="740" y="1644"/>
                  </a:lnTo>
                  <a:lnTo>
                    <a:pt x="678" y="1647"/>
                  </a:lnTo>
                  <a:lnTo>
                    <a:pt x="617" y="1644"/>
                  </a:lnTo>
                  <a:lnTo>
                    <a:pt x="557" y="1634"/>
                  </a:lnTo>
                  <a:lnTo>
                    <a:pt x="498" y="1617"/>
                  </a:lnTo>
                  <a:lnTo>
                    <a:pt x="442" y="1595"/>
                  </a:lnTo>
                  <a:lnTo>
                    <a:pt x="388" y="1567"/>
                  </a:lnTo>
                  <a:lnTo>
                    <a:pt x="336" y="1535"/>
                  </a:lnTo>
                  <a:lnTo>
                    <a:pt x="288" y="1496"/>
                  </a:lnTo>
                  <a:lnTo>
                    <a:pt x="242" y="1453"/>
                  </a:lnTo>
                  <a:lnTo>
                    <a:pt x="199" y="1406"/>
                  </a:lnTo>
                  <a:lnTo>
                    <a:pt x="160" y="1354"/>
                  </a:lnTo>
                  <a:lnTo>
                    <a:pt x="125" y="1298"/>
                  </a:lnTo>
                  <a:lnTo>
                    <a:pt x="93" y="1239"/>
                  </a:lnTo>
                  <a:lnTo>
                    <a:pt x="66" y="1176"/>
                  </a:lnTo>
                  <a:lnTo>
                    <a:pt x="43" y="1111"/>
                  </a:lnTo>
                  <a:lnTo>
                    <a:pt x="25" y="1042"/>
                  </a:lnTo>
                  <a:lnTo>
                    <a:pt x="11" y="971"/>
                  </a:lnTo>
                  <a:lnTo>
                    <a:pt x="3" y="898"/>
                  </a:lnTo>
                  <a:lnTo>
                    <a:pt x="0" y="823"/>
                  </a:lnTo>
                  <a:lnTo>
                    <a:pt x="1" y="769"/>
                  </a:lnTo>
                  <a:lnTo>
                    <a:pt x="3" y="716"/>
                  </a:lnTo>
                  <a:lnTo>
                    <a:pt x="5" y="664"/>
                  </a:lnTo>
                  <a:lnTo>
                    <a:pt x="9" y="613"/>
                  </a:lnTo>
                  <a:lnTo>
                    <a:pt x="16" y="563"/>
                  </a:lnTo>
                  <a:lnTo>
                    <a:pt x="23" y="514"/>
                  </a:lnTo>
                  <a:lnTo>
                    <a:pt x="33" y="468"/>
                  </a:lnTo>
                  <a:lnTo>
                    <a:pt x="44" y="422"/>
                  </a:lnTo>
                  <a:lnTo>
                    <a:pt x="57" y="379"/>
                  </a:lnTo>
                  <a:lnTo>
                    <a:pt x="73" y="337"/>
                  </a:lnTo>
                  <a:lnTo>
                    <a:pt x="91" y="297"/>
                  </a:lnTo>
                  <a:lnTo>
                    <a:pt x="111" y="259"/>
                  </a:lnTo>
                  <a:lnTo>
                    <a:pt x="135" y="223"/>
                  </a:lnTo>
                  <a:lnTo>
                    <a:pt x="161" y="190"/>
                  </a:lnTo>
                  <a:lnTo>
                    <a:pt x="190" y="159"/>
                  </a:lnTo>
                  <a:lnTo>
                    <a:pt x="223" y="131"/>
                  </a:lnTo>
                  <a:lnTo>
                    <a:pt x="258" y="104"/>
                  </a:lnTo>
                  <a:lnTo>
                    <a:pt x="297" y="81"/>
                  </a:lnTo>
                  <a:lnTo>
                    <a:pt x="340" y="60"/>
                  </a:lnTo>
                  <a:lnTo>
                    <a:pt x="386" y="42"/>
                  </a:lnTo>
                  <a:lnTo>
                    <a:pt x="436" y="28"/>
                  </a:lnTo>
                  <a:lnTo>
                    <a:pt x="490" y="15"/>
                  </a:lnTo>
                  <a:lnTo>
                    <a:pt x="549" y="7"/>
                  </a:lnTo>
                  <a:lnTo>
                    <a:pt x="612" y="2"/>
                  </a:lnTo>
                  <a:lnTo>
                    <a:pt x="67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03" name="Freeform 72"/>
            <p:cNvSpPr>
              <a:spLocks/>
            </p:cNvSpPr>
            <p:nvPr/>
          </p:nvSpPr>
          <p:spPr bwMode="auto">
            <a:xfrm>
              <a:off x="1951038" y="5827713"/>
              <a:ext cx="581025" cy="376237"/>
            </a:xfrm>
            <a:custGeom>
              <a:avLst/>
              <a:gdLst>
                <a:gd name="T0" fmla="*/ 916 w 2562"/>
                <a:gd name="T1" fmla="*/ 7 h 1657"/>
                <a:gd name="T2" fmla="*/ 948 w 2562"/>
                <a:gd name="T3" fmla="*/ 37 h 1657"/>
                <a:gd name="T4" fmla="*/ 1011 w 2562"/>
                <a:gd name="T5" fmla="*/ 78 h 1657"/>
                <a:gd name="T6" fmla="*/ 1103 w 2562"/>
                <a:gd name="T7" fmla="*/ 117 h 1657"/>
                <a:gd name="T8" fmla="*/ 1231 w 2562"/>
                <a:gd name="T9" fmla="*/ 140 h 1657"/>
                <a:gd name="T10" fmla="*/ 1377 w 2562"/>
                <a:gd name="T11" fmla="*/ 135 h 1657"/>
                <a:gd name="T12" fmla="*/ 1492 w 2562"/>
                <a:gd name="T13" fmla="*/ 105 h 1657"/>
                <a:gd name="T14" fmla="*/ 1576 w 2562"/>
                <a:gd name="T15" fmla="*/ 63 h 1657"/>
                <a:gd name="T16" fmla="*/ 1628 w 2562"/>
                <a:gd name="T17" fmla="*/ 25 h 1657"/>
                <a:gd name="T18" fmla="*/ 1650 w 2562"/>
                <a:gd name="T19" fmla="*/ 2 h 1657"/>
                <a:gd name="T20" fmla="*/ 1836 w 2562"/>
                <a:gd name="T21" fmla="*/ 38 h 1657"/>
                <a:gd name="T22" fmla="*/ 2063 w 2562"/>
                <a:gd name="T23" fmla="*/ 104 h 1657"/>
                <a:gd name="T24" fmla="*/ 2236 w 2562"/>
                <a:gd name="T25" fmla="*/ 188 h 1657"/>
                <a:gd name="T26" fmla="*/ 2365 w 2562"/>
                <a:gd name="T27" fmla="*/ 295 h 1657"/>
                <a:gd name="T28" fmla="*/ 2454 w 2562"/>
                <a:gd name="T29" fmla="*/ 431 h 1657"/>
                <a:gd name="T30" fmla="*/ 2511 w 2562"/>
                <a:gd name="T31" fmla="*/ 600 h 1657"/>
                <a:gd name="T32" fmla="*/ 2544 w 2562"/>
                <a:gd name="T33" fmla="*/ 809 h 1657"/>
                <a:gd name="T34" fmla="*/ 2558 w 2562"/>
                <a:gd name="T35" fmla="*/ 1064 h 1657"/>
                <a:gd name="T36" fmla="*/ 2561 w 2562"/>
                <a:gd name="T37" fmla="*/ 1198 h 1657"/>
                <a:gd name="T38" fmla="*/ 2561 w 2562"/>
                <a:gd name="T39" fmla="*/ 1216 h 1657"/>
                <a:gd name="T40" fmla="*/ 2562 w 2562"/>
                <a:gd name="T41" fmla="*/ 1252 h 1657"/>
                <a:gd name="T42" fmla="*/ 2559 w 2562"/>
                <a:gd name="T43" fmla="*/ 1282 h 1657"/>
                <a:gd name="T44" fmla="*/ 2544 w 2562"/>
                <a:gd name="T45" fmla="*/ 1304 h 1657"/>
                <a:gd name="T46" fmla="*/ 2512 w 2562"/>
                <a:gd name="T47" fmla="*/ 1340 h 1657"/>
                <a:gd name="T48" fmla="*/ 2458 w 2562"/>
                <a:gd name="T49" fmla="*/ 1387 h 1657"/>
                <a:gd name="T50" fmla="*/ 2380 w 2562"/>
                <a:gd name="T51" fmla="*/ 1440 h 1657"/>
                <a:gd name="T52" fmla="*/ 2273 w 2562"/>
                <a:gd name="T53" fmla="*/ 1495 h 1657"/>
                <a:gd name="T54" fmla="*/ 2134 w 2562"/>
                <a:gd name="T55" fmla="*/ 1548 h 1657"/>
                <a:gd name="T56" fmla="*/ 1958 w 2562"/>
                <a:gd name="T57" fmla="*/ 1594 h 1657"/>
                <a:gd name="T58" fmla="*/ 1741 w 2562"/>
                <a:gd name="T59" fmla="*/ 1630 h 1657"/>
                <a:gd name="T60" fmla="*/ 1481 w 2562"/>
                <a:gd name="T61" fmla="*/ 1653 h 1657"/>
                <a:gd name="T62" fmla="*/ 1178 w 2562"/>
                <a:gd name="T63" fmla="*/ 1656 h 1657"/>
                <a:gd name="T64" fmla="*/ 901 w 2562"/>
                <a:gd name="T65" fmla="*/ 1640 h 1657"/>
                <a:gd name="T66" fmla="*/ 671 w 2562"/>
                <a:gd name="T67" fmla="*/ 1608 h 1657"/>
                <a:gd name="T68" fmla="*/ 482 w 2562"/>
                <a:gd name="T69" fmla="*/ 1564 h 1657"/>
                <a:gd name="T70" fmla="*/ 331 w 2562"/>
                <a:gd name="T71" fmla="*/ 1512 h 1657"/>
                <a:gd name="T72" fmla="*/ 213 w 2562"/>
                <a:gd name="T73" fmla="*/ 1458 h 1657"/>
                <a:gd name="T74" fmla="*/ 127 w 2562"/>
                <a:gd name="T75" fmla="*/ 1404 h 1657"/>
                <a:gd name="T76" fmla="*/ 65 w 2562"/>
                <a:gd name="T77" fmla="*/ 1355 h 1657"/>
                <a:gd name="T78" fmla="*/ 27 w 2562"/>
                <a:gd name="T79" fmla="*/ 1314 h 1657"/>
                <a:gd name="T80" fmla="*/ 6 w 2562"/>
                <a:gd name="T81" fmla="*/ 1287 h 1657"/>
                <a:gd name="T82" fmla="*/ 0 w 2562"/>
                <a:gd name="T83" fmla="*/ 1277 h 1657"/>
                <a:gd name="T84" fmla="*/ 0 w 2562"/>
                <a:gd name="T85" fmla="*/ 1206 h 1657"/>
                <a:gd name="T86" fmla="*/ 0 w 2562"/>
                <a:gd name="T87" fmla="*/ 1197 h 1657"/>
                <a:gd name="T88" fmla="*/ 1 w 2562"/>
                <a:gd name="T89" fmla="*/ 1175 h 1657"/>
                <a:gd name="T90" fmla="*/ 4 w 2562"/>
                <a:gd name="T91" fmla="*/ 1042 h 1657"/>
                <a:gd name="T92" fmla="*/ 19 w 2562"/>
                <a:gd name="T93" fmla="*/ 793 h 1657"/>
                <a:gd name="T94" fmla="*/ 53 w 2562"/>
                <a:gd name="T95" fmla="*/ 589 h 1657"/>
                <a:gd name="T96" fmla="*/ 111 w 2562"/>
                <a:gd name="T97" fmla="*/ 422 h 1657"/>
                <a:gd name="T98" fmla="*/ 201 w 2562"/>
                <a:gd name="T99" fmla="*/ 291 h 1657"/>
                <a:gd name="T100" fmla="*/ 330 w 2562"/>
                <a:gd name="T101" fmla="*/ 186 h 1657"/>
                <a:gd name="T102" fmla="*/ 502 w 2562"/>
                <a:gd name="T103" fmla="*/ 103 h 1657"/>
                <a:gd name="T104" fmla="*/ 728 w 2562"/>
                <a:gd name="T105" fmla="*/ 37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62" h="1657">
                  <a:moveTo>
                    <a:pt x="909" y="0"/>
                  </a:moveTo>
                  <a:lnTo>
                    <a:pt x="910" y="2"/>
                  </a:lnTo>
                  <a:lnTo>
                    <a:pt x="916" y="7"/>
                  </a:lnTo>
                  <a:lnTo>
                    <a:pt x="923" y="14"/>
                  </a:lnTo>
                  <a:lnTo>
                    <a:pt x="934" y="25"/>
                  </a:lnTo>
                  <a:lnTo>
                    <a:pt x="948" y="37"/>
                  </a:lnTo>
                  <a:lnTo>
                    <a:pt x="966" y="50"/>
                  </a:lnTo>
                  <a:lnTo>
                    <a:pt x="986" y="63"/>
                  </a:lnTo>
                  <a:lnTo>
                    <a:pt x="1011" y="78"/>
                  </a:lnTo>
                  <a:lnTo>
                    <a:pt x="1038" y="92"/>
                  </a:lnTo>
                  <a:lnTo>
                    <a:pt x="1069" y="105"/>
                  </a:lnTo>
                  <a:lnTo>
                    <a:pt x="1103" y="117"/>
                  </a:lnTo>
                  <a:lnTo>
                    <a:pt x="1142" y="128"/>
                  </a:lnTo>
                  <a:lnTo>
                    <a:pt x="1185" y="135"/>
                  </a:lnTo>
                  <a:lnTo>
                    <a:pt x="1231" y="140"/>
                  </a:lnTo>
                  <a:lnTo>
                    <a:pt x="1280" y="142"/>
                  </a:lnTo>
                  <a:lnTo>
                    <a:pt x="1331" y="140"/>
                  </a:lnTo>
                  <a:lnTo>
                    <a:pt x="1377" y="135"/>
                  </a:lnTo>
                  <a:lnTo>
                    <a:pt x="1419" y="128"/>
                  </a:lnTo>
                  <a:lnTo>
                    <a:pt x="1458" y="117"/>
                  </a:lnTo>
                  <a:lnTo>
                    <a:pt x="1492" y="105"/>
                  </a:lnTo>
                  <a:lnTo>
                    <a:pt x="1524" y="92"/>
                  </a:lnTo>
                  <a:lnTo>
                    <a:pt x="1551" y="78"/>
                  </a:lnTo>
                  <a:lnTo>
                    <a:pt x="1576" y="63"/>
                  </a:lnTo>
                  <a:lnTo>
                    <a:pt x="1596" y="50"/>
                  </a:lnTo>
                  <a:lnTo>
                    <a:pt x="1614" y="37"/>
                  </a:lnTo>
                  <a:lnTo>
                    <a:pt x="1628" y="25"/>
                  </a:lnTo>
                  <a:lnTo>
                    <a:pt x="1638" y="14"/>
                  </a:lnTo>
                  <a:lnTo>
                    <a:pt x="1646" y="7"/>
                  </a:lnTo>
                  <a:lnTo>
                    <a:pt x="1650" y="2"/>
                  </a:lnTo>
                  <a:lnTo>
                    <a:pt x="1653" y="0"/>
                  </a:lnTo>
                  <a:lnTo>
                    <a:pt x="1747" y="18"/>
                  </a:lnTo>
                  <a:lnTo>
                    <a:pt x="1836" y="38"/>
                  </a:lnTo>
                  <a:lnTo>
                    <a:pt x="1918" y="58"/>
                  </a:lnTo>
                  <a:lnTo>
                    <a:pt x="1993" y="81"/>
                  </a:lnTo>
                  <a:lnTo>
                    <a:pt x="2063" y="104"/>
                  </a:lnTo>
                  <a:lnTo>
                    <a:pt x="2126" y="130"/>
                  </a:lnTo>
                  <a:lnTo>
                    <a:pt x="2184" y="158"/>
                  </a:lnTo>
                  <a:lnTo>
                    <a:pt x="2236" y="188"/>
                  </a:lnTo>
                  <a:lnTo>
                    <a:pt x="2284" y="221"/>
                  </a:lnTo>
                  <a:lnTo>
                    <a:pt x="2327" y="256"/>
                  </a:lnTo>
                  <a:lnTo>
                    <a:pt x="2365" y="295"/>
                  </a:lnTo>
                  <a:lnTo>
                    <a:pt x="2399" y="337"/>
                  </a:lnTo>
                  <a:lnTo>
                    <a:pt x="2428" y="382"/>
                  </a:lnTo>
                  <a:lnTo>
                    <a:pt x="2454" y="431"/>
                  </a:lnTo>
                  <a:lnTo>
                    <a:pt x="2476" y="483"/>
                  </a:lnTo>
                  <a:lnTo>
                    <a:pt x="2496" y="540"/>
                  </a:lnTo>
                  <a:lnTo>
                    <a:pt x="2511" y="600"/>
                  </a:lnTo>
                  <a:lnTo>
                    <a:pt x="2524" y="665"/>
                  </a:lnTo>
                  <a:lnTo>
                    <a:pt x="2535" y="735"/>
                  </a:lnTo>
                  <a:lnTo>
                    <a:pt x="2544" y="809"/>
                  </a:lnTo>
                  <a:lnTo>
                    <a:pt x="2550" y="889"/>
                  </a:lnTo>
                  <a:lnTo>
                    <a:pt x="2555" y="974"/>
                  </a:lnTo>
                  <a:lnTo>
                    <a:pt x="2558" y="1064"/>
                  </a:lnTo>
                  <a:lnTo>
                    <a:pt x="2560" y="1160"/>
                  </a:lnTo>
                  <a:lnTo>
                    <a:pt x="2561" y="1183"/>
                  </a:lnTo>
                  <a:lnTo>
                    <a:pt x="2561" y="1198"/>
                  </a:lnTo>
                  <a:lnTo>
                    <a:pt x="2561" y="1209"/>
                  </a:lnTo>
                  <a:lnTo>
                    <a:pt x="2561" y="1214"/>
                  </a:lnTo>
                  <a:lnTo>
                    <a:pt x="2561" y="1216"/>
                  </a:lnTo>
                  <a:lnTo>
                    <a:pt x="2562" y="1215"/>
                  </a:lnTo>
                  <a:lnTo>
                    <a:pt x="2562" y="1232"/>
                  </a:lnTo>
                  <a:lnTo>
                    <a:pt x="2562" y="1252"/>
                  </a:lnTo>
                  <a:lnTo>
                    <a:pt x="2562" y="1277"/>
                  </a:lnTo>
                  <a:lnTo>
                    <a:pt x="2561" y="1278"/>
                  </a:lnTo>
                  <a:lnTo>
                    <a:pt x="2559" y="1282"/>
                  </a:lnTo>
                  <a:lnTo>
                    <a:pt x="2556" y="1287"/>
                  </a:lnTo>
                  <a:lnTo>
                    <a:pt x="2551" y="1295"/>
                  </a:lnTo>
                  <a:lnTo>
                    <a:pt x="2544" y="1304"/>
                  </a:lnTo>
                  <a:lnTo>
                    <a:pt x="2535" y="1314"/>
                  </a:lnTo>
                  <a:lnTo>
                    <a:pt x="2524" y="1326"/>
                  </a:lnTo>
                  <a:lnTo>
                    <a:pt x="2512" y="1340"/>
                  </a:lnTo>
                  <a:lnTo>
                    <a:pt x="2497" y="1355"/>
                  </a:lnTo>
                  <a:lnTo>
                    <a:pt x="2478" y="1370"/>
                  </a:lnTo>
                  <a:lnTo>
                    <a:pt x="2458" y="1387"/>
                  </a:lnTo>
                  <a:lnTo>
                    <a:pt x="2435" y="1404"/>
                  </a:lnTo>
                  <a:lnTo>
                    <a:pt x="2409" y="1421"/>
                  </a:lnTo>
                  <a:lnTo>
                    <a:pt x="2380" y="1440"/>
                  </a:lnTo>
                  <a:lnTo>
                    <a:pt x="2348" y="1458"/>
                  </a:lnTo>
                  <a:lnTo>
                    <a:pt x="2313" y="1476"/>
                  </a:lnTo>
                  <a:lnTo>
                    <a:pt x="2273" y="1495"/>
                  </a:lnTo>
                  <a:lnTo>
                    <a:pt x="2231" y="1512"/>
                  </a:lnTo>
                  <a:lnTo>
                    <a:pt x="2184" y="1530"/>
                  </a:lnTo>
                  <a:lnTo>
                    <a:pt x="2134" y="1548"/>
                  </a:lnTo>
                  <a:lnTo>
                    <a:pt x="2079" y="1564"/>
                  </a:lnTo>
                  <a:lnTo>
                    <a:pt x="2021" y="1579"/>
                  </a:lnTo>
                  <a:lnTo>
                    <a:pt x="1958" y="1594"/>
                  </a:lnTo>
                  <a:lnTo>
                    <a:pt x="1890" y="1608"/>
                  </a:lnTo>
                  <a:lnTo>
                    <a:pt x="1819" y="1620"/>
                  </a:lnTo>
                  <a:lnTo>
                    <a:pt x="1741" y="1630"/>
                  </a:lnTo>
                  <a:lnTo>
                    <a:pt x="1660" y="1640"/>
                  </a:lnTo>
                  <a:lnTo>
                    <a:pt x="1573" y="1647"/>
                  </a:lnTo>
                  <a:lnTo>
                    <a:pt x="1481" y="1653"/>
                  </a:lnTo>
                  <a:lnTo>
                    <a:pt x="1384" y="1656"/>
                  </a:lnTo>
                  <a:lnTo>
                    <a:pt x="1280" y="1657"/>
                  </a:lnTo>
                  <a:lnTo>
                    <a:pt x="1178" y="1656"/>
                  </a:lnTo>
                  <a:lnTo>
                    <a:pt x="1081" y="1653"/>
                  </a:lnTo>
                  <a:lnTo>
                    <a:pt x="988" y="1647"/>
                  </a:lnTo>
                  <a:lnTo>
                    <a:pt x="901" y="1640"/>
                  </a:lnTo>
                  <a:lnTo>
                    <a:pt x="820" y="1630"/>
                  </a:lnTo>
                  <a:lnTo>
                    <a:pt x="743" y="1620"/>
                  </a:lnTo>
                  <a:lnTo>
                    <a:pt x="671" y="1608"/>
                  </a:lnTo>
                  <a:lnTo>
                    <a:pt x="603" y="1594"/>
                  </a:lnTo>
                  <a:lnTo>
                    <a:pt x="541" y="1579"/>
                  </a:lnTo>
                  <a:lnTo>
                    <a:pt x="482" y="1564"/>
                  </a:lnTo>
                  <a:lnTo>
                    <a:pt x="428" y="1548"/>
                  </a:lnTo>
                  <a:lnTo>
                    <a:pt x="378" y="1530"/>
                  </a:lnTo>
                  <a:lnTo>
                    <a:pt x="331" y="1512"/>
                  </a:lnTo>
                  <a:lnTo>
                    <a:pt x="288" y="1495"/>
                  </a:lnTo>
                  <a:lnTo>
                    <a:pt x="249" y="1476"/>
                  </a:lnTo>
                  <a:lnTo>
                    <a:pt x="213" y="1458"/>
                  </a:lnTo>
                  <a:lnTo>
                    <a:pt x="182" y="1440"/>
                  </a:lnTo>
                  <a:lnTo>
                    <a:pt x="152" y="1421"/>
                  </a:lnTo>
                  <a:lnTo>
                    <a:pt x="127" y="1404"/>
                  </a:lnTo>
                  <a:lnTo>
                    <a:pt x="103" y="1387"/>
                  </a:lnTo>
                  <a:lnTo>
                    <a:pt x="83" y="1370"/>
                  </a:lnTo>
                  <a:lnTo>
                    <a:pt x="65" y="1355"/>
                  </a:lnTo>
                  <a:lnTo>
                    <a:pt x="50" y="1340"/>
                  </a:lnTo>
                  <a:lnTo>
                    <a:pt x="37" y="1326"/>
                  </a:lnTo>
                  <a:lnTo>
                    <a:pt x="27" y="1314"/>
                  </a:lnTo>
                  <a:lnTo>
                    <a:pt x="17" y="1304"/>
                  </a:lnTo>
                  <a:lnTo>
                    <a:pt x="11" y="1295"/>
                  </a:lnTo>
                  <a:lnTo>
                    <a:pt x="6" y="1287"/>
                  </a:lnTo>
                  <a:lnTo>
                    <a:pt x="3" y="1282"/>
                  </a:lnTo>
                  <a:lnTo>
                    <a:pt x="1" y="1278"/>
                  </a:lnTo>
                  <a:lnTo>
                    <a:pt x="0" y="1277"/>
                  </a:lnTo>
                  <a:lnTo>
                    <a:pt x="0" y="1247"/>
                  </a:lnTo>
                  <a:lnTo>
                    <a:pt x="0" y="1224"/>
                  </a:lnTo>
                  <a:lnTo>
                    <a:pt x="0" y="1206"/>
                  </a:lnTo>
                  <a:lnTo>
                    <a:pt x="0" y="1194"/>
                  </a:lnTo>
                  <a:lnTo>
                    <a:pt x="0" y="1196"/>
                  </a:lnTo>
                  <a:lnTo>
                    <a:pt x="0" y="1197"/>
                  </a:lnTo>
                  <a:lnTo>
                    <a:pt x="0" y="1194"/>
                  </a:lnTo>
                  <a:lnTo>
                    <a:pt x="1" y="1187"/>
                  </a:lnTo>
                  <a:lnTo>
                    <a:pt x="1" y="1175"/>
                  </a:lnTo>
                  <a:lnTo>
                    <a:pt x="1" y="1158"/>
                  </a:lnTo>
                  <a:lnTo>
                    <a:pt x="2" y="1135"/>
                  </a:lnTo>
                  <a:lnTo>
                    <a:pt x="4" y="1042"/>
                  </a:lnTo>
                  <a:lnTo>
                    <a:pt x="8" y="953"/>
                  </a:lnTo>
                  <a:lnTo>
                    <a:pt x="13" y="870"/>
                  </a:lnTo>
                  <a:lnTo>
                    <a:pt x="19" y="793"/>
                  </a:lnTo>
                  <a:lnTo>
                    <a:pt x="29" y="720"/>
                  </a:lnTo>
                  <a:lnTo>
                    <a:pt x="40" y="652"/>
                  </a:lnTo>
                  <a:lnTo>
                    <a:pt x="53" y="589"/>
                  </a:lnTo>
                  <a:lnTo>
                    <a:pt x="69" y="530"/>
                  </a:lnTo>
                  <a:lnTo>
                    <a:pt x="89" y="474"/>
                  </a:lnTo>
                  <a:lnTo>
                    <a:pt x="111" y="422"/>
                  </a:lnTo>
                  <a:lnTo>
                    <a:pt x="138" y="375"/>
                  </a:lnTo>
                  <a:lnTo>
                    <a:pt x="167" y="332"/>
                  </a:lnTo>
                  <a:lnTo>
                    <a:pt x="201" y="291"/>
                  </a:lnTo>
                  <a:lnTo>
                    <a:pt x="239" y="253"/>
                  </a:lnTo>
                  <a:lnTo>
                    <a:pt x="282" y="217"/>
                  </a:lnTo>
                  <a:lnTo>
                    <a:pt x="330" y="186"/>
                  </a:lnTo>
                  <a:lnTo>
                    <a:pt x="382" y="156"/>
                  </a:lnTo>
                  <a:lnTo>
                    <a:pt x="439" y="129"/>
                  </a:lnTo>
                  <a:lnTo>
                    <a:pt x="502" y="103"/>
                  </a:lnTo>
                  <a:lnTo>
                    <a:pt x="572" y="80"/>
                  </a:lnTo>
                  <a:lnTo>
                    <a:pt x="646" y="57"/>
                  </a:lnTo>
                  <a:lnTo>
                    <a:pt x="728" y="37"/>
                  </a:lnTo>
                  <a:lnTo>
                    <a:pt x="815" y="18"/>
                  </a:lnTo>
                  <a:lnTo>
                    <a:pt x="9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sp>
        <p:nvSpPr>
          <p:cNvPr id="104" name="Freeform 6"/>
          <p:cNvSpPr>
            <a:spLocks noEditPoints="1"/>
          </p:cNvSpPr>
          <p:nvPr/>
        </p:nvSpPr>
        <p:spPr bwMode="auto">
          <a:xfrm>
            <a:off x="2016256" y="3451297"/>
            <a:ext cx="413907" cy="541339"/>
          </a:xfrm>
          <a:custGeom>
            <a:avLst/>
            <a:gdLst>
              <a:gd name="T0" fmla="*/ 1822 w 2514"/>
              <a:gd name="T1" fmla="*/ 1843 h 3289"/>
              <a:gd name="T2" fmla="*/ 1788 w 2514"/>
              <a:gd name="T3" fmla="*/ 1900 h 3289"/>
              <a:gd name="T4" fmla="*/ 1693 w 2514"/>
              <a:gd name="T5" fmla="*/ 1994 h 3289"/>
              <a:gd name="T6" fmla="*/ 1793 w 2514"/>
              <a:gd name="T7" fmla="*/ 2040 h 3289"/>
              <a:gd name="T8" fmla="*/ 1825 w 2514"/>
              <a:gd name="T9" fmla="*/ 2088 h 3289"/>
              <a:gd name="T10" fmla="*/ 1870 w 2514"/>
              <a:gd name="T11" fmla="*/ 2095 h 3289"/>
              <a:gd name="T12" fmla="*/ 1909 w 2514"/>
              <a:gd name="T13" fmla="*/ 2059 h 3289"/>
              <a:gd name="T14" fmla="*/ 1930 w 2514"/>
              <a:gd name="T15" fmla="*/ 1991 h 3289"/>
              <a:gd name="T16" fmla="*/ 1926 w 2514"/>
              <a:gd name="T17" fmla="*/ 1912 h 3289"/>
              <a:gd name="T18" fmla="*/ 1898 w 2514"/>
              <a:gd name="T19" fmla="*/ 1853 h 3289"/>
              <a:gd name="T20" fmla="*/ 1855 w 2514"/>
              <a:gd name="T21" fmla="*/ 1829 h 3289"/>
              <a:gd name="T22" fmla="*/ 517 w 2514"/>
              <a:gd name="T23" fmla="*/ 1711 h 3289"/>
              <a:gd name="T24" fmla="*/ 488 w 2514"/>
              <a:gd name="T25" fmla="*/ 1805 h 3289"/>
              <a:gd name="T26" fmla="*/ 500 w 2514"/>
              <a:gd name="T27" fmla="*/ 1902 h 3289"/>
              <a:gd name="T28" fmla="*/ 555 w 2514"/>
              <a:gd name="T29" fmla="*/ 1988 h 3289"/>
              <a:gd name="T30" fmla="*/ 584 w 2514"/>
              <a:gd name="T31" fmla="*/ 2679 h 3289"/>
              <a:gd name="T32" fmla="*/ 562 w 2514"/>
              <a:gd name="T33" fmla="*/ 2732 h 3289"/>
              <a:gd name="T34" fmla="*/ 506 w 2514"/>
              <a:gd name="T35" fmla="*/ 2755 h 3289"/>
              <a:gd name="T36" fmla="*/ 452 w 2514"/>
              <a:gd name="T37" fmla="*/ 2732 h 3289"/>
              <a:gd name="T38" fmla="*/ 430 w 2514"/>
              <a:gd name="T39" fmla="*/ 2679 h 3289"/>
              <a:gd name="T40" fmla="*/ 684 w 2514"/>
              <a:gd name="T41" fmla="*/ 985 h 3289"/>
              <a:gd name="T42" fmla="*/ 731 w 2514"/>
              <a:gd name="T43" fmla="*/ 1008 h 3289"/>
              <a:gd name="T44" fmla="*/ 1126 w 2514"/>
              <a:gd name="T45" fmla="*/ 1410 h 3289"/>
              <a:gd name="T46" fmla="*/ 1126 w 2514"/>
              <a:gd name="T47" fmla="*/ 1460 h 3289"/>
              <a:gd name="T48" fmla="*/ 731 w 2514"/>
              <a:gd name="T49" fmla="*/ 1863 h 3289"/>
              <a:gd name="T50" fmla="*/ 675 w 2514"/>
              <a:gd name="T51" fmla="*/ 1886 h 3289"/>
              <a:gd name="T52" fmla="*/ 632 w 2514"/>
              <a:gd name="T53" fmla="*/ 1873 h 3289"/>
              <a:gd name="T54" fmla="*/ 601 w 2514"/>
              <a:gd name="T55" fmla="*/ 1833 h 3289"/>
              <a:gd name="T56" fmla="*/ 601 w 2514"/>
              <a:gd name="T57" fmla="*/ 1783 h 3289"/>
              <a:gd name="T58" fmla="*/ 862 w 2514"/>
              <a:gd name="T59" fmla="*/ 1513 h 3289"/>
              <a:gd name="T60" fmla="*/ 39 w 2514"/>
              <a:gd name="T61" fmla="*/ 1503 h 3289"/>
              <a:gd name="T62" fmla="*/ 2 w 2514"/>
              <a:gd name="T63" fmla="*/ 1456 h 3289"/>
              <a:gd name="T64" fmla="*/ 10 w 2514"/>
              <a:gd name="T65" fmla="*/ 1396 h 3289"/>
              <a:gd name="T66" fmla="*/ 57 w 2514"/>
              <a:gd name="T67" fmla="*/ 1361 h 3289"/>
              <a:gd name="T68" fmla="*/ 620 w 2514"/>
              <a:gd name="T69" fmla="*/ 1117 h 3289"/>
              <a:gd name="T70" fmla="*/ 598 w 2514"/>
              <a:gd name="T71" fmla="*/ 1071 h 3289"/>
              <a:gd name="T72" fmla="*/ 609 w 2514"/>
              <a:gd name="T73" fmla="*/ 1022 h 3289"/>
              <a:gd name="T74" fmla="*/ 650 w 2514"/>
              <a:gd name="T75" fmla="*/ 988 h 3289"/>
              <a:gd name="T76" fmla="*/ 2436 w 2514"/>
              <a:gd name="T77" fmla="*/ 0 h 3289"/>
              <a:gd name="T78" fmla="*/ 2492 w 2514"/>
              <a:gd name="T79" fmla="*/ 22 h 3289"/>
              <a:gd name="T80" fmla="*/ 2514 w 2514"/>
              <a:gd name="T81" fmla="*/ 76 h 3289"/>
              <a:gd name="T82" fmla="*/ 2503 w 2514"/>
              <a:gd name="T83" fmla="*/ 2717 h 3289"/>
              <a:gd name="T84" fmla="*/ 2457 w 2514"/>
              <a:gd name="T85" fmla="*/ 2752 h 3289"/>
              <a:gd name="T86" fmla="*/ 2399 w 2514"/>
              <a:gd name="T87" fmla="*/ 2746 h 3289"/>
              <a:gd name="T88" fmla="*/ 2364 w 2514"/>
              <a:gd name="T89" fmla="*/ 2703 h 3289"/>
              <a:gd name="T90" fmla="*/ 2360 w 2514"/>
              <a:gd name="T91" fmla="*/ 207 h 3289"/>
              <a:gd name="T92" fmla="*/ 584 w 2514"/>
              <a:gd name="T93" fmla="*/ 891 h 3289"/>
              <a:gd name="T94" fmla="*/ 535 w 2514"/>
              <a:gd name="T95" fmla="*/ 938 h 3289"/>
              <a:gd name="T96" fmla="*/ 494 w 2514"/>
              <a:gd name="T97" fmla="*/ 1018 h 3289"/>
              <a:gd name="T98" fmla="*/ 489 w 2514"/>
              <a:gd name="T99" fmla="*/ 1109 h 3289"/>
              <a:gd name="T100" fmla="*/ 519 w 2514"/>
              <a:gd name="T101" fmla="*/ 1195 h 3289"/>
              <a:gd name="T102" fmla="*/ 430 w 2514"/>
              <a:gd name="T103" fmla="*/ 76 h 3289"/>
              <a:gd name="T104" fmla="*/ 452 w 2514"/>
              <a:gd name="T105" fmla="*/ 22 h 3289"/>
              <a:gd name="T106" fmla="*/ 506 w 2514"/>
              <a:gd name="T107" fmla="*/ 0 h 3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14" h="3289">
                <a:moveTo>
                  <a:pt x="1855" y="1829"/>
                </a:moveTo>
                <a:lnTo>
                  <a:pt x="1838" y="1833"/>
                </a:lnTo>
                <a:lnTo>
                  <a:pt x="1822" y="1843"/>
                </a:lnTo>
                <a:lnTo>
                  <a:pt x="1809" y="1858"/>
                </a:lnTo>
                <a:lnTo>
                  <a:pt x="1797" y="1877"/>
                </a:lnTo>
                <a:lnTo>
                  <a:pt x="1788" y="1900"/>
                </a:lnTo>
                <a:lnTo>
                  <a:pt x="1781" y="1927"/>
                </a:lnTo>
                <a:lnTo>
                  <a:pt x="1693" y="1927"/>
                </a:lnTo>
                <a:lnTo>
                  <a:pt x="1693" y="1994"/>
                </a:lnTo>
                <a:lnTo>
                  <a:pt x="1780" y="1994"/>
                </a:lnTo>
                <a:lnTo>
                  <a:pt x="1786" y="2019"/>
                </a:lnTo>
                <a:lnTo>
                  <a:pt x="1793" y="2040"/>
                </a:lnTo>
                <a:lnTo>
                  <a:pt x="1802" y="2060"/>
                </a:lnTo>
                <a:lnTo>
                  <a:pt x="1813" y="2076"/>
                </a:lnTo>
                <a:lnTo>
                  <a:pt x="1825" y="2088"/>
                </a:lnTo>
                <a:lnTo>
                  <a:pt x="1840" y="2095"/>
                </a:lnTo>
                <a:lnTo>
                  <a:pt x="1855" y="2098"/>
                </a:lnTo>
                <a:lnTo>
                  <a:pt x="1870" y="2095"/>
                </a:lnTo>
                <a:lnTo>
                  <a:pt x="1885" y="2088"/>
                </a:lnTo>
                <a:lnTo>
                  <a:pt x="1898" y="2075"/>
                </a:lnTo>
                <a:lnTo>
                  <a:pt x="1909" y="2059"/>
                </a:lnTo>
                <a:lnTo>
                  <a:pt x="1919" y="2039"/>
                </a:lnTo>
                <a:lnTo>
                  <a:pt x="1926" y="2016"/>
                </a:lnTo>
                <a:lnTo>
                  <a:pt x="1930" y="1991"/>
                </a:lnTo>
                <a:lnTo>
                  <a:pt x="1932" y="1964"/>
                </a:lnTo>
                <a:lnTo>
                  <a:pt x="1930" y="1937"/>
                </a:lnTo>
                <a:lnTo>
                  <a:pt x="1926" y="1912"/>
                </a:lnTo>
                <a:lnTo>
                  <a:pt x="1919" y="1889"/>
                </a:lnTo>
                <a:lnTo>
                  <a:pt x="1909" y="1869"/>
                </a:lnTo>
                <a:lnTo>
                  <a:pt x="1898" y="1853"/>
                </a:lnTo>
                <a:lnTo>
                  <a:pt x="1885" y="1841"/>
                </a:lnTo>
                <a:lnTo>
                  <a:pt x="1870" y="1832"/>
                </a:lnTo>
                <a:lnTo>
                  <a:pt x="1855" y="1829"/>
                </a:lnTo>
                <a:close/>
                <a:moveTo>
                  <a:pt x="430" y="1682"/>
                </a:moveTo>
                <a:lnTo>
                  <a:pt x="536" y="1682"/>
                </a:lnTo>
                <a:lnTo>
                  <a:pt x="517" y="1711"/>
                </a:lnTo>
                <a:lnTo>
                  <a:pt x="502" y="1741"/>
                </a:lnTo>
                <a:lnTo>
                  <a:pt x="493" y="1773"/>
                </a:lnTo>
                <a:lnTo>
                  <a:pt x="488" y="1805"/>
                </a:lnTo>
                <a:lnTo>
                  <a:pt x="487" y="1838"/>
                </a:lnTo>
                <a:lnTo>
                  <a:pt x="491" y="1870"/>
                </a:lnTo>
                <a:lnTo>
                  <a:pt x="500" y="1902"/>
                </a:lnTo>
                <a:lnTo>
                  <a:pt x="514" y="1933"/>
                </a:lnTo>
                <a:lnTo>
                  <a:pt x="532" y="1961"/>
                </a:lnTo>
                <a:lnTo>
                  <a:pt x="555" y="1988"/>
                </a:lnTo>
                <a:lnTo>
                  <a:pt x="569" y="2001"/>
                </a:lnTo>
                <a:lnTo>
                  <a:pt x="584" y="2012"/>
                </a:lnTo>
                <a:lnTo>
                  <a:pt x="584" y="2679"/>
                </a:lnTo>
                <a:lnTo>
                  <a:pt x="581" y="2699"/>
                </a:lnTo>
                <a:lnTo>
                  <a:pt x="574" y="2717"/>
                </a:lnTo>
                <a:lnTo>
                  <a:pt x="562" y="2732"/>
                </a:lnTo>
                <a:lnTo>
                  <a:pt x="546" y="2745"/>
                </a:lnTo>
                <a:lnTo>
                  <a:pt x="527" y="2752"/>
                </a:lnTo>
                <a:lnTo>
                  <a:pt x="506" y="2755"/>
                </a:lnTo>
                <a:lnTo>
                  <a:pt x="486" y="2752"/>
                </a:lnTo>
                <a:lnTo>
                  <a:pt x="468" y="2745"/>
                </a:lnTo>
                <a:lnTo>
                  <a:pt x="452" y="2732"/>
                </a:lnTo>
                <a:lnTo>
                  <a:pt x="440" y="2717"/>
                </a:lnTo>
                <a:lnTo>
                  <a:pt x="433" y="2699"/>
                </a:lnTo>
                <a:lnTo>
                  <a:pt x="430" y="2679"/>
                </a:lnTo>
                <a:lnTo>
                  <a:pt x="430" y="1682"/>
                </a:lnTo>
                <a:close/>
                <a:moveTo>
                  <a:pt x="667" y="985"/>
                </a:moveTo>
                <a:lnTo>
                  <a:pt x="684" y="985"/>
                </a:lnTo>
                <a:lnTo>
                  <a:pt x="701" y="988"/>
                </a:lnTo>
                <a:lnTo>
                  <a:pt x="717" y="996"/>
                </a:lnTo>
                <a:lnTo>
                  <a:pt x="731" y="1008"/>
                </a:lnTo>
                <a:lnTo>
                  <a:pt x="1107" y="1380"/>
                </a:lnTo>
                <a:lnTo>
                  <a:pt x="1118" y="1394"/>
                </a:lnTo>
                <a:lnTo>
                  <a:pt x="1126" y="1410"/>
                </a:lnTo>
                <a:lnTo>
                  <a:pt x="1130" y="1427"/>
                </a:lnTo>
                <a:lnTo>
                  <a:pt x="1130" y="1444"/>
                </a:lnTo>
                <a:lnTo>
                  <a:pt x="1126" y="1460"/>
                </a:lnTo>
                <a:lnTo>
                  <a:pt x="1118" y="1476"/>
                </a:lnTo>
                <a:lnTo>
                  <a:pt x="1107" y="1491"/>
                </a:lnTo>
                <a:lnTo>
                  <a:pt x="731" y="1863"/>
                </a:lnTo>
                <a:lnTo>
                  <a:pt x="714" y="1876"/>
                </a:lnTo>
                <a:lnTo>
                  <a:pt x="696" y="1883"/>
                </a:lnTo>
                <a:lnTo>
                  <a:pt x="675" y="1886"/>
                </a:lnTo>
                <a:lnTo>
                  <a:pt x="660" y="1885"/>
                </a:lnTo>
                <a:lnTo>
                  <a:pt x="646" y="1880"/>
                </a:lnTo>
                <a:lnTo>
                  <a:pt x="632" y="1873"/>
                </a:lnTo>
                <a:lnTo>
                  <a:pt x="620" y="1863"/>
                </a:lnTo>
                <a:lnTo>
                  <a:pt x="609" y="1850"/>
                </a:lnTo>
                <a:lnTo>
                  <a:pt x="601" y="1833"/>
                </a:lnTo>
                <a:lnTo>
                  <a:pt x="598" y="1817"/>
                </a:lnTo>
                <a:lnTo>
                  <a:pt x="598" y="1800"/>
                </a:lnTo>
                <a:lnTo>
                  <a:pt x="601" y="1783"/>
                </a:lnTo>
                <a:lnTo>
                  <a:pt x="609" y="1767"/>
                </a:lnTo>
                <a:lnTo>
                  <a:pt x="620" y="1753"/>
                </a:lnTo>
                <a:lnTo>
                  <a:pt x="862" y="1513"/>
                </a:lnTo>
                <a:lnTo>
                  <a:pt x="79" y="1513"/>
                </a:lnTo>
                <a:lnTo>
                  <a:pt x="57" y="1511"/>
                </a:lnTo>
                <a:lnTo>
                  <a:pt x="39" y="1503"/>
                </a:lnTo>
                <a:lnTo>
                  <a:pt x="23" y="1491"/>
                </a:lnTo>
                <a:lnTo>
                  <a:pt x="10" y="1474"/>
                </a:lnTo>
                <a:lnTo>
                  <a:pt x="2" y="1456"/>
                </a:lnTo>
                <a:lnTo>
                  <a:pt x="0" y="1436"/>
                </a:lnTo>
                <a:lnTo>
                  <a:pt x="2" y="1414"/>
                </a:lnTo>
                <a:lnTo>
                  <a:pt x="10" y="1396"/>
                </a:lnTo>
                <a:lnTo>
                  <a:pt x="23" y="1380"/>
                </a:lnTo>
                <a:lnTo>
                  <a:pt x="39" y="1368"/>
                </a:lnTo>
                <a:lnTo>
                  <a:pt x="57" y="1361"/>
                </a:lnTo>
                <a:lnTo>
                  <a:pt x="79" y="1358"/>
                </a:lnTo>
                <a:lnTo>
                  <a:pt x="862" y="1358"/>
                </a:lnTo>
                <a:lnTo>
                  <a:pt x="620" y="1117"/>
                </a:lnTo>
                <a:lnTo>
                  <a:pt x="609" y="1103"/>
                </a:lnTo>
                <a:lnTo>
                  <a:pt x="601" y="1088"/>
                </a:lnTo>
                <a:lnTo>
                  <a:pt x="598" y="1071"/>
                </a:lnTo>
                <a:lnTo>
                  <a:pt x="598" y="1054"/>
                </a:lnTo>
                <a:lnTo>
                  <a:pt x="601" y="1037"/>
                </a:lnTo>
                <a:lnTo>
                  <a:pt x="609" y="1022"/>
                </a:lnTo>
                <a:lnTo>
                  <a:pt x="620" y="1008"/>
                </a:lnTo>
                <a:lnTo>
                  <a:pt x="634" y="996"/>
                </a:lnTo>
                <a:lnTo>
                  <a:pt x="650" y="988"/>
                </a:lnTo>
                <a:lnTo>
                  <a:pt x="667" y="985"/>
                </a:lnTo>
                <a:close/>
                <a:moveTo>
                  <a:pt x="506" y="0"/>
                </a:moveTo>
                <a:lnTo>
                  <a:pt x="2436" y="0"/>
                </a:lnTo>
                <a:lnTo>
                  <a:pt x="2457" y="2"/>
                </a:lnTo>
                <a:lnTo>
                  <a:pt x="2475" y="10"/>
                </a:lnTo>
                <a:lnTo>
                  <a:pt x="2492" y="22"/>
                </a:lnTo>
                <a:lnTo>
                  <a:pt x="2503" y="38"/>
                </a:lnTo>
                <a:lnTo>
                  <a:pt x="2511" y="56"/>
                </a:lnTo>
                <a:lnTo>
                  <a:pt x="2514" y="76"/>
                </a:lnTo>
                <a:lnTo>
                  <a:pt x="2514" y="2679"/>
                </a:lnTo>
                <a:lnTo>
                  <a:pt x="2511" y="2699"/>
                </a:lnTo>
                <a:lnTo>
                  <a:pt x="2503" y="2717"/>
                </a:lnTo>
                <a:lnTo>
                  <a:pt x="2492" y="2732"/>
                </a:lnTo>
                <a:lnTo>
                  <a:pt x="2475" y="2745"/>
                </a:lnTo>
                <a:lnTo>
                  <a:pt x="2457" y="2752"/>
                </a:lnTo>
                <a:lnTo>
                  <a:pt x="2436" y="2755"/>
                </a:lnTo>
                <a:lnTo>
                  <a:pt x="2417" y="2753"/>
                </a:lnTo>
                <a:lnTo>
                  <a:pt x="2399" y="2746"/>
                </a:lnTo>
                <a:lnTo>
                  <a:pt x="2384" y="2734"/>
                </a:lnTo>
                <a:lnTo>
                  <a:pt x="2372" y="2719"/>
                </a:lnTo>
                <a:lnTo>
                  <a:pt x="2364" y="2703"/>
                </a:lnTo>
                <a:lnTo>
                  <a:pt x="1549" y="3289"/>
                </a:lnTo>
                <a:lnTo>
                  <a:pt x="1549" y="792"/>
                </a:lnTo>
                <a:lnTo>
                  <a:pt x="2360" y="207"/>
                </a:lnTo>
                <a:lnTo>
                  <a:pt x="2360" y="152"/>
                </a:lnTo>
                <a:lnTo>
                  <a:pt x="584" y="152"/>
                </a:lnTo>
                <a:lnTo>
                  <a:pt x="584" y="891"/>
                </a:lnTo>
                <a:lnTo>
                  <a:pt x="569" y="902"/>
                </a:lnTo>
                <a:lnTo>
                  <a:pt x="555" y="915"/>
                </a:lnTo>
                <a:lnTo>
                  <a:pt x="535" y="938"/>
                </a:lnTo>
                <a:lnTo>
                  <a:pt x="518" y="963"/>
                </a:lnTo>
                <a:lnTo>
                  <a:pt x="504" y="989"/>
                </a:lnTo>
                <a:lnTo>
                  <a:pt x="494" y="1018"/>
                </a:lnTo>
                <a:lnTo>
                  <a:pt x="489" y="1048"/>
                </a:lnTo>
                <a:lnTo>
                  <a:pt x="487" y="1079"/>
                </a:lnTo>
                <a:lnTo>
                  <a:pt x="489" y="1109"/>
                </a:lnTo>
                <a:lnTo>
                  <a:pt x="495" y="1139"/>
                </a:lnTo>
                <a:lnTo>
                  <a:pt x="504" y="1168"/>
                </a:lnTo>
                <a:lnTo>
                  <a:pt x="519" y="1195"/>
                </a:lnTo>
                <a:lnTo>
                  <a:pt x="536" y="1221"/>
                </a:lnTo>
                <a:lnTo>
                  <a:pt x="430" y="1221"/>
                </a:lnTo>
                <a:lnTo>
                  <a:pt x="430" y="76"/>
                </a:lnTo>
                <a:lnTo>
                  <a:pt x="433" y="56"/>
                </a:lnTo>
                <a:lnTo>
                  <a:pt x="440" y="38"/>
                </a:lnTo>
                <a:lnTo>
                  <a:pt x="452" y="22"/>
                </a:lnTo>
                <a:lnTo>
                  <a:pt x="468" y="10"/>
                </a:lnTo>
                <a:lnTo>
                  <a:pt x="486" y="2"/>
                </a:lnTo>
                <a:lnTo>
                  <a:pt x="506" y="0"/>
                </a:lnTo>
                <a:close/>
              </a:path>
            </a:pathLst>
          </a:custGeom>
          <a:solidFill>
            <a:srgbClr val="92D05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400" dirty="0">
              <a:latin typeface="Calibri" panose="020F0502020204030204" pitchFamily="34" charset="0"/>
              <a:cs typeface="Calibri" panose="020F0502020204030204" pitchFamily="34" charset="0"/>
            </a:endParaRPr>
          </a:p>
        </p:txBody>
      </p:sp>
      <p:cxnSp>
        <p:nvCxnSpPr>
          <p:cNvPr id="108" name="Straight Connector 107"/>
          <p:cNvCxnSpPr/>
          <p:nvPr/>
        </p:nvCxnSpPr>
        <p:spPr>
          <a:xfrm flipV="1">
            <a:off x="6514989" y="3744104"/>
            <a:ext cx="630638" cy="2621"/>
          </a:xfrm>
          <a:prstGeom prst="line">
            <a:avLst/>
          </a:prstGeom>
          <a:ln>
            <a:headEnd type="triangle" w="med" len="med"/>
            <a:tailEnd type="triangle" w="med" len="med"/>
          </a:ln>
        </p:spPr>
        <p:style>
          <a:lnRef idx="1">
            <a:schemeClr val="dk1"/>
          </a:lnRef>
          <a:fillRef idx="0">
            <a:schemeClr val="dk1"/>
          </a:fillRef>
          <a:effectRef idx="0">
            <a:schemeClr val="dk1"/>
          </a:effectRef>
          <a:fontRef idx="minor">
            <a:schemeClr val="tx1"/>
          </a:fontRef>
        </p:style>
      </p:cxnSp>
      <p:grpSp>
        <p:nvGrpSpPr>
          <p:cNvPr id="109" name="Group 108"/>
          <p:cNvGrpSpPr/>
          <p:nvPr/>
        </p:nvGrpSpPr>
        <p:grpSpPr>
          <a:xfrm>
            <a:off x="7755929" y="5364252"/>
            <a:ext cx="4086831" cy="807888"/>
            <a:chOff x="7940371" y="5450242"/>
            <a:chExt cx="4086831" cy="807888"/>
          </a:xfrm>
        </p:grpSpPr>
        <p:sp>
          <p:nvSpPr>
            <p:cNvPr id="110" name="Rectangle 109"/>
            <p:cNvSpPr/>
            <p:nvPr/>
          </p:nvSpPr>
          <p:spPr>
            <a:xfrm>
              <a:off x="7944078" y="5642609"/>
              <a:ext cx="4083124" cy="615521"/>
            </a:xfrm>
            <a:prstGeom prst="rect">
              <a:avLst/>
            </a:prstGeom>
            <a:solidFill>
              <a:schemeClr val="accent1">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Calibri" panose="020F0502020204030204" pitchFamily="34" charset="0"/>
                <a:cs typeface="Calibri" panose="020F0502020204030204" pitchFamily="34" charset="0"/>
              </a:endParaRPr>
            </a:p>
          </p:txBody>
        </p:sp>
        <p:sp>
          <p:nvSpPr>
            <p:cNvPr id="111" name="Content Placeholder 1"/>
            <p:cNvSpPr txBox="1">
              <a:spLocks/>
            </p:cNvSpPr>
            <p:nvPr/>
          </p:nvSpPr>
          <p:spPr bwMode="gray">
            <a:xfrm>
              <a:off x="7940371" y="5450242"/>
              <a:ext cx="1551130" cy="215444"/>
            </a:xfrm>
            <a:prstGeom prst="rect">
              <a:avLst/>
            </a:prstGeom>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400" b="1" dirty="0">
                  <a:latin typeface="Calibri" panose="020F0502020204030204" pitchFamily="34" charset="0"/>
                  <a:cs typeface="Calibri" panose="020F0502020204030204" pitchFamily="34" charset="0"/>
                </a:rPr>
                <a:t>Reporting &amp; Analysis</a:t>
              </a:r>
            </a:p>
          </p:txBody>
        </p:sp>
        <p:grpSp>
          <p:nvGrpSpPr>
            <p:cNvPr id="112" name="Group 111"/>
            <p:cNvGrpSpPr/>
            <p:nvPr/>
          </p:nvGrpSpPr>
          <p:grpSpPr>
            <a:xfrm>
              <a:off x="8108399" y="5713992"/>
              <a:ext cx="1670846" cy="215444"/>
              <a:chOff x="1749891" y="6053942"/>
              <a:chExt cx="1670846" cy="215444"/>
            </a:xfrm>
          </p:grpSpPr>
          <p:sp>
            <p:nvSpPr>
              <p:cNvPr id="125" name="Content Placeholder 1"/>
              <p:cNvSpPr txBox="1">
                <a:spLocks/>
              </p:cNvSpPr>
              <p:nvPr/>
            </p:nvSpPr>
            <p:spPr bwMode="gray">
              <a:xfrm>
                <a:off x="2070944" y="6053942"/>
                <a:ext cx="1349793" cy="215444"/>
              </a:xfrm>
              <a:prstGeom prst="rect">
                <a:avLst/>
              </a:prstGeom>
              <a:noFill/>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400" dirty="0">
                    <a:latin typeface="Calibri" panose="020F0502020204030204" pitchFamily="34" charset="0"/>
                    <a:cs typeface="Calibri" panose="020F0502020204030204" pitchFamily="34" charset="0"/>
                  </a:rPr>
                  <a:t>DB logs &amp; Reports </a:t>
                </a:r>
              </a:p>
            </p:txBody>
          </p:sp>
          <p:grpSp>
            <p:nvGrpSpPr>
              <p:cNvPr id="126" name="Group 125"/>
              <p:cNvGrpSpPr/>
              <p:nvPr/>
            </p:nvGrpSpPr>
            <p:grpSpPr>
              <a:xfrm>
                <a:off x="1749891" y="6055912"/>
                <a:ext cx="270070" cy="211505"/>
                <a:chOff x="12790488" y="2682875"/>
                <a:chExt cx="1149350" cy="900113"/>
              </a:xfrm>
              <a:solidFill>
                <a:schemeClr val="accent4"/>
              </a:solidFill>
            </p:grpSpPr>
            <p:sp>
              <p:nvSpPr>
                <p:cNvPr id="127" name="Freeform 39"/>
                <p:cNvSpPr>
                  <a:spLocks/>
                </p:cNvSpPr>
                <p:nvPr/>
              </p:nvSpPr>
              <p:spPr bwMode="auto">
                <a:xfrm>
                  <a:off x="12987338" y="3479800"/>
                  <a:ext cx="757238" cy="103188"/>
                </a:xfrm>
                <a:custGeom>
                  <a:avLst/>
                  <a:gdLst>
                    <a:gd name="T0" fmla="*/ 164 w 2387"/>
                    <a:gd name="T1" fmla="*/ 0 h 324"/>
                    <a:gd name="T2" fmla="*/ 2221 w 2387"/>
                    <a:gd name="T3" fmla="*/ 0 h 324"/>
                    <a:gd name="T4" fmla="*/ 2255 w 2387"/>
                    <a:gd name="T5" fmla="*/ 3 h 324"/>
                    <a:gd name="T6" fmla="*/ 2286 w 2387"/>
                    <a:gd name="T7" fmla="*/ 13 h 324"/>
                    <a:gd name="T8" fmla="*/ 2313 w 2387"/>
                    <a:gd name="T9" fmla="*/ 28 h 324"/>
                    <a:gd name="T10" fmla="*/ 2338 w 2387"/>
                    <a:gd name="T11" fmla="*/ 48 h 324"/>
                    <a:gd name="T12" fmla="*/ 2358 w 2387"/>
                    <a:gd name="T13" fmla="*/ 72 h 324"/>
                    <a:gd name="T14" fmla="*/ 2373 w 2387"/>
                    <a:gd name="T15" fmla="*/ 99 h 324"/>
                    <a:gd name="T16" fmla="*/ 2383 w 2387"/>
                    <a:gd name="T17" fmla="*/ 130 h 324"/>
                    <a:gd name="T18" fmla="*/ 2387 w 2387"/>
                    <a:gd name="T19" fmla="*/ 162 h 324"/>
                    <a:gd name="T20" fmla="*/ 2383 w 2387"/>
                    <a:gd name="T21" fmla="*/ 195 h 324"/>
                    <a:gd name="T22" fmla="*/ 2373 w 2387"/>
                    <a:gd name="T23" fmla="*/ 226 h 324"/>
                    <a:gd name="T24" fmla="*/ 2358 w 2387"/>
                    <a:gd name="T25" fmla="*/ 253 h 324"/>
                    <a:gd name="T26" fmla="*/ 2338 w 2387"/>
                    <a:gd name="T27" fmla="*/ 277 h 324"/>
                    <a:gd name="T28" fmla="*/ 2313 w 2387"/>
                    <a:gd name="T29" fmla="*/ 297 h 324"/>
                    <a:gd name="T30" fmla="*/ 2286 w 2387"/>
                    <a:gd name="T31" fmla="*/ 312 h 324"/>
                    <a:gd name="T32" fmla="*/ 2255 w 2387"/>
                    <a:gd name="T33" fmla="*/ 321 h 324"/>
                    <a:gd name="T34" fmla="*/ 2221 w 2387"/>
                    <a:gd name="T35" fmla="*/ 324 h 324"/>
                    <a:gd name="T36" fmla="*/ 164 w 2387"/>
                    <a:gd name="T37" fmla="*/ 324 h 324"/>
                    <a:gd name="T38" fmla="*/ 131 w 2387"/>
                    <a:gd name="T39" fmla="*/ 321 h 324"/>
                    <a:gd name="T40" fmla="*/ 100 w 2387"/>
                    <a:gd name="T41" fmla="*/ 312 h 324"/>
                    <a:gd name="T42" fmla="*/ 72 w 2387"/>
                    <a:gd name="T43" fmla="*/ 297 h 324"/>
                    <a:gd name="T44" fmla="*/ 47 w 2387"/>
                    <a:gd name="T45" fmla="*/ 277 h 324"/>
                    <a:gd name="T46" fmla="*/ 27 w 2387"/>
                    <a:gd name="T47" fmla="*/ 253 h 324"/>
                    <a:gd name="T48" fmla="*/ 12 w 2387"/>
                    <a:gd name="T49" fmla="*/ 226 h 324"/>
                    <a:gd name="T50" fmla="*/ 3 w 2387"/>
                    <a:gd name="T51" fmla="*/ 195 h 324"/>
                    <a:gd name="T52" fmla="*/ 0 w 2387"/>
                    <a:gd name="T53" fmla="*/ 162 h 324"/>
                    <a:gd name="T54" fmla="*/ 3 w 2387"/>
                    <a:gd name="T55" fmla="*/ 130 h 324"/>
                    <a:gd name="T56" fmla="*/ 12 w 2387"/>
                    <a:gd name="T57" fmla="*/ 99 h 324"/>
                    <a:gd name="T58" fmla="*/ 27 w 2387"/>
                    <a:gd name="T59" fmla="*/ 72 h 324"/>
                    <a:gd name="T60" fmla="*/ 47 w 2387"/>
                    <a:gd name="T61" fmla="*/ 48 h 324"/>
                    <a:gd name="T62" fmla="*/ 72 w 2387"/>
                    <a:gd name="T63" fmla="*/ 28 h 324"/>
                    <a:gd name="T64" fmla="*/ 100 w 2387"/>
                    <a:gd name="T65" fmla="*/ 13 h 324"/>
                    <a:gd name="T66" fmla="*/ 131 w 2387"/>
                    <a:gd name="T67" fmla="*/ 3 h 324"/>
                    <a:gd name="T68" fmla="*/ 164 w 2387"/>
                    <a:gd name="T69"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87" h="324">
                      <a:moveTo>
                        <a:pt x="164" y="0"/>
                      </a:moveTo>
                      <a:lnTo>
                        <a:pt x="2221" y="0"/>
                      </a:lnTo>
                      <a:lnTo>
                        <a:pt x="2255" y="3"/>
                      </a:lnTo>
                      <a:lnTo>
                        <a:pt x="2286" y="13"/>
                      </a:lnTo>
                      <a:lnTo>
                        <a:pt x="2313" y="28"/>
                      </a:lnTo>
                      <a:lnTo>
                        <a:pt x="2338" y="48"/>
                      </a:lnTo>
                      <a:lnTo>
                        <a:pt x="2358" y="72"/>
                      </a:lnTo>
                      <a:lnTo>
                        <a:pt x="2373" y="99"/>
                      </a:lnTo>
                      <a:lnTo>
                        <a:pt x="2383" y="130"/>
                      </a:lnTo>
                      <a:lnTo>
                        <a:pt x="2387" y="162"/>
                      </a:lnTo>
                      <a:lnTo>
                        <a:pt x="2383" y="195"/>
                      </a:lnTo>
                      <a:lnTo>
                        <a:pt x="2373" y="226"/>
                      </a:lnTo>
                      <a:lnTo>
                        <a:pt x="2358" y="253"/>
                      </a:lnTo>
                      <a:lnTo>
                        <a:pt x="2338" y="277"/>
                      </a:lnTo>
                      <a:lnTo>
                        <a:pt x="2313" y="297"/>
                      </a:lnTo>
                      <a:lnTo>
                        <a:pt x="2286" y="312"/>
                      </a:lnTo>
                      <a:lnTo>
                        <a:pt x="2255" y="321"/>
                      </a:lnTo>
                      <a:lnTo>
                        <a:pt x="2221" y="324"/>
                      </a:lnTo>
                      <a:lnTo>
                        <a:pt x="164" y="324"/>
                      </a:lnTo>
                      <a:lnTo>
                        <a:pt x="131" y="321"/>
                      </a:lnTo>
                      <a:lnTo>
                        <a:pt x="100" y="312"/>
                      </a:lnTo>
                      <a:lnTo>
                        <a:pt x="72" y="297"/>
                      </a:lnTo>
                      <a:lnTo>
                        <a:pt x="47" y="277"/>
                      </a:lnTo>
                      <a:lnTo>
                        <a:pt x="27" y="253"/>
                      </a:lnTo>
                      <a:lnTo>
                        <a:pt x="12" y="226"/>
                      </a:lnTo>
                      <a:lnTo>
                        <a:pt x="3" y="195"/>
                      </a:lnTo>
                      <a:lnTo>
                        <a:pt x="0" y="162"/>
                      </a:lnTo>
                      <a:lnTo>
                        <a:pt x="3" y="130"/>
                      </a:lnTo>
                      <a:lnTo>
                        <a:pt x="12" y="99"/>
                      </a:lnTo>
                      <a:lnTo>
                        <a:pt x="27" y="72"/>
                      </a:lnTo>
                      <a:lnTo>
                        <a:pt x="47" y="48"/>
                      </a:lnTo>
                      <a:lnTo>
                        <a:pt x="72" y="28"/>
                      </a:lnTo>
                      <a:lnTo>
                        <a:pt x="100" y="13"/>
                      </a:lnTo>
                      <a:lnTo>
                        <a:pt x="131" y="3"/>
                      </a:lnTo>
                      <a:lnTo>
                        <a:pt x="1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28" name="Freeform 40"/>
                <p:cNvSpPr>
                  <a:spLocks/>
                </p:cNvSpPr>
                <p:nvPr/>
              </p:nvSpPr>
              <p:spPr bwMode="auto">
                <a:xfrm>
                  <a:off x="12973051" y="3055938"/>
                  <a:ext cx="79375" cy="204788"/>
                </a:xfrm>
                <a:custGeom>
                  <a:avLst/>
                  <a:gdLst>
                    <a:gd name="T0" fmla="*/ 124 w 247"/>
                    <a:gd name="T1" fmla="*/ 0 h 647"/>
                    <a:gd name="T2" fmla="*/ 152 w 247"/>
                    <a:gd name="T3" fmla="*/ 3 h 647"/>
                    <a:gd name="T4" fmla="*/ 178 w 247"/>
                    <a:gd name="T5" fmla="*/ 12 h 647"/>
                    <a:gd name="T6" fmla="*/ 201 w 247"/>
                    <a:gd name="T7" fmla="*/ 26 h 647"/>
                    <a:gd name="T8" fmla="*/ 220 w 247"/>
                    <a:gd name="T9" fmla="*/ 46 h 647"/>
                    <a:gd name="T10" fmla="*/ 235 w 247"/>
                    <a:gd name="T11" fmla="*/ 68 h 647"/>
                    <a:gd name="T12" fmla="*/ 244 w 247"/>
                    <a:gd name="T13" fmla="*/ 94 h 647"/>
                    <a:gd name="T14" fmla="*/ 247 w 247"/>
                    <a:gd name="T15" fmla="*/ 121 h 647"/>
                    <a:gd name="T16" fmla="*/ 247 w 247"/>
                    <a:gd name="T17" fmla="*/ 526 h 647"/>
                    <a:gd name="T18" fmla="*/ 244 w 247"/>
                    <a:gd name="T19" fmla="*/ 555 h 647"/>
                    <a:gd name="T20" fmla="*/ 235 w 247"/>
                    <a:gd name="T21" fmla="*/ 580 h 647"/>
                    <a:gd name="T22" fmla="*/ 220 w 247"/>
                    <a:gd name="T23" fmla="*/ 603 h 647"/>
                    <a:gd name="T24" fmla="*/ 201 w 247"/>
                    <a:gd name="T25" fmla="*/ 621 h 647"/>
                    <a:gd name="T26" fmla="*/ 178 w 247"/>
                    <a:gd name="T27" fmla="*/ 635 h 647"/>
                    <a:gd name="T28" fmla="*/ 152 w 247"/>
                    <a:gd name="T29" fmla="*/ 645 h 647"/>
                    <a:gd name="T30" fmla="*/ 124 w 247"/>
                    <a:gd name="T31" fmla="*/ 647 h 647"/>
                    <a:gd name="T32" fmla="*/ 95 w 247"/>
                    <a:gd name="T33" fmla="*/ 645 h 647"/>
                    <a:gd name="T34" fmla="*/ 69 w 247"/>
                    <a:gd name="T35" fmla="*/ 635 h 647"/>
                    <a:gd name="T36" fmla="*/ 46 w 247"/>
                    <a:gd name="T37" fmla="*/ 621 h 647"/>
                    <a:gd name="T38" fmla="*/ 27 w 247"/>
                    <a:gd name="T39" fmla="*/ 603 h 647"/>
                    <a:gd name="T40" fmla="*/ 13 w 247"/>
                    <a:gd name="T41" fmla="*/ 580 h 647"/>
                    <a:gd name="T42" fmla="*/ 3 w 247"/>
                    <a:gd name="T43" fmla="*/ 555 h 647"/>
                    <a:gd name="T44" fmla="*/ 0 w 247"/>
                    <a:gd name="T45" fmla="*/ 526 h 647"/>
                    <a:gd name="T46" fmla="*/ 0 w 247"/>
                    <a:gd name="T47" fmla="*/ 121 h 647"/>
                    <a:gd name="T48" fmla="*/ 3 w 247"/>
                    <a:gd name="T49" fmla="*/ 94 h 647"/>
                    <a:gd name="T50" fmla="*/ 13 w 247"/>
                    <a:gd name="T51" fmla="*/ 68 h 647"/>
                    <a:gd name="T52" fmla="*/ 27 w 247"/>
                    <a:gd name="T53" fmla="*/ 46 h 647"/>
                    <a:gd name="T54" fmla="*/ 46 w 247"/>
                    <a:gd name="T55" fmla="*/ 26 h 647"/>
                    <a:gd name="T56" fmla="*/ 69 w 247"/>
                    <a:gd name="T57" fmla="*/ 12 h 647"/>
                    <a:gd name="T58" fmla="*/ 95 w 247"/>
                    <a:gd name="T59" fmla="*/ 3 h 647"/>
                    <a:gd name="T60" fmla="*/ 124 w 247"/>
                    <a:gd name="T61" fmla="*/ 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7" h="647">
                      <a:moveTo>
                        <a:pt x="124" y="0"/>
                      </a:moveTo>
                      <a:lnTo>
                        <a:pt x="152" y="3"/>
                      </a:lnTo>
                      <a:lnTo>
                        <a:pt x="178" y="12"/>
                      </a:lnTo>
                      <a:lnTo>
                        <a:pt x="201" y="26"/>
                      </a:lnTo>
                      <a:lnTo>
                        <a:pt x="220" y="46"/>
                      </a:lnTo>
                      <a:lnTo>
                        <a:pt x="235" y="68"/>
                      </a:lnTo>
                      <a:lnTo>
                        <a:pt x="244" y="94"/>
                      </a:lnTo>
                      <a:lnTo>
                        <a:pt x="247" y="121"/>
                      </a:lnTo>
                      <a:lnTo>
                        <a:pt x="247" y="526"/>
                      </a:lnTo>
                      <a:lnTo>
                        <a:pt x="244" y="555"/>
                      </a:lnTo>
                      <a:lnTo>
                        <a:pt x="235" y="580"/>
                      </a:lnTo>
                      <a:lnTo>
                        <a:pt x="220" y="603"/>
                      </a:lnTo>
                      <a:lnTo>
                        <a:pt x="201" y="621"/>
                      </a:lnTo>
                      <a:lnTo>
                        <a:pt x="178" y="635"/>
                      </a:lnTo>
                      <a:lnTo>
                        <a:pt x="152" y="645"/>
                      </a:lnTo>
                      <a:lnTo>
                        <a:pt x="124" y="647"/>
                      </a:lnTo>
                      <a:lnTo>
                        <a:pt x="95" y="645"/>
                      </a:lnTo>
                      <a:lnTo>
                        <a:pt x="69" y="635"/>
                      </a:lnTo>
                      <a:lnTo>
                        <a:pt x="46" y="621"/>
                      </a:lnTo>
                      <a:lnTo>
                        <a:pt x="27" y="603"/>
                      </a:lnTo>
                      <a:lnTo>
                        <a:pt x="13" y="580"/>
                      </a:lnTo>
                      <a:lnTo>
                        <a:pt x="3" y="555"/>
                      </a:lnTo>
                      <a:lnTo>
                        <a:pt x="0" y="526"/>
                      </a:lnTo>
                      <a:lnTo>
                        <a:pt x="0" y="121"/>
                      </a:lnTo>
                      <a:lnTo>
                        <a:pt x="3" y="94"/>
                      </a:lnTo>
                      <a:lnTo>
                        <a:pt x="13" y="68"/>
                      </a:lnTo>
                      <a:lnTo>
                        <a:pt x="27" y="46"/>
                      </a:lnTo>
                      <a:lnTo>
                        <a:pt x="46" y="26"/>
                      </a:lnTo>
                      <a:lnTo>
                        <a:pt x="69" y="12"/>
                      </a:lnTo>
                      <a:lnTo>
                        <a:pt x="95" y="3"/>
                      </a:lnTo>
                      <a:lnTo>
                        <a:pt x="1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29" name="Freeform 41"/>
                <p:cNvSpPr>
                  <a:spLocks/>
                </p:cNvSpPr>
                <p:nvPr/>
              </p:nvSpPr>
              <p:spPr bwMode="auto">
                <a:xfrm>
                  <a:off x="13103226" y="3003550"/>
                  <a:ext cx="79375" cy="257175"/>
                </a:xfrm>
                <a:custGeom>
                  <a:avLst/>
                  <a:gdLst>
                    <a:gd name="T0" fmla="*/ 124 w 247"/>
                    <a:gd name="T1" fmla="*/ 0 h 810"/>
                    <a:gd name="T2" fmla="*/ 152 w 247"/>
                    <a:gd name="T3" fmla="*/ 3 h 810"/>
                    <a:gd name="T4" fmla="*/ 179 w 247"/>
                    <a:gd name="T5" fmla="*/ 13 h 810"/>
                    <a:gd name="T6" fmla="*/ 201 w 247"/>
                    <a:gd name="T7" fmla="*/ 27 h 810"/>
                    <a:gd name="T8" fmla="*/ 221 w 247"/>
                    <a:gd name="T9" fmla="*/ 46 h 810"/>
                    <a:gd name="T10" fmla="*/ 235 w 247"/>
                    <a:gd name="T11" fmla="*/ 69 h 810"/>
                    <a:gd name="T12" fmla="*/ 244 w 247"/>
                    <a:gd name="T13" fmla="*/ 94 h 810"/>
                    <a:gd name="T14" fmla="*/ 247 w 247"/>
                    <a:gd name="T15" fmla="*/ 122 h 810"/>
                    <a:gd name="T16" fmla="*/ 247 w 247"/>
                    <a:gd name="T17" fmla="*/ 689 h 810"/>
                    <a:gd name="T18" fmla="*/ 244 w 247"/>
                    <a:gd name="T19" fmla="*/ 718 h 810"/>
                    <a:gd name="T20" fmla="*/ 235 w 247"/>
                    <a:gd name="T21" fmla="*/ 743 h 810"/>
                    <a:gd name="T22" fmla="*/ 221 w 247"/>
                    <a:gd name="T23" fmla="*/ 766 h 810"/>
                    <a:gd name="T24" fmla="*/ 201 w 247"/>
                    <a:gd name="T25" fmla="*/ 784 h 810"/>
                    <a:gd name="T26" fmla="*/ 179 w 247"/>
                    <a:gd name="T27" fmla="*/ 798 h 810"/>
                    <a:gd name="T28" fmla="*/ 152 w 247"/>
                    <a:gd name="T29" fmla="*/ 808 h 810"/>
                    <a:gd name="T30" fmla="*/ 124 w 247"/>
                    <a:gd name="T31" fmla="*/ 810 h 810"/>
                    <a:gd name="T32" fmla="*/ 95 w 247"/>
                    <a:gd name="T33" fmla="*/ 808 h 810"/>
                    <a:gd name="T34" fmla="*/ 70 w 247"/>
                    <a:gd name="T35" fmla="*/ 798 h 810"/>
                    <a:gd name="T36" fmla="*/ 47 w 247"/>
                    <a:gd name="T37" fmla="*/ 784 h 810"/>
                    <a:gd name="T38" fmla="*/ 28 w 247"/>
                    <a:gd name="T39" fmla="*/ 766 h 810"/>
                    <a:gd name="T40" fmla="*/ 13 w 247"/>
                    <a:gd name="T41" fmla="*/ 743 h 810"/>
                    <a:gd name="T42" fmla="*/ 3 w 247"/>
                    <a:gd name="T43" fmla="*/ 718 h 810"/>
                    <a:gd name="T44" fmla="*/ 0 w 247"/>
                    <a:gd name="T45" fmla="*/ 689 h 810"/>
                    <a:gd name="T46" fmla="*/ 0 w 247"/>
                    <a:gd name="T47" fmla="*/ 122 h 810"/>
                    <a:gd name="T48" fmla="*/ 3 w 247"/>
                    <a:gd name="T49" fmla="*/ 94 h 810"/>
                    <a:gd name="T50" fmla="*/ 13 w 247"/>
                    <a:gd name="T51" fmla="*/ 69 h 810"/>
                    <a:gd name="T52" fmla="*/ 28 w 247"/>
                    <a:gd name="T53" fmla="*/ 46 h 810"/>
                    <a:gd name="T54" fmla="*/ 47 w 247"/>
                    <a:gd name="T55" fmla="*/ 27 h 810"/>
                    <a:gd name="T56" fmla="*/ 70 w 247"/>
                    <a:gd name="T57" fmla="*/ 13 h 810"/>
                    <a:gd name="T58" fmla="*/ 95 w 247"/>
                    <a:gd name="T59" fmla="*/ 3 h 810"/>
                    <a:gd name="T60" fmla="*/ 124 w 247"/>
                    <a:gd name="T61" fmla="*/ 0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7" h="810">
                      <a:moveTo>
                        <a:pt x="124" y="0"/>
                      </a:moveTo>
                      <a:lnTo>
                        <a:pt x="152" y="3"/>
                      </a:lnTo>
                      <a:lnTo>
                        <a:pt x="179" y="13"/>
                      </a:lnTo>
                      <a:lnTo>
                        <a:pt x="201" y="27"/>
                      </a:lnTo>
                      <a:lnTo>
                        <a:pt x="221" y="46"/>
                      </a:lnTo>
                      <a:lnTo>
                        <a:pt x="235" y="69"/>
                      </a:lnTo>
                      <a:lnTo>
                        <a:pt x="244" y="94"/>
                      </a:lnTo>
                      <a:lnTo>
                        <a:pt x="247" y="122"/>
                      </a:lnTo>
                      <a:lnTo>
                        <a:pt x="247" y="689"/>
                      </a:lnTo>
                      <a:lnTo>
                        <a:pt x="244" y="718"/>
                      </a:lnTo>
                      <a:lnTo>
                        <a:pt x="235" y="743"/>
                      </a:lnTo>
                      <a:lnTo>
                        <a:pt x="221" y="766"/>
                      </a:lnTo>
                      <a:lnTo>
                        <a:pt x="201" y="784"/>
                      </a:lnTo>
                      <a:lnTo>
                        <a:pt x="179" y="798"/>
                      </a:lnTo>
                      <a:lnTo>
                        <a:pt x="152" y="808"/>
                      </a:lnTo>
                      <a:lnTo>
                        <a:pt x="124" y="810"/>
                      </a:lnTo>
                      <a:lnTo>
                        <a:pt x="95" y="808"/>
                      </a:lnTo>
                      <a:lnTo>
                        <a:pt x="70" y="798"/>
                      </a:lnTo>
                      <a:lnTo>
                        <a:pt x="47" y="784"/>
                      </a:lnTo>
                      <a:lnTo>
                        <a:pt x="28" y="766"/>
                      </a:lnTo>
                      <a:lnTo>
                        <a:pt x="13" y="743"/>
                      </a:lnTo>
                      <a:lnTo>
                        <a:pt x="3" y="718"/>
                      </a:lnTo>
                      <a:lnTo>
                        <a:pt x="0" y="689"/>
                      </a:lnTo>
                      <a:lnTo>
                        <a:pt x="0" y="122"/>
                      </a:lnTo>
                      <a:lnTo>
                        <a:pt x="3" y="94"/>
                      </a:lnTo>
                      <a:lnTo>
                        <a:pt x="13" y="69"/>
                      </a:lnTo>
                      <a:lnTo>
                        <a:pt x="28" y="46"/>
                      </a:lnTo>
                      <a:lnTo>
                        <a:pt x="47" y="27"/>
                      </a:lnTo>
                      <a:lnTo>
                        <a:pt x="70" y="13"/>
                      </a:lnTo>
                      <a:lnTo>
                        <a:pt x="95" y="3"/>
                      </a:lnTo>
                      <a:lnTo>
                        <a:pt x="1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30" name="Freeform 42"/>
                <p:cNvSpPr>
                  <a:spLocks/>
                </p:cNvSpPr>
                <p:nvPr/>
              </p:nvSpPr>
              <p:spPr bwMode="auto">
                <a:xfrm>
                  <a:off x="13234988" y="2952750"/>
                  <a:ext cx="77788" cy="307975"/>
                </a:xfrm>
                <a:custGeom>
                  <a:avLst/>
                  <a:gdLst>
                    <a:gd name="T0" fmla="*/ 123 w 246"/>
                    <a:gd name="T1" fmla="*/ 0 h 971"/>
                    <a:gd name="T2" fmla="*/ 151 w 246"/>
                    <a:gd name="T3" fmla="*/ 3 h 971"/>
                    <a:gd name="T4" fmla="*/ 177 w 246"/>
                    <a:gd name="T5" fmla="*/ 12 h 971"/>
                    <a:gd name="T6" fmla="*/ 199 w 246"/>
                    <a:gd name="T7" fmla="*/ 26 h 971"/>
                    <a:gd name="T8" fmla="*/ 219 w 246"/>
                    <a:gd name="T9" fmla="*/ 45 h 971"/>
                    <a:gd name="T10" fmla="*/ 234 w 246"/>
                    <a:gd name="T11" fmla="*/ 67 h 971"/>
                    <a:gd name="T12" fmla="*/ 243 w 246"/>
                    <a:gd name="T13" fmla="*/ 93 h 971"/>
                    <a:gd name="T14" fmla="*/ 246 w 246"/>
                    <a:gd name="T15" fmla="*/ 121 h 971"/>
                    <a:gd name="T16" fmla="*/ 246 w 246"/>
                    <a:gd name="T17" fmla="*/ 850 h 971"/>
                    <a:gd name="T18" fmla="*/ 243 w 246"/>
                    <a:gd name="T19" fmla="*/ 879 h 971"/>
                    <a:gd name="T20" fmla="*/ 234 w 246"/>
                    <a:gd name="T21" fmla="*/ 904 h 971"/>
                    <a:gd name="T22" fmla="*/ 219 w 246"/>
                    <a:gd name="T23" fmla="*/ 927 h 971"/>
                    <a:gd name="T24" fmla="*/ 199 w 246"/>
                    <a:gd name="T25" fmla="*/ 945 h 971"/>
                    <a:gd name="T26" fmla="*/ 177 w 246"/>
                    <a:gd name="T27" fmla="*/ 959 h 971"/>
                    <a:gd name="T28" fmla="*/ 151 w 246"/>
                    <a:gd name="T29" fmla="*/ 969 h 971"/>
                    <a:gd name="T30" fmla="*/ 123 w 246"/>
                    <a:gd name="T31" fmla="*/ 971 h 971"/>
                    <a:gd name="T32" fmla="*/ 94 w 246"/>
                    <a:gd name="T33" fmla="*/ 969 h 971"/>
                    <a:gd name="T34" fmla="*/ 68 w 246"/>
                    <a:gd name="T35" fmla="*/ 959 h 971"/>
                    <a:gd name="T36" fmla="*/ 45 w 246"/>
                    <a:gd name="T37" fmla="*/ 945 h 971"/>
                    <a:gd name="T38" fmla="*/ 26 w 246"/>
                    <a:gd name="T39" fmla="*/ 927 h 971"/>
                    <a:gd name="T40" fmla="*/ 12 w 246"/>
                    <a:gd name="T41" fmla="*/ 904 h 971"/>
                    <a:gd name="T42" fmla="*/ 3 w 246"/>
                    <a:gd name="T43" fmla="*/ 879 h 971"/>
                    <a:gd name="T44" fmla="*/ 0 w 246"/>
                    <a:gd name="T45" fmla="*/ 850 h 971"/>
                    <a:gd name="T46" fmla="*/ 0 w 246"/>
                    <a:gd name="T47" fmla="*/ 121 h 971"/>
                    <a:gd name="T48" fmla="*/ 3 w 246"/>
                    <a:gd name="T49" fmla="*/ 93 h 971"/>
                    <a:gd name="T50" fmla="*/ 12 w 246"/>
                    <a:gd name="T51" fmla="*/ 67 h 971"/>
                    <a:gd name="T52" fmla="*/ 26 w 246"/>
                    <a:gd name="T53" fmla="*/ 45 h 971"/>
                    <a:gd name="T54" fmla="*/ 45 w 246"/>
                    <a:gd name="T55" fmla="*/ 26 h 971"/>
                    <a:gd name="T56" fmla="*/ 68 w 246"/>
                    <a:gd name="T57" fmla="*/ 12 h 971"/>
                    <a:gd name="T58" fmla="*/ 94 w 246"/>
                    <a:gd name="T59" fmla="*/ 3 h 971"/>
                    <a:gd name="T60" fmla="*/ 123 w 246"/>
                    <a:gd name="T61" fmla="*/ 0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6" h="971">
                      <a:moveTo>
                        <a:pt x="123" y="0"/>
                      </a:moveTo>
                      <a:lnTo>
                        <a:pt x="151" y="3"/>
                      </a:lnTo>
                      <a:lnTo>
                        <a:pt x="177" y="12"/>
                      </a:lnTo>
                      <a:lnTo>
                        <a:pt x="199" y="26"/>
                      </a:lnTo>
                      <a:lnTo>
                        <a:pt x="219" y="45"/>
                      </a:lnTo>
                      <a:lnTo>
                        <a:pt x="234" y="67"/>
                      </a:lnTo>
                      <a:lnTo>
                        <a:pt x="243" y="93"/>
                      </a:lnTo>
                      <a:lnTo>
                        <a:pt x="246" y="121"/>
                      </a:lnTo>
                      <a:lnTo>
                        <a:pt x="246" y="850"/>
                      </a:lnTo>
                      <a:lnTo>
                        <a:pt x="243" y="879"/>
                      </a:lnTo>
                      <a:lnTo>
                        <a:pt x="234" y="904"/>
                      </a:lnTo>
                      <a:lnTo>
                        <a:pt x="219" y="927"/>
                      </a:lnTo>
                      <a:lnTo>
                        <a:pt x="199" y="945"/>
                      </a:lnTo>
                      <a:lnTo>
                        <a:pt x="177" y="959"/>
                      </a:lnTo>
                      <a:lnTo>
                        <a:pt x="151" y="969"/>
                      </a:lnTo>
                      <a:lnTo>
                        <a:pt x="123" y="971"/>
                      </a:lnTo>
                      <a:lnTo>
                        <a:pt x="94" y="969"/>
                      </a:lnTo>
                      <a:lnTo>
                        <a:pt x="68" y="959"/>
                      </a:lnTo>
                      <a:lnTo>
                        <a:pt x="45" y="945"/>
                      </a:lnTo>
                      <a:lnTo>
                        <a:pt x="26" y="927"/>
                      </a:lnTo>
                      <a:lnTo>
                        <a:pt x="12" y="904"/>
                      </a:lnTo>
                      <a:lnTo>
                        <a:pt x="3" y="879"/>
                      </a:lnTo>
                      <a:lnTo>
                        <a:pt x="0" y="850"/>
                      </a:lnTo>
                      <a:lnTo>
                        <a:pt x="0" y="121"/>
                      </a:lnTo>
                      <a:lnTo>
                        <a:pt x="3" y="93"/>
                      </a:lnTo>
                      <a:lnTo>
                        <a:pt x="12" y="67"/>
                      </a:lnTo>
                      <a:lnTo>
                        <a:pt x="26" y="45"/>
                      </a:lnTo>
                      <a:lnTo>
                        <a:pt x="45" y="26"/>
                      </a:lnTo>
                      <a:lnTo>
                        <a:pt x="68" y="12"/>
                      </a:lnTo>
                      <a:lnTo>
                        <a:pt x="94" y="3"/>
                      </a:lnTo>
                      <a:lnTo>
                        <a:pt x="1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31" name="Freeform 43"/>
                <p:cNvSpPr>
                  <a:spLocks/>
                </p:cNvSpPr>
                <p:nvPr/>
              </p:nvSpPr>
              <p:spPr bwMode="auto">
                <a:xfrm>
                  <a:off x="12790488" y="2682875"/>
                  <a:ext cx="1149350" cy="746125"/>
                </a:xfrm>
                <a:custGeom>
                  <a:avLst/>
                  <a:gdLst>
                    <a:gd name="T0" fmla="*/ 3457 w 3621"/>
                    <a:gd name="T1" fmla="*/ 0 h 2350"/>
                    <a:gd name="T2" fmla="*/ 3521 w 3621"/>
                    <a:gd name="T3" fmla="*/ 12 h 2350"/>
                    <a:gd name="T4" fmla="*/ 3573 w 3621"/>
                    <a:gd name="T5" fmla="*/ 47 h 2350"/>
                    <a:gd name="T6" fmla="*/ 3609 w 3621"/>
                    <a:gd name="T7" fmla="*/ 98 h 2350"/>
                    <a:gd name="T8" fmla="*/ 3621 w 3621"/>
                    <a:gd name="T9" fmla="*/ 161 h 2350"/>
                    <a:gd name="T10" fmla="*/ 3400 w 3621"/>
                    <a:gd name="T11" fmla="*/ 1781 h 2350"/>
                    <a:gd name="T12" fmla="*/ 3463 w 3621"/>
                    <a:gd name="T13" fmla="*/ 1647 h 2350"/>
                    <a:gd name="T14" fmla="*/ 3501 w 3621"/>
                    <a:gd name="T15" fmla="*/ 1504 h 2350"/>
                    <a:gd name="T16" fmla="*/ 3515 w 3621"/>
                    <a:gd name="T17" fmla="*/ 1356 h 2350"/>
                    <a:gd name="T18" fmla="*/ 3503 w 3621"/>
                    <a:gd name="T19" fmla="*/ 1215 h 2350"/>
                    <a:gd name="T20" fmla="*/ 3469 w 3621"/>
                    <a:gd name="T21" fmla="*/ 1080 h 2350"/>
                    <a:gd name="T22" fmla="*/ 3414 w 3621"/>
                    <a:gd name="T23" fmla="*/ 953 h 2350"/>
                    <a:gd name="T24" fmla="*/ 3337 w 3621"/>
                    <a:gd name="T25" fmla="*/ 835 h 2350"/>
                    <a:gd name="T26" fmla="*/ 3292 w 3621"/>
                    <a:gd name="T27" fmla="*/ 324 h 2350"/>
                    <a:gd name="T28" fmla="*/ 329 w 3621"/>
                    <a:gd name="T29" fmla="*/ 2026 h 2350"/>
                    <a:gd name="T30" fmla="*/ 2123 w 3621"/>
                    <a:gd name="T31" fmla="*/ 2067 h 2350"/>
                    <a:gd name="T32" fmla="*/ 2238 w 3621"/>
                    <a:gd name="T33" fmla="*/ 2135 h 2350"/>
                    <a:gd name="T34" fmla="*/ 2362 w 3621"/>
                    <a:gd name="T35" fmla="*/ 2185 h 2350"/>
                    <a:gd name="T36" fmla="*/ 2494 w 3621"/>
                    <a:gd name="T37" fmla="*/ 2216 h 2350"/>
                    <a:gd name="T38" fmla="*/ 2631 w 3621"/>
                    <a:gd name="T39" fmla="*/ 2225 h 2350"/>
                    <a:gd name="T40" fmla="*/ 2782 w 3621"/>
                    <a:gd name="T41" fmla="*/ 2212 h 2350"/>
                    <a:gd name="T42" fmla="*/ 2927 w 3621"/>
                    <a:gd name="T43" fmla="*/ 2175 h 2350"/>
                    <a:gd name="T44" fmla="*/ 3063 w 3621"/>
                    <a:gd name="T45" fmla="*/ 2113 h 2350"/>
                    <a:gd name="T46" fmla="*/ 3296 w 3621"/>
                    <a:gd name="T47" fmla="*/ 2342 h 2350"/>
                    <a:gd name="T48" fmla="*/ 3306 w 3621"/>
                    <a:gd name="T49" fmla="*/ 2350 h 2350"/>
                    <a:gd name="T50" fmla="*/ 132 w 3621"/>
                    <a:gd name="T51" fmla="*/ 2347 h 2350"/>
                    <a:gd name="T52" fmla="*/ 73 w 3621"/>
                    <a:gd name="T53" fmla="*/ 2323 h 2350"/>
                    <a:gd name="T54" fmla="*/ 28 w 3621"/>
                    <a:gd name="T55" fmla="*/ 2278 h 2350"/>
                    <a:gd name="T56" fmla="*/ 3 w 3621"/>
                    <a:gd name="T57" fmla="*/ 2220 h 2350"/>
                    <a:gd name="T58" fmla="*/ 0 w 3621"/>
                    <a:gd name="T59" fmla="*/ 161 h 2350"/>
                    <a:gd name="T60" fmla="*/ 13 w 3621"/>
                    <a:gd name="T61" fmla="*/ 99 h 2350"/>
                    <a:gd name="T62" fmla="*/ 49 w 3621"/>
                    <a:gd name="T63" fmla="*/ 47 h 2350"/>
                    <a:gd name="T64" fmla="*/ 101 w 3621"/>
                    <a:gd name="T65" fmla="*/ 12 h 2350"/>
                    <a:gd name="T66" fmla="*/ 165 w 3621"/>
                    <a:gd name="T67" fmla="*/ 0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21" h="2350">
                      <a:moveTo>
                        <a:pt x="165" y="0"/>
                      </a:moveTo>
                      <a:lnTo>
                        <a:pt x="3457" y="0"/>
                      </a:lnTo>
                      <a:lnTo>
                        <a:pt x="3490" y="3"/>
                      </a:lnTo>
                      <a:lnTo>
                        <a:pt x="3521" y="12"/>
                      </a:lnTo>
                      <a:lnTo>
                        <a:pt x="3549" y="27"/>
                      </a:lnTo>
                      <a:lnTo>
                        <a:pt x="3573" y="47"/>
                      </a:lnTo>
                      <a:lnTo>
                        <a:pt x="3593" y="71"/>
                      </a:lnTo>
                      <a:lnTo>
                        <a:pt x="3609" y="98"/>
                      </a:lnTo>
                      <a:lnTo>
                        <a:pt x="3618" y="129"/>
                      </a:lnTo>
                      <a:lnTo>
                        <a:pt x="3621" y="161"/>
                      </a:lnTo>
                      <a:lnTo>
                        <a:pt x="3621" y="1999"/>
                      </a:lnTo>
                      <a:lnTo>
                        <a:pt x="3400" y="1781"/>
                      </a:lnTo>
                      <a:lnTo>
                        <a:pt x="3435" y="1715"/>
                      </a:lnTo>
                      <a:lnTo>
                        <a:pt x="3463" y="1647"/>
                      </a:lnTo>
                      <a:lnTo>
                        <a:pt x="3485" y="1577"/>
                      </a:lnTo>
                      <a:lnTo>
                        <a:pt x="3501" y="1504"/>
                      </a:lnTo>
                      <a:lnTo>
                        <a:pt x="3511" y="1430"/>
                      </a:lnTo>
                      <a:lnTo>
                        <a:pt x="3515" y="1356"/>
                      </a:lnTo>
                      <a:lnTo>
                        <a:pt x="3511" y="1285"/>
                      </a:lnTo>
                      <a:lnTo>
                        <a:pt x="3503" y="1215"/>
                      </a:lnTo>
                      <a:lnTo>
                        <a:pt x="3488" y="1146"/>
                      </a:lnTo>
                      <a:lnTo>
                        <a:pt x="3469" y="1080"/>
                      </a:lnTo>
                      <a:lnTo>
                        <a:pt x="3444" y="1015"/>
                      </a:lnTo>
                      <a:lnTo>
                        <a:pt x="3414" y="953"/>
                      </a:lnTo>
                      <a:lnTo>
                        <a:pt x="3378" y="892"/>
                      </a:lnTo>
                      <a:lnTo>
                        <a:pt x="3337" y="835"/>
                      </a:lnTo>
                      <a:lnTo>
                        <a:pt x="3292" y="781"/>
                      </a:lnTo>
                      <a:lnTo>
                        <a:pt x="3292" y="324"/>
                      </a:lnTo>
                      <a:lnTo>
                        <a:pt x="329" y="324"/>
                      </a:lnTo>
                      <a:lnTo>
                        <a:pt x="329" y="2026"/>
                      </a:lnTo>
                      <a:lnTo>
                        <a:pt x="2068" y="2026"/>
                      </a:lnTo>
                      <a:lnTo>
                        <a:pt x="2123" y="2067"/>
                      </a:lnTo>
                      <a:lnTo>
                        <a:pt x="2179" y="2103"/>
                      </a:lnTo>
                      <a:lnTo>
                        <a:pt x="2238" y="2135"/>
                      </a:lnTo>
                      <a:lnTo>
                        <a:pt x="2299" y="2162"/>
                      </a:lnTo>
                      <a:lnTo>
                        <a:pt x="2362" y="2185"/>
                      </a:lnTo>
                      <a:lnTo>
                        <a:pt x="2428" y="2203"/>
                      </a:lnTo>
                      <a:lnTo>
                        <a:pt x="2494" y="2216"/>
                      </a:lnTo>
                      <a:lnTo>
                        <a:pt x="2562" y="2223"/>
                      </a:lnTo>
                      <a:lnTo>
                        <a:pt x="2631" y="2225"/>
                      </a:lnTo>
                      <a:lnTo>
                        <a:pt x="2707" y="2222"/>
                      </a:lnTo>
                      <a:lnTo>
                        <a:pt x="2782" y="2212"/>
                      </a:lnTo>
                      <a:lnTo>
                        <a:pt x="2855" y="2197"/>
                      </a:lnTo>
                      <a:lnTo>
                        <a:pt x="2927" y="2175"/>
                      </a:lnTo>
                      <a:lnTo>
                        <a:pt x="2997" y="2147"/>
                      </a:lnTo>
                      <a:lnTo>
                        <a:pt x="3063" y="2113"/>
                      </a:lnTo>
                      <a:lnTo>
                        <a:pt x="3292" y="2338"/>
                      </a:lnTo>
                      <a:lnTo>
                        <a:pt x="3296" y="2342"/>
                      </a:lnTo>
                      <a:lnTo>
                        <a:pt x="3302" y="2346"/>
                      </a:lnTo>
                      <a:lnTo>
                        <a:pt x="3306" y="2350"/>
                      </a:lnTo>
                      <a:lnTo>
                        <a:pt x="165" y="2350"/>
                      </a:lnTo>
                      <a:lnTo>
                        <a:pt x="132" y="2347"/>
                      </a:lnTo>
                      <a:lnTo>
                        <a:pt x="101" y="2337"/>
                      </a:lnTo>
                      <a:lnTo>
                        <a:pt x="73" y="2323"/>
                      </a:lnTo>
                      <a:lnTo>
                        <a:pt x="49" y="2302"/>
                      </a:lnTo>
                      <a:lnTo>
                        <a:pt x="28" y="2278"/>
                      </a:lnTo>
                      <a:lnTo>
                        <a:pt x="13" y="2251"/>
                      </a:lnTo>
                      <a:lnTo>
                        <a:pt x="3" y="2220"/>
                      </a:lnTo>
                      <a:lnTo>
                        <a:pt x="0" y="2188"/>
                      </a:lnTo>
                      <a:lnTo>
                        <a:pt x="0" y="161"/>
                      </a:lnTo>
                      <a:lnTo>
                        <a:pt x="3" y="129"/>
                      </a:lnTo>
                      <a:lnTo>
                        <a:pt x="13" y="99"/>
                      </a:lnTo>
                      <a:lnTo>
                        <a:pt x="28" y="71"/>
                      </a:lnTo>
                      <a:lnTo>
                        <a:pt x="49" y="47"/>
                      </a:lnTo>
                      <a:lnTo>
                        <a:pt x="73" y="27"/>
                      </a:lnTo>
                      <a:lnTo>
                        <a:pt x="101" y="12"/>
                      </a:lnTo>
                      <a:lnTo>
                        <a:pt x="132" y="3"/>
                      </a:lnTo>
                      <a:lnTo>
                        <a:pt x="1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32" name="Freeform 44"/>
                <p:cNvSpPr>
                  <a:spLocks noEditPoints="1"/>
                </p:cNvSpPr>
                <p:nvPr/>
              </p:nvSpPr>
              <p:spPr bwMode="auto">
                <a:xfrm>
                  <a:off x="13396913" y="2887663"/>
                  <a:ext cx="515938" cy="508000"/>
                </a:xfrm>
                <a:custGeom>
                  <a:avLst/>
                  <a:gdLst>
                    <a:gd name="T0" fmla="*/ 607 w 1622"/>
                    <a:gd name="T1" fmla="*/ 157 h 1596"/>
                    <a:gd name="T2" fmla="*/ 450 w 1622"/>
                    <a:gd name="T3" fmla="*/ 211 h 1596"/>
                    <a:gd name="T4" fmla="*/ 315 w 1622"/>
                    <a:gd name="T5" fmla="*/ 311 h 1596"/>
                    <a:gd name="T6" fmla="*/ 215 w 1622"/>
                    <a:gd name="T7" fmla="*/ 443 h 1596"/>
                    <a:gd name="T8" fmla="*/ 159 w 1622"/>
                    <a:gd name="T9" fmla="*/ 598 h 1596"/>
                    <a:gd name="T10" fmla="*/ 151 w 1622"/>
                    <a:gd name="T11" fmla="*/ 764 h 1596"/>
                    <a:gd name="T12" fmla="*/ 191 w 1622"/>
                    <a:gd name="T13" fmla="*/ 923 h 1596"/>
                    <a:gd name="T14" fmla="*/ 277 w 1622"/>
                    <a:gd name="T15" fmla="*/ 1064 h 1596"/>
                    <a:gd name="T16" fmla="*/ 403 w 1622"/>
                    <a:gd name="T17" fmla="*/ 1176 h 1596"/>
                    <a:gd name="T18" fmla="*/ 552 w 1622"/>
                    <a:gd name="T19" fmla="*/ 1247 h 1596"/>
                    <a:gd name="T20" fmla="*/ 719 w 1622"/>
                    <a:gd name="T21" fmla="*/ 1271 h 1596"/>
                    <a:gd name="T22" fmla="*/ 885 w 1622"/>
                    <a:gd name="T23" fmla="*/ 1247 h 1596"/>
                    <a:gd name="T24" fmla="*/ 1036 w 1622"/>
                    <a:gd name="T25" fmla="*/ 1176 h 1596"/>
                    <a:gd name="T26" fmla="*/ 1161 w 1622"/>
                    <a:gd name="T27" fmla="*/ 1064 h 1596"/>
                    <a:gd name="T28" fmla="*/ 1247 w 1622"/>
                    <a:gd name="T29" fmla="*/ 923 h 1596"/>
                    <a:gd name="T30" fmla="*/ 1288 w 1622"/>
                    <a:gd name="T31" fmla="*/ 764 h 1596"/>
                    <a:gd name="T32" fmla="*/ 1279 w 1622"/>
                    <a:gd name="T33" fmla="*/ 598 h 1596"/>
                    <a:gd name="T34" fmla="*/ 1223 w 1622"/>
                    <a:gd name="T35" fmla="*/ 443 h 1596"/>
                    <a:gd name="T36" fmla="*/ 1124 w 1622"/>
                    <a:gd name="T37" fmla="*/ 311 h 1596"/>
                    <a:gd name="T38" fmla="*/ 988 w 1622"/>
                    <a:gd name="T39" fmla="*/ 211 h 1596"/>
                    <a:gd name="T40" fmla="*/ 832 w 1622"/>
                    <a:gd name="T41" fmla="*/ 157 h 1596"/>
                    <a:gd name="T42" fmla="*/ 719 w 1622"/>
                    <a:gd name="T43" fmla="*/ 0 h 1596"/>
                    <a:gd name="T44" fmla="*/ 906 w 1622"/>
                    <a:gd name="T45" fmla="*/ 24 h 1596"/>
                    <a:gd name="T46" fmla="*/ 1078 w 1622"/>
                    <a:gd name="T47" fmla="*/ 94 h 1596"/>
                    <a:gd name="T48" fmla="*/ 1228 w 1622"/>
                    <a:gd name="T49" fmla="*/ 208 h 1596"/>
                    <a:gd name="T50" fmla="*/ 1342 w 1622"/>
                    <a:gd name="T51" fmla="*/ 354 h 1596"/>
                    <a:gd name="T52" fmla="*/ 1413 w 1622"/>
                    <a:gd name="T53" fmla="*/ 524 h 1596"/>
                    <a:gd name="T54" fmla="*/ 1437 w 1622"/>
                    <a:gd name="T55" fmla="*/ 708 h 1596"/>
                    <a:gd name="T56" fmla="*/ 1411 w 1622"/>
                    <a:gd name="T57" fmla="*/ 898 h 1596"/>
                    <a:gd name="T58" fmla="*/ 1335 w 1622"/>
                    <a:gd name="T59" fmla="*/ 1072 h 1596"/>
                    <a:gd name="T60" fmla="*/ 1292 w 1622"/>
                    <a:gd name="T61" fmla="*/ 1208 h 1596"/>
                    <a:gd name="T62" fmla="*/ 1340 w 1622"/>
                    <a:gd name="T63" fmla="*/ 1219 h 1596"/>
                    <a:gd name="T64" fmla="*/ 1613 w 1622"/>
                    <a:gd name="T65" fmla="*/ 1489 h 1596"/>
                    <a:gd name="T66" fmla="*/ 1619 w 1622"/>
                    <a:gd name="T67" fmla="*/ 1543 h 1596"/>
                    <a:gd name="T68" fmla="*/ 1585 w 1622"/>
                    <a:gd name="T69" fmla="*/ 1587 h 1596"/>
                    <a:gd name="T70" fmla="*/ 1530 w 1622"/>
                    <a:gd name="T71" fmla="*/ 1594 h 1596"/>
                    <a:gd name="T72" fmla="*/ 1249 w 1622"/>
                    <a:gd name="T73" fmla="*/ 1332 h 1596"/>
                    <a:gd name="T74" fmla="*/ 1228 w 1622"/>
                    <a:gd name="T75" fmla="*/ 1289 h 1596"/>
                    <a:gd name="T76" fmla="*/ 1142 w 1622"/>
                    <a:gd name="T77" fmla="*/ 1279 h 1596"/>
                    <a:gd name="T78" fmla="*/ 973 w 1622"/>
                    <a:gd name="T79" fmla="*/ 1370 h 1596"/>
                    <a:gd name="T80" fmla="*/ 784 w 1622"/>
                    <a:gd name="T81" fmla="*/ 1413 h 1596"/>
                    <a:gd name="T82" fmla="*/ 593 w 1622"/>
                    <a:gd name="T83" fmla="*/ 1405 h 1596"/>
                    <a:gd name="T84" fmla="*/ 416 w 1622"/>
                    <a:gd name="T85" fmla="*/ 1349 h 1596"/>
                    <a:gd name="T86" fmla="*/ 258 w 1622"/>
                    <a:gd name="T87" fmla="*/ 1251 h 1596"/>
                    <a:gd name="T88" fmla="*/ 130 w 1622"/>
                    <a:gd name="T89" fmla="*/ 1113 h 1596"/>
                    <a:gd name="T90" fmla="*/ 43 w 1622"/>
                    <a:gd name="T91" fmla="*/ 951 h 1596"/>
                    <a:gd name="T92" fmla="*/ 3 w 1622"/>
                    <a:gd name="T93" fmla="*/ 770 h 1596"/>
                    <a:gd name="T94" fmla="*/ 11 w 1622"/>
                    <a:gd name="T95" fmla="*/ 584 h 1596"/>
                    <a:gd name="T96" fmla="*/ 68 w 1622"/>
                    <a:gd name="T97" fmla="*/ 409 h 1596"/>
                    <a:gd name="T98" fmla="*/ 168 w 1622"/>
                    <a:gd name="T99" fmla="*/ 254 h 1596"/>
                    <a:gd name="T100" fmla="*/ 307 w 1622"/>
                    <a:gd name="T101" fmla="*/ 127 h 1596"/>
                    <a:gd name="T102" fmla="*/ 473 w 1622"/>
                    <a:gd name="T103" fmla="*/ 43 h 1596"/>
                    <a:gd name="T104" fmla="*/ 656 w 1622"/>
                    <a:gd name="T105" fmla="*/ 3 h 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22" h="1596">
                      <a:moveTo>
                        <a:pt x="719" y="146"/>
                      </a:moveTo>
                      <a:lnTo>
                        <a:pt x="662" y="148"/>
                      </a:lnTo>
                      <a:lnTo>
                        <a:pt x="607" y="157"/>
                      </a:lnTo>
                      <a:lnTo>
                        <a:pt x="552" y="170"/>
                      </a:lnTo>
                      <a:lnTo>
                        <a:pt x="500" y="188"/>
                      </a:lnTo>
                      <a:lnTo>
                        <a:pt x="450" y="211"/>
                      </a:lnTo>
                      <a:lnTo>
                        <a:pt x="403" y="240"/>
                      </a:lnTo>
                      <a:lnTo>
                        <a:pt x="357" y="272"/>
                      </a:lnTo>
                      <a:lnTo>
                        <a:pt x="315" y="311"/>
                      </a:lnTo>
                      <a:lnTo>
                        <a:pt x="277" y="352"/>
                      </a:lnTo>
                      <a:lnTo>
                        <a:pt x="244" y="396"/>
                      </a:lnTo>
                      <a:lnTo>
                        <a:pt x="215" y="443"/>
                      </a:lnTo>
                      <a:lnTo>
                        <a:pt x="191" y="493"/>
                      </a:lnTo>
                      <a:lnTo>
                        <a:pt x="172" y="544"/>
                      </a:lnTo>
                      <a:lnTo>
                        <a:pt x="159" y="598"/>
                      </a:lnTo>
                      <a:lnTo>
                        <a:pt x="151" y="652"/>
                      </a:lnTo>
                      <a:lnTo>
                        <a:pt x="148" y="708"/>
                      </a:lnTo>
                      <a:lnTo>
                        <a:pt x="151" y="764"/>
                      </a:lnTo>
                      <a:lnTo>
                        <a:pt x="159" y="818"/>
                      </a:lnTo>
                      <a:lnTo>
                        <a:pt x="172" y="872"/>
                      </a:lnTo>
                      <a:lnTo>
                        <a:pt x="191" y="923"/>
                      </a:lnTo>
                      <a:lnTo>
                        <a:pt x="215" y="972"/>
                      </a:lnTo>
                      <a:lnTo>
                        <a:pt x="244" y="1019"/>
                      </a:lnTo>
                      <a:lnTo>
                        <a:pt x="277" y="1064"/>
                      </a:lnTo>
                      <a:lnTo>
                        <a:pt x="315" y="1106"/>
                      </a:lnTo>
                      <a:lnTo>
                        <a:pt x="357" y="1143"/>
                      </a:lnTo>
                      <a:lnTo>
                        <a:pt x="403" y="1176"/>
                      </a:lnTo>
                      <a:lnTo>
                        <a:pt x="450" y="1204"/>
                      </a:lnTo>
                      <a:lnTo>
                        <a:pt x="500" y="1228"/>
                      </a:lnTo>
                      <a:lnTo>
                        <a:pt x="552" y="1247"/>
                      </a:lnTo>
                      <a:lnTo>
                        <a:pt x="607" y="1260"/>
                      </a:lnTo>
                      <a:lnTo>
                        <a:pt x="662" y="1267"/>
                      </a:lnTo>
                      <a:lnTo>
                        <a:pt x="719" y="1271"/>
                      </a:lnTo>
                      <a:lnTo>
                        <a:pt x="775" y="1267"/>
                      </a:lnTo>
                      <a:lnTo>
                        <a:pt x="832" y="1260"/>
                      </a:lnTo>
                      <a:lnTo>
                        <a:pt x="885" y="1247"/>
                      </a:lnTo>
                      <a:lnTo>
                        <a:pt x="938" y="1228"/>
                      </a:lnTo>
                      <a:lnTo>
                        <a:pt x="988" y="1204"/>
                      </a:lnTo>
                      <a:lnTo>
                        <a:pt x="1036" y="1176"/>
                      </a:lnTo>
                      <a:lnTo>
                        <a:pt x="1081" y="1143"/>
                      </a:lnTo>
                      <a:lnTo>
                        <a:pt x="1124" y="1106"/>
                      </a:lnTo>
                      <a:lnTo>
                        <a:pt x="1161" y="1064"/>
                      </a:lnTo>
                      <a:lnTo>
                        <a:pt x="1195" y="1019"/>
                      </a:lnTo>
                      <a:lnTo>
                        <a:pt x="1223" y="972"/>
                      </a:lnTo>
                      <a:lnTo>
                        <a:pt x="1247" y="923"/>
                      </a:lnTo>
                      <a:lnTo>
                        <a:pt x="1266" y="872"/>
                      </a:lnTo>
                      <a:lnTo>
                        <a:pt x="1279" y="818"/>
                      </a:lnTo>
                      <a:lnTo>
                        <a:pt x="1288" y="764"/>
                      </a:lnTo>
                      <a:lnTo>
                        <a:pt x="1290" y="708"/>
                      </a:lnTo>
                      <a:lnTo>
                        <a:pt x="1288" y="652"/>
                      </a:lnTo>
                      <a:lnTo>
                        <a:pt x="1279" y="598"/>
                      </a:lnTo>
                      <a:lnTo>
                        <a:pt x="1266" y="544"/>
                      </a:lnTo>
                      <a:lnTo>
                        <a:pt x="1247" y="493"/>
                      </a:lnTo>
                      <a:lnTo>
                        <a:pt x="1223" y="443"/>
                      </a:lnTo>
                      <a:lnTo>
                        <a:pt x="1195" y="396"/>
                      </a:lnTo>
                      <a:lnTo>
                        <a:pt x="1161" y="352"/>
                      </a:lnTo>
                      <a:lnTo>
                        <a:pt x="1124" y="311"/>
                      </a:lnTo>
                      <a:lnTo>
                        <a:pt x="1081" y="272"/>
                      </a:lnTo>
                      <a:lnTo>
                        <a:pt x="1036" y="240"/>
                      </a:lnTo>
                      <a:lnTo>
                        <a:pt x="988" y="211"/>
                      </a:lnTo>
                      <a:lnTo>
                        <a:pt x="938" y="188"/>
                      </a:lnTo>
                      <a:lnTo>
                        <a:pt x="885" y="170"/>
                      </a:lnTo>
                      <a:lnTo>
                        <a:pt x="832" y="157"/>
                      </a:lnTo>
                      <a:lnTo>
                        <a:pt x="775" y="148"/>
                      </a:lnTo>
                      <a:lnTo>
                        <a:pt x="719" y="146"/>
                      </a:lnTo>
                      <a:close/>
                      <a:moveTo>
                        <a:pt x="719" y="0"/>
                      </a:moveTo>
                      <a:lnTo>
                        <a:pt x="783" y="3"/>
                      </a:lnTo>
                      <a:lnTo>
                        <a:pt x="845" y="11"/>
                      </a:lnTo>
                      <a:lnTo>
                        <a:pt x="906" y="24"/>
                      </a:lnTo>
                      <a:lnTo>
                        <a:pt x="965" y="43"/>
                      </a:lnTo>
                      <a:lnTo>
                        <a:pt x="1023" y="66"/>
                      </a:lnTo>
                      <a:lnTo>
                        <a:pt x="1078" y="94"/>
                      </a:lnTo>
                      <a:lnTo>
                        <a:pt x="1130" y="127"/>
                      </a:lnTo>
                      <a:lnTo>
                        <a:pt x="1180" y="165"/>
                      </a:lnTo>
                      <a:lnTo>
                        <a:pt x="1228" y="208"/>
                      </a:lnTo>
                      <a:lnTo>
                        <a:pt x="1270" y="254"/>
                      </a:lnTo>
                      <a:lnTo>
                        <a:pt x="1309" y="303"/>
                      </a:lnTo>
                      <a:lnTo>
                        <a:pt x="1342" y="354"/>
                      </a:lnTo>
                      <a:lnTo>
                        <a:pt x="1371" y="409"/>
                      </a:lnTo>
                      <a:lnTo>
                        <a:pt x="1394" y="466"/>
                      </a:lnTo>
                      <a:lnTo>
                        <a:pt x="1413" y="524"/>
                      </a:lnTo>
                      <a:lnTo>
                        <a:pt x="1426" y="584"/>
                      </a:lnTo>
                      <a:lnTo>
                        <a:pt x="1435" y="645"/>
                      </a:lnTo>
                      <a:lnTo>
                        <a:pt x="1437" y="708"/>
                      </a:lnTo>
                      <a:lnTo>
                        <a:pt x="1434" y="773"/>
                      </a:lnTo>
                      <a:lnTo>
                        <a:pt x="1426" y="836"/>
                      </a:lnTo>
                      <a:lnTo>
                        <a:pt x="1411" y="898"/>
                      </a:lnTo>
                      <a:lnTo>
                        <a:pt x="1391" y="958"/>
                      </a:lnTo>
                      <a:lnTo>
                        <a:pt x="1365" y="1016"/>
                      </a:lnTo>
                      <a:lnTo>
                        <a:pt x="1335" y="1072"/>
                      </a:lnTo>
                      <a:lnTo>
                        <a:pt x="1299" y="1124"/>
                      </a:lnTo>
                      <a:lnTo>
                        <a:pt x="1258" y="1174"/>
                      </a:lnTo>
                      <a:lnTo>
                        <a:pt x="1292" y="1208"/>
                      </a:lnTo>
                      <a:lnTo>
                        <a:pt x="1309" y="1208"/>
                      </a:lnTo>
                      <a:lnTo>
                        <a:pt x="1324" y="1212"/>
                      </a:lnTo>
                      <a:lnTo>
                        <a:pt x="1340" y="1219"/>
                      </a:lnTo>
                      <a:lnTo>
                        <a:pt x="1353" y="1229"/>
                      </a:lnTo>
                      <a:lnTo>
                        <a:pt x="1600" y="1474"/>
                      </a:lnTo>
                      <a:lnTo>
                        <a:pt x="1613" y="1489"/>
                      </a:lnTo>
                      <a:lnTo>
                        <a:pt x="1619" y="1506"/>
                      </a:lnTo>
                      <a:lnTo>
                        <a:pt x="1622" y="1524"/>
                      </a:lnTo>
                      <a:lnTo>
                        <a:pt x="1619" y="1543"/>
                      </a:lnTo>
                      <a:lnTo>
                        <a:pt x="1613" y="1560"/>
                      </a:lnTo>
                      <a:lnTo>
                        <a:pt x="1600" y="1575"/>
                      </a:lnTo>
                      <a:lnTo>
                        <a:pt x="1585" y="1587"/>
                      </a:lnTo>
                      <a:lnTo>
                        <a:pt x="1567" y="1594"/>
                      </a:lnTo>
                      <a:lnTo>
                        <a:pt x="1548" y="1596"/>
                      </a:lnTo>
                      <a:lnTo>
                        <a:pt x="1530" y="1594"/>
                      </a:lnTo>
                      <a:lnTo>
                        <a:pt x="1512" y="1587"/>
                      </a:lnTo>
                      <a:lnTo>
                        <a:pt x="1496" y="1575"/>
                      </a:lnTo>
                      <a:lnTo>
                        <a:pt x="1249" y="1332"/>
                      </a:lnTo>
                      <a:lnTo>
                        <a:pt x="1238" y="1319"/>
                      </a:lnTo>
                      <a:lnTo>
                        <a:pt x="1231" y="1304"/>
                      </a:lnTo>
                      <a:lnTo>
                        <a:pt x="1228" y="1289"/>
                      </a:lnTo>
                      <a:lnTo>
                        <a:pt x="1228" y="1273"/>
                      </a:lnTo>
                      <a:lnTo>
                        <a:pt x="1193" y="1239"/>
                      </a:lnTo>
                      <a:lnTo>
                        <a:pt x="1142" y="1279"/>
                      </a:lnTo>
                      <a:lnTo>
                        <a:pt x="1088" y="1314"/>
                      </a:lnTo>
                      <a:lnTo>
                        <a:pt x="1032" y="1345"/>
                      </a:lnTo>
                      <a:lnTo>
                        <a:pt x="973" y="1370"/>
                      </a:lnTo>
                      <a:lnTo>
                        <a:pt x="912" y="1390"/>
                      </a:lnTo>
                      <a:lnTo>
                        <a:pt x="850" y="1404"/>
                      </a:lnTo>
                      <a:lnTo>
                        <a:pt x="784" y="1413"/>
                      </a:lnTo>
                      <a:lnTo>
                        <a:pt x="719" y="1416"/>
                      </a:lnTo>
                      <a:lnTo>
                        <a:pt x="656" y="1413"/>
                      </a:lnTo>
                      <a:lnTo>
                        <a:pt x="593" y="1405"/>
                      </a:lnTo>
                      <a:lnTo>
                        <a:pt x="532" y="1392"/>
                      </a:lnTo>
                      <a:lnTo>
                        <a:pt x="473" y="1373"/>
                      </a:lnTo>
                      <a:lnTo>
                        <a:pt x="416" y="1349"/>
                      </a:lnTo>
                      <a:lnTo>
                        <a:pt x="361" y="1322"/>
                      </a:lnTo>
                      <a:lnTo>
                        <a:pt x="307" y="1288"/>
                      </a:lnTo>
                      <a:lnTo>
                        <a:pt x="258" y="1251"/>
                      </a:lnTo>
                      <a:lnTo>
                        <a:pt x="211" y="1208"/>
                      </a:lnTo>
                      <a:lnTo>
                        <a:pt x="168" y="1162"/>
                      </a:lnTo>
                      <a:lnTo>
                        <a:pt x="130" y="1113"/>
                      </a:lnTo>
                      <a:lnTo>
                        <a:pt x="97" y="1061"/>
                      </a:lnTo>
                      <a:lnTo>
                        <a:pt x="68" y="1006"/>
                      </a:lnTo>
                      <a:lnTo>
                        <a:pt x="43" y="951"/>
                      </a:lnTo>
                      <a:lnTo>
                        <a:pt x="24" y="892"/>
                      </a:lnTo>
                      <a:lnTo>
                        <a:pt x="11" y="832"/>
                      </a:lnTo>
                      <a:lnTo>
                        <a:pt x="3" y="770"/>
                      </a:lnTo>
                      <a:lnTo>
                        <a:pt x="0" y="708"/>
                      </a:lnTo>
                      <a:lnTo>
                        <a:pt x="3" y="645"/>
                      </a:lnTo>
                      <a:lnTo>
                        <a:pt x="11" y="584"/>
                      </a:lnTo>
                      <a:lnTo>
                        <a:pt x="24" y="524"/>
                      </a:lnTo>
                      <a:lnTo>
                        <a:pt x="43" y="466"/>
                      </a:lnTo>
                      <a:lnTo>
                        <a:pt x="68" y="409"/>
                      </a:lnTo>
                      <a:lnTo>
                        <a:pt x="97" y="354"/>
                      </a:lnTo>
                      <a:lnTo>
                        <a:pt x="130" y="303"/>
                      </a:lnTo>
                      <a:lnTo>
                        <a:pt x="168" y="254"/>
                      </a:lnTo>
                      <a:lnTo>
                        <a:pt x="211" y="208"/>
                      </a:lnTo>
                      <a:lnTo>
                        <a:pt x="258" y="165"/>
                      </a:lnTo>
                      <a:lnTo>
                        <a:pt x="307" y="127"/>
                      </a:lnTo>
                      <a:lnTo>
                        <a:pt x="361" y="94"/>
                      </a:lnTo>
                      <a:lnTo>
                        <a:pt x="416" y="66"/>
                      </a:lnTo>
                      <a:lnTo>
                        <a:pt x="473" y="43"/>
                      </a:lnTo>
                      <a:lnTo>
                        <a:pt x="532" y="24"/>
                      </a:lnTo>
                      <a:lnTo>
                        <a:pt x="593" y="11"/>
                      </a:lnTo>
                      <a:lnTo>
                        <a:pt x="656" y="3"/>
                      </a:lnTo>
                      <a:lnTo>
                        <a:pt x="7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grpSp>
        <p:grpSp>
          <p:nvGrpSpPr>
            <p:cNvPr id="113" name="Group 112"/>
            <p:cNvGrpSpPr/>
            <p:nvPr/>
          </p:nvGrpSpPr>
          <p:grpSpPr>
            <a:xfrm>
              <a:off x="8108399" y="6031644"/>
              <a:ext cx="2222069" cy="215444"/>
              <a:chOff x="-701371" y="6053942"/>
              <a:chExt cx="2222069" cy="215444"/>
            </a:xfrm>
          </p:grpSpPr>
          <p:sp>
            <p:nvSpPr>
              <p:cNvPr id="123" name="Content Placeholder 1"/>
              <p:cNvSpPr txBox="1">
                <a:spLocks/>
              </p:cNvSpPr>
              <p:nvPr/>
            </p:nvSpPr>
            <p:spPr bwMode="gray">
              <a:xfrm>
                <a:off x="-422911" y="6053942"/>
                <a:ext cx="1943609" cy="215444"/>
              </a:xfrm>
              <a:prstGeom prst="rect">
                <a:avLst/>
              </a:prstGeom>
              <a:noFill/>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400" dirty="0">
                    <a:latin typeface="Calibri" panose="020F0502020204030204" pitchFamily="34" charset="0"/>
                    <a:cs typeface="Calibri" panose="020F0502020204030204" pitchFamily="34" charset="0"/>
                  </a:rPr>
                  <a:t>Core Web/App server logs </a:t>
                </a:r>
              </a:p>
            </p:txBody>
          </p:sp>
          <p:sp>
            <p:nvSpPr>
              <p:cNvPr id="124" name="Freeform 34"/>
              <p:cNvSpPr>
                <a:spLocks noEditPoints="1"/>
              </p:cNvSpPr>
              <p:nvPr/>
            </p:nvSpPr>
            <p:spPr bwMode="auto">
              <a:xfrm>
                <a:off x="-701371" y="6058374"/>
                <a:ext cx="251030" cy="206581"/>
              </a:xfrm>
              <a:custGeom>
                <a:avLst/>
                <a:gdLst>
                  <a:gd name="T0" fmla="*/ 311 w 3447"/>
                  <a:gd name="T1" fmla="*/ 1796 h 2834"/>
                  <a:gd name="T2" fmla="*/ 964 w 3447"/>
                  <a:gd name="T3" fmla="*/ 1557 h 2834"/>
                  <a:gd name="T4" fmla="*/ 3001 w 3447"/>
                  <a:gd name="T5" fmla="*/ 1258 h 2834"/>
                  <a:gd name="T6" fmla="*/ 2990 w 3447"/>
                  <a:gd name="T7" fmla="*/ 1327 h 2834"/>
                  <a:gd name="T8" fmla="*/ 2941 w 3447"/>
                  <a:gd name="T9" fmla="*/ 1380 h 2834"/>
                  <a:gd name="T10" fmla="*/ 2871 w 3447"/>
                  <a:gd name="T11" fmla="*/ 1394 h 2834"/>
                  <a:gd name="T12" fmla="*/ 2806 w 3447"/>
                  <a:gd name="T13" fmla="*/ 1370 h 2834"/>
                  <a:gd name="T14" fmla="*/ 2986 w 3447"/>
                  <a:gd name="T15" fmla="*/ 1211 h 2834"/>
                  <a:gd name="T16" fmla="*/ 2752 w 3447"/>
                  <a:gd name="T17" fmla="*/ 1295 h 2834"/>
                  <a:gd name="T18" fmla="*/ 243 w 3447"/>
                  <a:gd name="T19" fmla="*/ 493 h 2834"/>
                  <a:gd name="T20" fmla="*/ 745 w 3447"/>
                  <a:gd name="T21" fmla="*/ 1657 h 2834"/>
                  <a:gd name="T22" fmla="*/ 1464 w 3447"/>
                  <a:gd name="T23" fmla="*/ 571 h 2834"/>
                  <a:gd name="T24" fmla="*/ 2784 w 3447"/>
                  <a:gd name="T25" fmla="*/ 1657 h 2834"/>
                  <a:gd name="T26" fmla="*/ 2734 w 3447"/>
                  <a:gd name="T27" fmla="*/ 1788 h 2834"/>
                  <a:gd name="T28" fmla="*/ 1511 w 3447"/>
                  <a:gd name="T29" fmla="*/ 1221 h 2834"/>
                  <a:gd name="T30" fmla="*/ 3447 w 3447"/>
                  <a:gd name="T31" fmla="*/ 2592 h 2834"/>
                  <a:gd name="T32" fmla="*/ 243 w 3447"/>
                  <a:gd name="T33" fmla="*/ 2834 h 2834"/>
                  <a:gd name="T34" fmla="*/ 0 w 3447"/>
                  <a:gd name="T35" fmla="*/ 2522 h 2834"/>
                  <a:gd name="T36" fmla="*/ 2448 w 3447"/>
                  <a:gd name="T37" fmla="*/ 82 h 2834"/>
                  <a:gd name="T38" fmla="*/ 2311 w 3447"/>
                  <a:gd name="T39" fmla="*/ 99 h 2834"/>
                  <a:gd name="T40" fmla="*/ 2184 w 3447"/>
                  <a:gd name="T41" fmla="*/ 163 h 2834"/>
                  <a:gd name="T42" fmla="*/ 2089 w 3447"/>
                  <a:gd name="T43" fmla="*/ 264 h 2834"/>
                  <a:gd name="T44" fmla="*/ 2032 w 3447"/>
                  <a:gd name="T45" fmla="*/ 387 h 2834"/>
                  <a:gd name="T46" fmla="*/ 2020 w 3447"/>
                  <a:gd name="T47" fmla="*/ 521 h 2834"/>
                  <a:gd name="T48" fmla="*/ 2051 w 3447"/>
                  <a:gd name="T49" fmla="*/ 656 h 2834"/>
                  <a:gd name="T50" fmla="*/ 2130 w 3447"/>
                  <a:gd name="T51" fmla="*/ 776 h 2834"/>
                  <a:gd name="T52" fmla="*/ 2240 w 3447"/>
                  <a:gd name="T53" fmla="*/ 858 h 2834"/>
                  <a:gd name="T54" fmla="*/ 2368 w 3447"/>
                  <a:gd name="T55" fmla="*/ 900 h 2834"/>
                  <a:gd name="T56" fmla="*/ 2504 w 3447"/>
                  <a:gd name="T57" fmla="*/ 899 h 2834"/>
                  <a:gd name="T58" fmla="*/ 2635 w 3447"/>
                  <a:gd name="T59" fmla="*/ 850 h 2834"/>
                  <a:gd name="T60" fmla="*/ 2744 w 3447"/>
                  <a:gd name="T61" fmla="*/ 760 h 2834"/>
                  <a:gd name="T62" fmla="*/ 2813 w 3447"/>
                  <a:gd name="T63" fmla="*/ 643 h 2834"/>
                  <a:gd name="T64" fmla="*/ 2840 w 3447"/>
                  <a:gd name="T65" fmla="*/ 511 h 2834"/>
                  <a:gd name="T66" fmla="*/ 2824 w 3447"/>
                  <a:gd name="T67" fmla="*/ 375 h 2834"/>
                  <a:gd name="T68" fmla="*/ 2760 w 3447"/>
                  <a:gd name="T69" fmla="*/ 247 h 2834"/>
                  <a:gd name="T70" fmla="*/ 2659 w 3447"/>
                  <a:gd name="T71" fmla="*/ 152 h 2834"/>
                  <a:gd name="T72" fmla="*/ 2537 w 3447"/>
                  <a:gd name="T73" fmla="*/ 95 h 2834"/>
                  <a:gd name="T74" fmla="*/ 2417 w 3447"/>
                  <a:gd name="T75" fmla="*/ 0 h 2834"/>
                  <a:gd name="T76" fmla="*/ 2558 w 3447"/>
                  <a:gd name="T77" fmla="*/ 17 h 2834"/>
                  <a:gd name="T78" fmla="*/ 2688 w 3447"/>
                  <a:gd name="T79" fmla="*/ 73 h 2834"/>
                  <a:gd name="T80" fmla="*/ 2798 w 3447"/>
                  <a:gd name="T81" fmla="*/ 165 h 2834"/>
                  <a:gd name="T82" fmla="*/ 2880 w 3447"/>
                  <a:gd name="T83" fmla="*/ 291 h 2834"/>
                  <a:gd name="T84" fmla="*/ 2919 w 3447"/>
                  <a:gd name="T85" fmla="*/ 432 h 2834"/>
                  <a:gd name="T86" fmla="*/ 2916 w 3447"/>
                  <a:gd name="T87" fmla="*/ 574 h 2834"/>
                  <a:gd name="T88" fmla="*/ 2873 w 3447"/>
                  <a:gd name="T89" fmla="*/ 710 h 2834"/>
                  <a:gd name="T90" fmla="*/ 2792 w 3447"/>
                  <a:gd name="T91" fmla="*/ 828 h 2834"/>
                  <a:gd name="T92" fmla="*/ 2676 w 3447"/>
                  <a:gd name="T93" fmla="*/ 921 h 2834"/>
                  <a:gd name="T94" fmla="*/ 2539 w 3447"/>
                  <a:gd name="T95" fmla="*/ 975 h 2834"/>
                  <a:gd name="T96" fmla="*/ 2396 w 3447"/>
                  <a:gd name="T97" fmla="*/ 985 h 2834"/>
                  <a:gd name="T98" fmla="*/ 2257 w 3447"/>
                  <a:gd name="T99" fmla="*/ 955 h 2834"/>
                  <a:gd name="T100" fmla="*/ 2132 w 3447"/>
                  <a:gd name="T101" fmla="*/ 887 h 2834"/>
                  <a:gd name="T102" fmla="*/ 2030 w 3447"/>
                  <a:gd name="T103" fmla="*/ 782 h 2834"/>
                  <a:gd name="T104" fmla="*/ 1961 w 3447"/>
                  <a:gd name="T105" fmla="*/ 649 h 2834"/>
                  <a:gd name="T106" fmla="*/ 1937 w 3447"/>
                  <a:gd name="T107" fmla="*/ 507 h 2834"/>
                  <a:gd name="T108" fmla="*/ 1954 w 3447"/>
                  <a:gd name="T109" fmla="*/ 366 h 2834"/>
                  <a:gd name="T110" fmla="*/ 2010 w 3447"/>
                  <a:gd name="T111" fmla="*/ 235 h 2834"/>
                  <a:gd name="T112" fmla="*/ 2102 w 3447"/>
                  <a:gd name="T113" fmla="*/ 124 h 2834"/>
                  <a:gd name="T114" fmla="*/ 2228 w 3447"/>
                  <a:gd name="T115" fmla="*/ 43 h 2834"/>
                  <a:gd name="T116" fmla="*/ 2369 w 3447"/>
                  <a:gd name="T117" fmla="*/ 4 h 2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7" h="2834">
                    <a:moveTo>
                      <a:pt x="964" y="1557"/>
                    </a:moveTo>
                    <a:lnTo>
                      <a:pt x="824" y="1796"/>
                    </a:lnTo>
                    <a:lnTo>
                      <a:pt x="311" y="1796"/>
                    </a:lnTo>
                    <a:lnTo>
                      <a:pt x="311" y="2523"/>
                    </a:lnTo>
                    <a:lnTo>
                      <a:pt x="1303" y="2523"/>
                    </a:lnTo>
                    <a:lnTo>
                      <a:pt x="964" y="1557"/>
                    </a:lnTo>
                    <a:close/>
                    <a:moveTo>
                      <a:pt x="2986" y="1211"/>
                    </a:moveTo>
                    <a:lnTo>
                      <a:pt x="2996" y="1234"/>
                    </a:lnTo>
                    <a:lnTo>
                      <a:pt x="3001" y="1258"/>
                    </a:lnTo>
                    <a:lnTo>
                      <a:pt x="3001" y="1281"/>
                    </a:lnTo>
                    <a:lnTo>
                      <a:pt x="2998" y="1304"/>
                    </a:lnTo>
                    <a:lnTo>
                      <a:pt x="2990" y="1327"/>
                    </a:lnTo>
                    <a:lnTo>
                      <a:pt x="2977" y="1347"/>
                    </a:lnTo>
                    <a:lnTo>
                      <a:pt x="2961" y="1365"/>
                    </a:lnTo>
                    <a:lnTo>
                      <a:pt x="2941" y="1380"/>
                    </a:lnTo>
                    <a:lnTo>
                      <a:pt x="2919" y="1389"/>
                    </a:lnTo>
                    <a:lnTo>
                      <a:pt x="2894" y="1394"/>
                    </a:lnTo>
                    <a:lnTo>
                      <a:pt x="2871" y="1394"/>
                    </a:lnTo>
                    <a:lnTo>
                      <a:pt x="2848" y="1391"/>
                    </a:lnTo>
                    <a:lnTo>
                      <a:pt x="2826" y="1383"/>
                    </a:lnTo>
                    <a:lnTo>
                      <a:pt x="2806" y="1370"/>
                    </a:lnTo>
                    <a:lnTo>
                      <a:pt x="2789" y="1354"/>
                    </a:lnTo>
                    <a:lnTo>
                      <a:pt x="2774" y="1334"/>
                    </a:lnTo>
                    <a:lnTo>
                      <a:pt x="2986" y="1211"/>
                    </a:lnTo>
                    <a:close/>
                    <a:moveTo>
                      <a:pt x="2800" y="890"/>
                    </a:moveTo>
                    <a:lnTo>
                      <a:pt x="2963" y="1173"/>
                    </a:lnTo>
                    <a:lnTo>
                      <a:pt x="2752" y="1295"/>
                    </a:lnTo>
                    <a:lnTo>
                      <a:pt x="2588" y="1013"/>
                    </a:lnTo>
                    <a:lnTo>
                      <a:pt x="2800" y="890"/>
                    </a:lnTo>
                    <a:close/>
                    <a:moveTo>
                      <a:pt x="243" y="493"/>
                    </a:moveTo>
                    <a:lnTo>
                      <a:pt x="311" y="493"/>
                    </a:lnTo>
                    <a:lnTo>
                      <a:pt x="311" y="1657"/>
                    </a:lnTo>
                    <a:lnTo>
                      <a:pt x="745" y="1657"/>
                    </a:lnTo>
                    <a:lnTo>
                      <a:pt x="996" y="1228"/>
                    </a:lnTo>
                    <a:lnTo>
                      <a:pt x="1262" y="1990"/>
                    </a:lnTo>
                    <a:lnTo>
                      <a:pt x="1464" y="571"/>
                    </a:lnTo>
                    <a:lnTo>
                      <a:pt x="1848" y="1870"/>
                    </a:lnTo>
                    <a:lnTo>
                      <a:pt x="2216" y="1348"/>
                    </a:lnTo>
                    <a:lnTo>
                      <a:pt x="2784" y="1657"/>
                    </a:lnTo>
                    <a:lnTo>
                      <a:pt x="3447" y="1657"/>
                    </a:lnTo>
                    <a:lnTo>
                      <a:pt x="3447" y="1796"/>
                    </a:lnTo>
                    <a:lnTo>
                      <a:pt x="2734" y="1788"/>
                    </a:lnTo>
                    <a:lnTo>
                      <a:pt x="2258" y="1529"/>
                    </a:lnTo>
                    <a:lnTo>
                      <a:pt x="1796" y="2183"/>
                    </a:lnTo>
                    <a:lnTo>
                      <a:pt x="1511" y="1221"/>
                    </a:lnTo>
                    <a:lnTo>
                      <a:pt x="1327" y="2523"/>
                    </a:lnTo>
                    <a:lnTo>
                      <a:pt x="3447" y="2523"/>
                    </a:lnTo>
                    <a:lnTo>
                      <a:pt x="3447" y="2592"/>
                    </a:lnTo>
                    <a:lnTo>
                      <a:pt x="311" y="2592"/>
                    </a:lnTo>
                    <a:lnTo>
                      <a:pt x="311" y="2834"/>
                    </a:lnTo>
                    <a:lnTo>
                      <a:pt x="243" y="2834"/>
                    </a:lnTo>
                    <a:lnTo>
                      <a:pt x="243" y="2592"/>
                    </a:lnTo>
                    <a:lnTo>
                      <a:pt x="0" y="2592"/>
                    </a:lnTo>
                    <a:lnTo>
                      <a:pt x="0" y="2522"/>
                    </a:lnTo>
                    <a:lnTo>
                      <a:pt x="243" y="2522"/>
                    </a:lnTo>
                    <a:lnTo>
                      <a:pt x="243" y="493"/>
                    </a:lnTo>
                    <a:close/>
                    <a:moveTo>
                      <a:pt x="2448" y="82"/>
                    </a:moveTo>
                    <a:lnTo>
                      <a:pt x="2402" y="83"/>
                    </a:lnTo>
                    <a:lnTo>
                      <a:pt x="2356" y="88"/>
                    </a:lnTo>
                    <a:lnTo>
                      <a:pt x="2311" y="99"/>
                    </a:lnTo>
                    <a:lnTo>
                      <a:pt x="2268" y="116"/>
                    </a:lnTo>
                    <a:lnTo>
                      <a:pt x="2224" y="137"/>
                    </a:lnTo>
                    <a:lnTo>
                      <a:pt x="2184" y="163"/>
                    </a:lnTo>
                    <a:lnTo>
                      <a:pt x="2148" y="193"/>
                    </a:lnTo>
                    <a:lnTo>
                      <a:pt x="2116" y="227"/>
                    </a:lnTo>
                    <a:lnTo>
                      <a:pt x="2089" y="264"/>
                    </a:lnTo>
                    <a:lnTo>
                      <a:pt x="2065" y="302"/>
                    </a:lnTo>
                    <a:lnTo>
                      <a:pt x="2046" y="343"/>
                    </a:lnTo>
                    <a:lnTo>
                      <a:pt x="2032" y="387"/>
                    </a:lnTo>
                    <a:lnTo>
                      <a:pt x="2023" y="431"/>
                    </a:lnTo>
                    <a:lnTo>
                      <a:pt x="2019" y="476"/>
                    </a:lnTo>
                    <a:lnTo>
                      <a:pt x="2020" y="521"/>
                    </a:lnTo>
                    <a:lnTo>
                      <a:pt x="2025" y="567"/>
                    </a:lnTo>
                    <a:lnTo>
                      <a:pt x="2036" y="612"/>
                    </a:lnTo>
                    <a:lnTo>
                      <a:pt x="2051" y="656"/>
                    </a:lnTo>
                    <a:lnTo>
                      <a:pt x="2074" y="699"/>
                    </a:lnTo>
                    <a:lnTo>
                      <a:pt x="2100" y="740"/>
                    </a:lnTo>
                    <a:lnTo>
                      <a:pt x="2130" y="776"/>
                    </a:lnTo>
                    <a:lnTo>
                      <a:pt x="2164" y="807"/>
                    </a:lnTo>
                    <a:lnTo>
                      <a:pt x="2201" y="835"/>
                    </a:lnTo>
                    <a:lnTo>
                      <a:pt x="2240" y="858"/>
                    </a:lnTo>
                    <a:lnTo>
                      <a:pt x="2280" y="876"/>
                    </a:lnTo>
                    <a:lnTo>
                      <a:pt x="2324" y="891"/>
                    </a:lnTo>
                    <a:lnTo>
                      <a:pt x="2368" y="900"/>
                    </a:lnTo>
                    <a:lnTo>
                      <a:pt x="2413" y="905"/>
                    </a:lnTo>
                    <a:lnTo>
                      <a:pt x="2458" y="904"/>
                    </a:lnTo>
                    <a:lnTo>
                      <a:pt x="2504" y="899"/>
                    </a:lnTo>
                    <a:lnTo>
                      <a:pt x="2548" y="888"/>
                    </a:lnTo>
                    <a:lnTo>
                      <a:pt x="2593" y="871"/>
                    </a:lnTo>
                    <a:lnTo>
                      <a:pt x="2635" y="850"/>
                    </a:lnTo>
                    <a:lnTo>
                      <a:pt x="2675" y="823"/>
                    </a:lnTo>
                    <a:lnTo>
                      <a:pt x="2711" y="794"/>
                    </a:lnTo>
                    <a:lnTo>
                      <a:pt x="2744" y="760"/>
                    </a:lnTo>
                    <a:lnTo>
                      <a:pt x="2772" y="723"/>
                    </a:lnTo>
                    <a:lnTo>
                      <a:pt x="2794" y="685"/>
                    </a:lnTo>
                    <a:lnTo>
                      <a:pt x="2813" y="643"/>
                    </a:lnTo>
                    <a:lnTo>
                      <a:pt x="2827" y="600"/>
                    </a:lnTo>
                    <a:lnTo>
                      <a:pt x="2836" y="555"/>
                    </a:lnTo>
                    <a:lnTo>
                      <a:pt x="2840" y="511"/>
                    </a:lnTo>
                    <a:lnTo>
                      <a:pt x="2840" y="465"/>
                    </a:lnTo>
                    <a:lnTo>
                      <a:pt x="2835" y="420"/>
                    </a:lnTo>
                    <a:lnTo>
                      <a:pt x="2824" y="375"/>
                    </a:lnTo>
                    <a:lnTo>
                      <a:pt x="2808" y="331"/>
                    </a:lnTo>
                    <a:lnTo>
                      <a:pt x="2786" y="287"/>
                    </a:lnTo>
                    <a:lnTo>
                      <a:pt x="2760" y="247"/>
                    </a:lnTo>
                    <a:lnTo>
                      <a:pt x="2729" y="211"/>
                    </a:lnTo>
                    <a:lnTo>
                      <a:pt x="2696" y="179"/>
                    </a:lnTo>
                    <a:lnTo>
                      <a:pt x="2659" y="152"/>
                    </a:lnTo>
                    <a:lnTo>
                      <a:pt x="2620" y="128"/>
                    </a:lnTo>
                    <a:lnTo>
                      <a:pt x="2579" y="110"/>
                    </a:lnTo>
                    <a:lnTo>
                      <a:pt x="2537" y="95"/>
                    </a:lnTo>
                    <a:lnTo>
                      <a:pt x="2492" y="87"/>
                    </a:lnTo>
                    <a:lnTo>
                      <a:pt x="2448" y="82"/>
                    </a:lnTo>
                    <a:close/>
                    <a:moveTo>
                      <a:pt x="2417" y="0"/>
                    </a:moveTo>
                    <a:lnTo>
                      <a:pt x="2465" y="1"/>
                    </a:lnTo>
                    <a:lnTo>
                      <a:pt x="2511" y="7"/>
                    </a:lnTo>
                    <a:lnTo>
                      <a:pt x="2558" y="17"/>
                    </a:lnTo>
                    <a:lnTo>
                      <a:pt x="2602" y="32"/>
                    </a:lnTo>
                    <a:lnTo>
                      <a:pt x="2646" y="50"/>
                    </a:lnTo>
                    <a:lnTo>
                      <a:pt x="2688" y="73"/>
                    </a:lnTo>
                    <a:lnTo>
                      <a:pt x="2727" y="100"/>
                    </a:lnTo>
                    <a:lnTo>
                      <a:pt x="2764" y="130"/>
                    </a:lnTo>
                    <a:lnTo>
                      <a:pt x="2798" y="165"/>
                    </a:lnTo>
                    <a:lnTo>
                      <a:pt x="2830" y="205"/>
                    </a:lnTo>
                    <a:lnTo>
                      <a:pt x="2857" y="247"/>
                    </a:lnTo>
                    <a:lnTo>
                      <a:pt x="2880" y="291"/>
                    </a:lnTo>
                    <a:lnTo>
                      <a:pt x="2898" y="338"/>
                    </a:lnTo>
                    <a:lnTo>
                      <a:pt x="2911" y="385"/>
                    </a:lnTo>
                    <a:lnTo>
                      <a:pt x="2919" y="432"/>
                    </a:lnTo>
                    <a:lnTo>
                      <a:pt x="2923" y="480"/>
                    </a:lnTo>
                    <a:lnTo>
                      <a:pt x="2922" y="528"/>
                    </a:lnTo>
                    <a:lnTo>
                      <a:pt x="2916" y="574"/>
                    </a:lnTo>
                    <a:lnTo>
                      <a:pt x="2906" y="621"/>
                    </a:lnTo>
                    <a:lnTo>
                      <a:pt x="2891" y="667"/>
                    </a:lnTo>
                    <a:lnTo>
                      <a:pt x="2873" y="710"/>
                    </a:lnTo>
                    <a:lnTo>
                      <a:pt x="2850" y="751"/>
                    </a:lnTo>
                    <a:lnTo>
                      <a:pt x="2824" y="791"/>
                    </a:lnTo>
                    <a:lnTo>
                      <a:pt x="2792" y="828"/>
                    </a:lnTo>
                    <a:lnTo>
                      <a:pt x="2758" y="863"/>
                    </a:lnTo>
                    <a:lnTo>
                      <a:pt x="2719" y="893"/>
                    </a:lnTo>
                    <a:lnTo>
                      <a:pt x="2676" y="921"/>
                    </a:lnTo>
                    <a:lnTo>
                      <a:pt x="2632" y="943"/>
                    </a:lnTo>
                    <a:lnTo>
                      <a:pt x="2585" y="961"/>
                    </a:lnTo>
                    <a:lnTo>
                      <a:pt x="2539" y="975"/>
                    </a:lnTo>
                    <a:lnTo>
                      <a:pt x="2491" y="983"/>
                    </a:lnTo>
                    <a:lnTo>
                      <a:pt x="2443" y="987"/>
                    </a:lnTo>
                    <a:lnTo>
                      <a:pt x="2396" y="985"/>
                    </a:lnTo>
                    <a:lnTo>
                      <a:pt x="2348" y="980"/>
                    </a:lnTo>
                    <a:lnTo>
                      <a:pt x="2302" y="970"/>
                    </a:lnTo>
                    <a:lnTo>
                      <a:pt x="2257" y="955"/>
                    </a:lnTo>
                    <a:lnTo>
                      <a:pt x="2214" y="937"/>
                    </a:lnTo>
                    <a:lnTo>
                      <a:pt x="2172" y="913"/>
                    </a:lnTo>
                    <a:lnTo>
                      <a:pt x="2132" y="887"/>
                    </a:lnTo>
                    <a:lnTo>
                      <a:pt x="2095" y="855"/>
                    </a:lnTo>
                    <a:lnTo>
                      <a:pt x="2061" y="821"/>
                    </a:lnTo>
                    <a:lnTo>
                      <a:pt x="2030" y="782"/>
                    </a:lnTo>
                    <a:lnTo>
                      <a:pt x="2003" y="740"/>
                    </a:lnTo>
                    <a:lnTo>
                      <a:pt x="1979" y="695"/>
                    </a:lnTo>
                    <a:lnTo>
                      <a:pt x="1961" y="649"/>
                    </a:lnTo>
                    <a:lnTo>
                      <a:pt x="1949" y="602"/>
                    </a:lnTo>
                    <a:lnTo>
                      <a:pt x="1940" y="554"/>
                    </a:lnTo>
                    <a:lnTo>
                      <a:pt x="1937" y="507"/>
                    </a:lnTo>
                    <a:lnTo>
                      <a:pt x="1938" y="459"/>
                    </a:lnTo>
                    <a:lnTo>
                      <a:pt x="1943" y="412"/>
                    </a:lnTo>
                    <a:lnTo>
                      <a:pt x="1954" y="366"/>
                    </a:lnTo>
                    <a:lnTo>
                      <a:pt x="1968" y="320"/>
                    </a:lnTo>
                    <a:lnTo>
                      <a:pt x="1987" y="277"/>
                    </a:lnTo>
                    <a:lnTo>
                      <a:pt x="2010" y="235"/>
                    </a:lnTo>
                    <a:lnTo>
                      <a:pt x="2037" y="195"/>
                    </a:lnTo>
                    <a:lnTo>
                      <a:pt x="2067" y="159"/>
                    </a:lnTo>
                    <a:lnTo>
                      <a:pt x="2102" y="124"/>
                    </a:lnTo>
                    <a:lnTo>
                      <a:pt x="2140" y="93"/>
                    </a:lnTo>
                    <a:lnTo>
                      <a:pt x="2183" y="66"/>
                    </a:lnTo>
                    <a:lnTo>
                      <a:pt x="2228" y="43"/>
                    </a:lnTo>
                    <a:lnTo>
                      <a:pt x="2274" y="25"/>
                    </a:lnTo>
                    <a:lnTo>
                      <a:pt x="2322" y="12"/>
                    </a:lnTo>
                    <a:lnTo>
                      <a:pt x="2369" y="4"/>
                    </a:lnTo>
                    <a:lnTo>
                      <a:pt x="2417"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grpSp>
          <p:nvGrpSpPr>
            <p:cNvPr id="114" name="Group 113"/>
            <p:cNvGrpSpPr/>
            <p:nvPr/>
          </p:nvGrpSpPr>
          <p:grpSpPr>
            <a:xfrm>
              <a:off x="10411917" y="5713992"/>
              <a:ext cx="1423544" cy="230655"/>
              <a:chOff x="-2476851" y="6046337"/>
              <a:chExt cx="1423544" cy="230655"/>
            </a:xfrm>
          </p:grpSpPr>
          <p:sp>
            <p:nvSpPr>
              <p:cNvPr id="115" name="Content Placeholder 1"/>
              <p:cNvSpPr txBox="1">
                <a:spLocks/>
              </p:cNvSpPr>
              <p:nvPr/>
            </p:nvSpPr>
            <p:spPr bwMode="gray">
              <a:xfrm>
                <a:off x="-2263126" y="6053942"/>
                <a:ext cx="1209819" cy="215444"/>
              </a:xfrm>
              <a:prstGeom prst="rect">
                <a:avLst/>
              </a:prstGeom>
              <a:noFill/>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400" dirty="0">
                    <a:latin typeface="Calibri" panose="020F0502020204030204" pitchFamily="34" charset="0"/>
                    <a:cs typeface="Calibri" panose="020F0502020204030204" pitchFamily="34" charset="0"/>
                  </a:rPr>
                  <a:t>Middleware logs</a:t>
                </a:r>
              </a:p>
            </p:txBody>
          </p:sp>
          <p:grpSp>
            <p:nvGrpSpPr>
              <p:cNvPr id="116" name="Group 115"/>
              <p:cNvGrpSpPr/>
              <p:nvPr/>
            </p:nvGrpSpPr>
            <p:grpSpPr>
              <a:xfrm>
                <a:off x="-2476851" y="6046337"/>
                <a:ext cx="172064" cy="230655"/>
                <a:chOff x="876300" y="4684713"/>
                <a:chExt cx="1104900" cy="1481138"/>
              </a:xfrm>
              <a:solidFill>
                <a:schemeClr val="accent4"/>
              </a:solidFill>
            </p:grpSpPr>
            <p:sp>
              <p:nvSpPr>
                <p:cNvPr id="117" name="Freeform 24"/>
                <p:cNvSpPr>
                  <a:spLocks noEditPoints="1"/>
                </p:cNvSpPr>
                <p:nvPr/>
              </p:nvSpPr>
              <p:spPr bwMode="auto">
                <a:xfrm>
                  <a:off x="958850" y="4684713"/>
                  <a:ext cx="1022350" cy="1047750"/>
                </a:xfrm>
                <a:custGeom>
                  <a:avLst/>
                  <a:gdLst>
                    <a:gd name="T0" fmla="*/ 1158 w 2578"/>
                    <a:gd name="T1" fmla="*/ 227 h 2639"/>
                    <a:gd name="T2" fmla="*/ 939 w 2578"/>
                    <a:gd name="T3" fmla="*/ 278 h 2639"/>
                    <a:gd name="T4" fmla="*/ 734 w 2578"/>
                    <a:gd name="T5" fmla="*/ 376 h 2639"/>
                    <a:gd name="T6" fmla="*/ 552 w 2578"/>
                    <a:gd name="T7" fmla="*/ 517 h 2639"/>
                    <a:gd name="T8" fmla="*/ 399 w 2578"/>
                    <a:gd name="T9" fmla="*/ 700 h 2639"/>
                    <a:gd name="T10" fmla="*/ 285 w 2578"/>
                    <a:gd name="T11" fmla="*/ 923 h 2639"/>
                    <a:gd name="T12" fmla="*/ 223 w 2578"/>
                    <a:gd name="T13" fmla="*/ 1164 h 2639"/>
                    <a:gd name="T14" fmla="*/ 216 w 2578"/>
                    <a:gd name="T15" fmla="*/ 1406 h 2639"/>
                    <a:gd name="T16" fmla="*/ 261 w 2578"/>
                    <a:gd name="T17" fmla="*/ 1644 h 2639"/>
                    <a:gd name="T18" fmla="*/ 354 w 2578"/>
                    <a:gd name="T19" fmla="*/ 1866 h 2639"/>
                    <a:gd name="T20" fmla="*/ 495 w 2578"/>
                    <a:gd name="T21" fmla="*/ 2064 h 2639"/>
                    <a:gd name="T22" fmla="*/ 679 w 2578"/>
                    <a:gd name="T23" fmla="*/ 2228 h 2639"/>
                    <a:gd name="T24" fmla="*/ 901 w 2578"/>
                    <a:gd name="T25" fmla="*/ 2348 h 2639"/>
                    <a:gd name="T26" fmla="*/ 1137 w 2578"/>
                    <a:gd name="T27" fmla="*/ 2411 h 2639"/>
                    <a:gd name="T28" fmla="*/ 1374 w 2578"/>
                    <a:gd name="T29" fmla="*/ 2418 h 2639"/>
                    <a:gd name="T30" fmla="*/ 1606 w 2578"/>
                    <a:gd name="T31" fmla="*/ 2373 h 2639"/>
                    <a:gd name="T32" fmla="*/ 1823 w 2578"/>
                    <a:gd name="T33" fmla="*/ 2277 h 2639"/>
                    <a:gd name="T34" fmla="*/ 2016 w 2578"/>
                    <a:gd name="T35" fmla="*/ 2133 h 2639"/>
                    <a:gd name="T36" fmla="*/ 2177 w 2578"/>
                    <a:gd name="T37" fmla="*/ 1943 h 2639"/>
                    <a:gd name="T38" fmla="*/ 2291 w 2578"/>
                    <a:gd name="T39" fmla="*/ 1723 h 2639"/>
                    <a:gd name="T40" fmla="*/ 2352 w 2578"/>
                    <a:gd name="T41" fmla="*/ 1495 h 2639"/>
                    <a:gd name="T42" fmla="*/ 2364 w 2578"/>
                    <a:gd name="T43" fmla="*/ 1262 h 2639"/>
                    <a:gd name="T44" fmla="*/ 2329 w 2578"/>
                    <a:gd name="T45" fmla="*/ 1034 h 2639"/>
                    <a:gd name="T46" fmla="*/ 2248 w 2578"/>
                    <a:gd name="T47" fmla="*/ 819 h 2639"/>
                    <a:gd name="T48" fmla="*/ 2124 w 2578"/>
                    <a:gd name="T49" fmla="*/ 623 h 2639"/>
                    <a:gd name="T50" fmla="*/ 1959 w 2578"/>
                    <a:gd name="T51" fmla="*/ 458 h 2639"/>
                    <a:gd name="T52" fmla="*/ 1756 w 2578"/>
                    <a:gd name="T53" fmla="*/ 327 h 2639"/>
                    <a:gd name="T54" fmla="*/ 1536 w 2578"/>
                    <a:gd name="T55" fmla="*/ 247 h 2639"/>
                    <a:gd name="T56" fmla="*/ 1309 w 2578"/>
                    <a:gd name="T57" fmla="*/ 219 h 2639"/>
                    <a:gd name="T58" fmla="*/ 1365 w 2578"/>
                    <a:gd name="T59" fmla="*/ 2 h 2639"/>
                    <a:gd name="T60" fmla="*/ 1614 w 2578"/>
                    <a:gd name="T61" fmla="*/ 42 h 2639"/>
                    <a:gd name="T62" fmla="*/ 1856 w 2578"/>
                    <a:gd name="T63" fmla="*/ 134 h 2639"/>
                    <a:gd name="T64" fmla="*/ 2086 w 2578"/>
                    <a:gd name="T65" fmla="*/ 281 h 2639"/>
                    <a:gd name="T66" fmla="*/ 2277 w 2578"/>
                    <a:gd name="T67" fmla="*/ 471 h 2639"/>
                    <a:gd name="T68" fmla="*/ 2423 w 2578"/>
                    <a:gd name="T69" fmla="*/ 692 h 2639"/>
                    <a:gd name="T70" fmla="*/ 2523 w 2578"/>
                    <a:gd name="T71" fmla="*/ 936 h 2639"/>
                    <a:gd name="T72" fmla="*/ 2573 w 2578"/>
                    <a:gd name="T73" fmla="*/ 1195 h 2639"/>
                    <a:gd name="T74" fmla="*/ 2572 w 2578"/>
                    <a:gd name="T75" fmla="*/ 1461 h 2639"/>
                    <a:gd name="T76" fmla="*/ 2517 w 2578"/>
                    <a:gd name="T77" fmla="*/ 1726 h 2639"/>
                    <a:gd name="T78" fmla="*/ 2407 w 2578"/>
                    <a:gd name="T79" fmla="*/ 1979 h 2639"/>
                    <a:gd name="T80" fmla="*/ 2246 w 2578"/>
                    <a:gd name="T81" fmla="*/ 2205 h 2639"/>
                    <a:gd name="T82" fmla="*/ 2050 w 2578"/>
                    <a:gd name="T83" fmla="*/ 2387 h 2639"/>
                    <a:gd name="T84" fmla="*/ 1825 w 2578"/>
                    <a:gd name="T85" fmla="*/ 2521 h 2639"/>
                    <a:gd name="T86" fmla="*/ 1581 w 2578"/>
                    <a:gd name="T87" fmla="*/ 2605 h 2639"/>
                    <a:gd name="T88" fmla="*/ 1325 w 2578"/>
                    <a:gd name="T89" fmla="*/ 2639 h 2639"/>
                    <a:gd name="T90" fmla="*/ 1064 w 2578"/>
                    <a:gd name="T91" fmla="*/ 2620 h 2639"/>
                    <a:gd name="T92" fmla="*/ 809 w 2578"/>
                    <a:gd name="T93" fmla="*/ 2545 h 2639"/>
                    <a:gd name="T94" fmla="*/ 566 w 2578"/>
                    <a:gd name="T95" fmla="*/ 2414 h 2639"/>
                    <a:gd name="T96" fmla="*/ 360 w 2578"/>
                    <a:gd name="T97" fmla="*/ 2237 h 2639"/>
                    <a:gd name="T98" fmla="*/ 198 w 2578"/>
                    <a:gd name="T99" fmla="*/ 2025 h 2639"/>
                    <a:gd name="T100" fmla="*/ 84 w 2578"/>
                    <a:gd name="T101" fmla="*/ 1788 h 2639"/>
                    <a:gd name="T102" fmla="*/ 16 w 2578"/>
                    <a:gd name="T103" fmla="*/ 1532 h 2639"/>
                    <a:gd name="T104" fmla="*/ 0 w 2578"/>
                    <a:gd name="T105" fmla="*/ 1267 h 2639"/>
                    <a:gd name="T106" fmla="*/ 37 w 2578"/>
                    <a:gd name="T107" fmla="*/ 1001 h 2639"/>
                    <a:gd name="T108" fmla="*/ 129 w 2578"/>
                    <a:gd name="T109" fmla="*/ 743 h 2639"/>
                    <a:gd name="T110" fmla="*/ 269 w 2578"/>
                    <a:gd name="T111" fmla="*/ 511 h 2639"/>
                    <a:gd name="T112" fmla="*/ 446 w 2578"/>
                    <a:gd name="T113" fmla="*/ 321 h 2639"/>
                    <a:gd name="T114" fmla="*/ 649 w 2578"/>
                    <a:gd name="T115" fmla="*/ 174 h 2639"/>
                    <a:gd name="T116" fmla="*/ 876 w 2578"/>
                    <a:gd name="T117" fmla="*/ 70 h 2639"/>
                    <a:gd name="T118" fmla="*/ 1118 w 2578"/>
                    <a:gd name="T119" fmla="*/ 11 h 2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78" h="2639">
                      <a:moveTo>
                        <a:pt x="1309" y="219"/>
                      </a:moveTo>
                      <a:lnTo>
                        <a:pt x="1233" y="220"/>
                      </a:lnTo>
                      <a:lnTo>
                        <a:pt x="1158" y="227"/>
                      </a:lnTo>
                      <a:lnTo>
                        <a:pt x="1084" y="239"/>
                      </a:lnTo>
                      <a:lnTo>
                        <a:pt x="1010" y="256"/>
                      </a:lnTo>
                      <a:lnTo>
                        <a:pt x="939" y="278"/>
                      </a:lnTo>
                      <a:lnTo>
                        <a:pt x="869" y="306"/>
                      </a:lnTo>
                      <a:lnTo>
                        <a:pt x="800" y="339"/>
                      </a:lnTo>
                      <a:lnTo>
                        <a:pt x="734" y="376"/>
                      </a:lnTo>
                      <a:lnTo>
                        <a:pt x="670" y="419"/>
                      </a:lnTo>
                      <a:lnTo>
                        <a:pt x="609" y="466"/>
                      </a:lnTo>
                      <a:lnTo>
                        <a:pt x="552" y="517"/>
                      </a:lnTo>
                      <a:lnTo>
                        <a:pt x="497" y="573"/>
                      </a:lnTo>
                      <a:lnTo>
                        <a:pt x="446" y="634"/>
                      </a:lnTo>
                      <a:lnTo>
                        <a:pt x="399" y="700"/>
                      </a:lnTo>
                      <a:lnTo>
                        <a:pt x="356" y="770"/>
                      </a:lnTo>
                      <a:lnTo>
                        <a:pt x="317" y="845"/>
                      </a:lnTo>
                      <a:lnTo>
                        <a:pt x="285" y="923"/>
                      </a:lnTo>
                      <a:lnTo>
                        <a:pt x="258" y="1003"/>
                      </a:lnTo>
                      <a:lnTo>
                        <a:pt x="237" y="1083"/>
                      </a:lnTo>
                      <a:lnTo>
                        <a:pt x="223" y="1164"/>
                      </a:lnTo>
                      <a:lnTo>
                        <a:pt x="215" y="1244"/>
                      </a:lnTo>
                      <a:lnTo>
                        <a:pt x="212" y="1326"/>
                      </a:lnTo>
                      <a:lnTo>
                        <a:pt x="216" y="1406"/>
                      </a:lnTo>
                      <a:lnTo>
                        <a:pt x="225" y="1487"/>
                      </a:lnTo>
                      <a:lnTo>
                        <a:pt x="240" y="1566"/>
                      </a:lnTo>
                      <a:lnTo>
                        <a:pt x="261" y="1644"/>
                      </a:lnTo>
                      <a:lnTo>
                        <a:pt x="286" y="1720"/>
                      </a:lnTo>
                      <a:lnTo>
                        <a:pt x="317" y="1794"/>
                      </a:lnTo>
                      <a:lnTo>
                        <a:pt x="354" y="1866"/>
                      </a:lnTo>
                      <a:lnTo>
                        <a:pt x="396" y="1934"/>
                      </a:lnTo>
                      <a:lnTo>
                        <a:pt x="442" y="2001"/>
                      </a:lnTo>
                      <a:lnTo>
                        <a:pt x="495" y="2064"/>
                      </a:lnTo>
                      <a:lnTo>
                        <a:pt x="552" y="2122"/>
                      </a:lnTo>
                      <a:lnTo>
                        <a:pt x="613" y="2178"/>
                      </a:lnTo>
                      <a:lnTo>
                        <a:pt x="679" y="2228"/>
                      </a:lnTo>
                      <a:lnTo>
                        <a:pt x="751" y="2275"/>
                      </a:lnTo>
                      <a:lnTo>
                        <a:pt x="825" y="2315"/>
                      </a:lnTo>
                      <a:lnTo>
                        <a:pt x="901" y="2348"/>
                      </a:lnTo>
                      <a:lnTo>
                        <a:pt x="978" y="2376"/>
                      </a:lnTo>
                      <a:lnTo>
                        <a:pt x="1057" y="2396"/>
                      </a:lnTo>
                      <a:lnTo>
                        <a:pt x="1137" y="2411"/>
                      </a:lnTo>
                      <a:lnTo>
                        <a:pt x="1215" y="2420"/>
                      </a:lnTo>
                      <a:lnTo>
                        <a:pt x="1295" y="2422"/>
                      </a:lnTo>
                      <a:lnTo>
                        <a:pt x="1374" y="2418"/>
                      </a:lnTo>
                      <a:lnTo>
                        <a:pt x="1452" y="2409"/>
                      </a:lnTo>
                      <a:lnTo>
                        <a:pt x="1530" y="2394"/>
                      </a:lnTo>
                      <a:lnTo>
                        <a:pt x="1606" y="2373"/>
                      </a:lnTo>
                      <a:lnTo>
                        <a:pt x="1680" y="2346"/>
                      </a:lnTo>
                      <a:lnTo>
                        <a:pt x="1753" y="2315"/>
                      </a:lnTo>
                      <a:lnTo>
                        <a:pt x="1823" y="2277"/>
                      </a:lnTo>
                      <a:lnTo>
                        <a:pt x="1890" y="2234"/>
                      </a:lnTo>
                      <a:lnTo>
                        <a:pt x="1955" y="2186"/>
                      </a:lnTo>
                      <a:lnTo>
                        <a:pt x="2016" y="2133"/>
                      </a:lnTo>
                      <a:lnTo>
                        <a:pt x="2073" y="2075"/>
                      </a:lnTo>
                      <a:lnTo>
                        <a:pt x="2127" y="2011"/>
                      </a:lnTo>
                      <a:lnTo>
                        <a:pt x="2177" y="1943"/>
                      </a:lnTo>
                      <a:lnTo>
                        <a:pt x="2221" y="1871"/>
                      </a:lnTo>
                      <a:lnTo>
                        <a:pt x="2259" y="1798"/>
                      </a:lnTo>
                      <a:lnTo>
                        <a:pt x="2291" y="1723"/>
                      </a:lnTo>
                      <a:lnTo>
                        <a:pt x="2317" y="1648"/>
                      </a:lnTo>
                      <a:lnTo>
                        <a:pt x="2337" y="1572"/>
                      </a:lnTo>
                      <a:lnTo>
                        <a:pt x="2352" y="1495"/>
                      </a:lnTo>
                      <a:lnTo>
                        <a:pt x="2361" y="1417"/>
                      </a:lnTo>
                      <a:lnTo>
                        <a:pt x="2365" y="1339"/>
                      </a:lnTo>
                      <a:lnTo>
                        <a:pt x="2364" y="1262"/>
                      </a:lnTo>
                      <a:lnTo>
                        <a:pt x="2358" y="1186"/>
                      </a:lnTo>
                      <a:lnTo>
                        <a:pt x="2346" y="1110"/>
                      </a:lnTo>
                      <a:lnTo>
                        <a:pt x="2329" y="1034"/>
                      </a:lnTo>
                      <a:lnTo>
                        <a:pt x="2306" y="961"/>
                      </a:lnTo>
                      <a:lnTo>
                        <a:pt x="2279" y="889"/>
                      </a:lnTo>
                      <a:lnTo>
                        <a:pt x="2248" y="819"/>
                      </a:lnTo>
                      <a:lnTo>
                        <a:pt x="2211" y="751"/>
                      </a:lnTo>
                      <a:lnTo>
                        <a:pt x="2169" y="686"/>
                      </a:lnTo>
                      <a:lnTo>
                        <a:pt x="2124" y="623"/>
                      </a:lnTo>
                      <a:lnTo>
                        <a:pt x="2073" y="565"/>
                      </a:lnTo>
                      <a:lnTo>
                        <a:pt x="2018" y="509"/>
                      </a:lnTo>
                      <a:lnTo>
                        <a:pt x="1959" y="458"/>
                      </a:lnTo>
                      <a:lnTo>
                        <a:pt x="1895" y="409"/>
                      </a:lnTo>
                      <a:lnTo>
                        <a:pt x="1828" y="365"/>
                      </a:lnTo>
                      <a:lnTo>
                        <a:pt x="1756" y="327"/>
                      </a:lnTo>
                      <a:lnTo>
                        <a:pt x="1683" y="294"/>
                      </a:lnTo>
                      <a:lnTo>
                        <a:pt x="1611" y="269"/>
                      </a:lnTo>
                      <a:lnTo>
                        <a:pt x="1536" y="247"/>
                      </a:lnTo>
                      <a:lnTo>
                        <a:pt x="1461" y="232"/>
                      </a:lnTo>
                      <a:lnTo>
                        <a:pt x="1384" y="222"/>
                      </a:lnTo>
                      <a:lnTo>
                        <a:pt x="1309" y="219"/>
                      </a:lnTo>
                      <a:close/>
                      <a:moveTo>
                        <a:pt x="1281" y="0"/>
                      </a:moveTo>
                      <a:lnTo>
                        <a:pt x="1284" y="0"/>
                      </a:lnTo>
                      <a:lnTo>
                        <a:pt x="1365" y="2"/>
                      </a:lnTo>
                      <a:lnTo>
                        <a:pt x="1449" y="10"/>
                      </a:lnTo>
                      <a:lnTo>
                        <a:pt x="1532" y="24"/>
                      </a:lnTo>
                      <a:lnTo>
                        <a:pt x="1614" y="42"/>
                      </a:lnTo>
                      <a:lnTo>
                        <a:pt x="1697" y="66"/>
                      </a:lnTo>
                      <a:lnTo>
                        <a:pt x="1776" y="98"/>
                      </a:lnTo>
                      <a:lnTo>
                        <a:pt x="1856" y="134"/>
                      </a:lnTo>
                      <a:lnTo>
                        <a:pt x="1934" y="176"/>
                      </a:lnTo>
                      <a:lnTo>
                        <a:pt x="2012" y="226"/>
                      </a:lnTo>
                      <a:lnTo>
                        <a:pt x="2086" y="281"/>
                      </a:lnTo>
                      <a:lnTo>
                        <a:pt x="2154" y="341"/>
                      </a:lnTo>
                      <a:lnTo>
                        <a:pt x="2218" y="404"/>
                      </a:lnTo>
                      <a:lnTo>
                        <a:pt x="2277" y="471"/>
                      </a:lnTo>
                      <a:lnTo>
                        <a:pt x="2330" y="541"/>
                      </a:lnTo>
                      <a:lnTo>
                        <a:pt x="2379" y="615"/>
                      </a:lnTo>
                      <a:lnTo>
                        <a:pt x="2423" y="692"/>
                      </a:lnTo>
                      <a:lnTo>
                        <a:pt x="2461" y="771"/>
                      </a:lnTo>
                      <a:lnTo>
                        <a:pt x="2495" y="853"/>
                      </a:lnTo>
                      <a:lnTo>
                        <a:pt x="2523" y="936"/>
                      </a:lnTo>
                      <a:lnTo>
                        <a:pt x="2545" y="1021"/>
                      </a:lnTo>
                      <a:lnTo>
                        <a:pt x="2561" y="1108"/>
                      </a:lnTo>
                      <a:lnTo>
                        <a:pt x="2573" y="1195"/>
                      </a:lnTo>
                      <a:lnTo>
                        <a:pt x="2578" y="1283"/>
                      </a:lnTo>
                      <a:lnTo>
                        <a:pt x="2578" y="1372"/>
                      </a:lnTo>
                      <a:lnTo>
                        <a:pt x="2572" y="1461"/>
                      </a:lnTo>
                      <a:lnTo>
                        <a:pt x="2559" y="1550"/>
                      </a:lnTo>
                      <a:lnTo>
                        <a:pt x="2541" y="1638"/>
                      </a:lnTo>
                      <a:lnTo>
                        <a:pt x="2517" y="1726"/>
                      </a:lnTo>
                      <a:lnTo>
                        <a:pt x="2486" y="1812"/>
                      </a:lnTo>
                      <a:lnTo>
                        <a:pt x="2449" y="1897"/>
                      </a:lnTo>
                      <a:lnTo>
                        <a:pt x="2407" y="1979"/>
                      </a:lnTo>
                      <a:lnTo>
                        <a:pt x="2358" y="2060"/>
                      </a:lnTo>
                      <a:lnTo>
                        <a:pt x="2304" y="2134"/>
                      </a:lnTo>
                      <a:lnTo>
                        <a:pt x="2246" y="2205"/>
                      </a:lnTo>
                      <a:lnTo>
                        <a:pt x="2184" y="2271"/>
                      </a:lnTo>
                      <a:lnTo>
                        <a:pt x="2118" y="2331"/>
                      </a:lnTo>
                      <a:lnTo>
                        <a:pt x="2050" y="2387"/>
                      </a:lnTo>
                      <a:lnTo>
                        <a:pt x="1978" y="2437"/>
                      </a:lnTo>
                      <a:lnTo>
                        <a:pt x="1903" y="2481"/>
                      </a:lnTo>
                      <a:lnTo>
                        <a:pt x="1825" y="2521"/>
                      </a:lnTo>
                      <a:lnTo>
                        <a:pt x="1745" y="2554"/>
                      </a:lnTo>
                      <a:lnTo>
                        <a:pt x="1664" y="2583"/>
                      </a:lnTo>
                      <a:lnTo>
                        <a:pt x="1581" y="2605"/>
                      </a:lnTo>
                      <a:lnTo>
                        <a:pt x="1496" y="2622"/>
                      </a:lnTo>
                      <a:lnTo>
                        <a:pt x="1411" y="2634"/>
                      </a:lnTo>
                      <a:lnTo>
                        <a:pt x="1325" y="2639"/>
                      </a:lnTo>
                      <a:lnTo>
                        <a:pt x="1238" y="2639"/>
                      </a:lnTo>
                      <a:lnTo>
                        <a:pt x="1151" y="2633"/>
                      </a:lnTo>
                      <a:lnTo>
                        <a:pt x="1064" y="2620"/>
                      </a:lnTo>
                      <a:lnTo>
                        <a:pt x="978" y="2601"/>
                      </a:lnTo>
                      <a:lnTo>
                        <a:pt x="892" y="2577"/>
                      </a:lnTo>
                      <a:lnTo>
                        <a:pt x="809" y="2545"/>
                      </a:lnTo>
                      <a:lnTo>
                        <a:pt x="726" y="2507"/>
                      </a:lnTo>
                      <a:lnTo>
                        <a:pt x="645" y="2464"/>
                      </a:lnTo>
                      <a:lnTo>
                        <a:pt x="566" y="2414"/>
                      </a:lnTo>
                      <a:lnTo>
                        <a:pt x="492" y="2359"/>
                      </a:lnTo>
                      <a:lnTo>
                        <a:pt x="424" y="2300"/>
                      </a:lnTo>
                      <a:lnTo>
                        <a:pt x="360" y="2237"/>
                      </a:lnTo>
                      <a:lnTo>
                        <a:pt x="302" y="2170"/>
                      </a:lnTo>
                      <a:lnTo>
                        <a:pt x="247" y="2099"/>
                      </a:lnTo>
                      <a:lnTo>
                        <a:pt x="198" y="2025"/>
                      </a:lnTo>
                      <a:lnTo>
                        <a:pt x="155" y="1948"/>
                      </a:lnTo>
                      <a:lnTo>
                        <a:pt x="116" y="1868"/>
                      </a:lnTo>
                      <a:lnTo>
                        <a:pt x="84" y="1788"/>
                      </a:lnTo>
                      <a:lnTo>
                        <a:pt x="55" y="1704"/>
                      </a:lnTo>
                      <a:lnTo>
                        <a:pt x="34" y="1618"/>
                      </a:lnTo>
                      <a:lnTo>
                        <a:pt x="16" y="1532"/>
                      </a:lnTo>
                      <a:lnTo>
                        <a:pt x="5" y="1444"/>
                      </a:lnTo>
                      <a:lnTo>
                        <a:pt x="0" y="1356"/>
                      </a:lnTo>
                      <a:lnTo>
                        <a:pt x="0" y="1267"/>
                      </a:lnTo>
                      <a:lnTo>
                        <a:pt x="6" y="1178"/>
                      </a:lnTo>
                      <a:lnTo>
                        <a:pt x="18" y="1090"/>
                      </a:lnTo>
                      <a:lnTo>
                        <a:pt x="37" y="1001"/>
                      </a:lnTo>
                      <a:lnTo>
                        <a:pt x="61" y="915"/>
                      </a:lnTo>
                      <a:lnTo>
                        <a:pt x="92" y="828"/>
                      </a:lnTo>
                      <a:lnTo>
                        <a:pt x="129" y="743"/>
                      </a:lnTo>
                      <a:lnTo>
                        <a:pt x="172" y="660"/>
                      </a:lnTo>
                      <a:lnTo>
                        <a:pt x="218" y="583"/>
                      </a:lnTo>
                      <a:lnTo>
                        <a:pt x="269" y="511"/>
                      </a:lnTo>
                      <a:lnTo>
                        <a:pt x="324" y="443"/>
                      </a:lnTo>
                      <a:lnTo>
                        <a:pt x="383" y="380"/>
                      </a:lnTo>
                      <a:lnTo>
                        <a:pt x="446" y="321"/>
                      </a:lnTo>
                      <a:lnTo>
                        <a:pt x="510" y="267"/>
                      </a:lnTo>
                      <a:lnTo>
                        <a:pt x="579" y="217"/>
                      </a:lnTo>
                      <a:lnTo>
                        <a:pt x="649" y="174"/>
                      </a:lnTo>
                      <a:lnTo>
                        <a:pt x="723" y="133"/>
                      </a:lnTo>
                      <a:lnTo>
                        <a:pt x="798" y="99"/>
                      </a:lnTo>
                      <a:lnTo>
                        <a:pt x="876" y="70"/>
                      </a:lnTo>
                      <a:lnTo>
                        <a:pt x="956" y="45"/>
                      </a:lnTo>
                      <a:lnTo>
                        <a:pt x="1035" y="26"/>
                      </a:lnTo>
                      <a:lnTo>
                        <a:pt x="1118" y="11"/>
                      </a:lnTo>
                      <a:lnTo>
                        <a:pt x="1200" y="3"/>
                      </a:lnTo>
                      <a:lnTo>
                        <a:pt x="12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18" name="Freeform 25"/>
                <p:cNvSpPr>
                  <a:spLocks/>
                </p:cNvSpPr>
                <p:nvPr/>
              </p:nvSpPr>
              <p:spPr bwMode="auto">
                <a:xfrm>
                  <a:off x="915988" y="5630863"/>
                  <a:ext cx="388938" cy="430213"/>
                </a:xfrm>
                <a:custGeom>
                  <a:avLst/>
                  <a:gdLst>
                    <a:gd name="T0" fmla="*/ 427 w 982"/>
                    <a:gd name="T1" fmla="*/ 0 h 1084"/>
                    <a:gd name="T2" fmla="*/ 982 w 982"/>
                    <a:gd name="T3" fmla="*/ 327 h 1084"/>
                    <a:gd name="T4" fmla="*/ 555 w 982"/>
                    <a:gd name="T5" fmla="*/ 1084 h 1084"/>
                    <a:gd name="T6" fmla="*/ 0 w 982"/>
                    <a:gd name="T7" fmla="*/ 756 h 1084"/>
                    <a:gd name="T8" fmla="*/ 427 w 982"/>
                    <a:gd name="T9" fmla="*/ 0 h 1084"/>
                  </a:gdLst>
                  <a:ahLst/>
                  <a:cxnLst>
                    <a:cxn ang="0">
                      <a:pos x="T0" y="T1"/>
                    </a:cxn>
                    <a:cxn ang="0">
                      <a:pos x="T2" y="T3"/>
                    </a:cxn>
                    <a:cxn ang="0">
                      <a:pos x="T4" y="T5"/>
                    </a:cxn>
                    <a:cxn ang="0">
                      <a:pos x="T6" y="T7"/>
                    </a:cxn>
                    <a:cxn ang="0">
                      <a:pos x="T8" y="T9"/>
                    </a:cxn>
                  </a:cxnLst>
                  <a:rect l="0" t="0" r="r" b="b"/>
                  <a:pathLst>
                    <a:path w="982" h="1084">
                      <a:moveTo>
                        <a:pt x="427" y="0"/>
                      </a:moveTo>
                      <a:lnTo>
                        <a:pt x="982" y="327"/>
                      </a:lnTo>
                      <a:lnTo>
                        <a:pt x="555" y="1084"/>
                      </a:lnTo>
                      <a:lnTo>
                        <a:pt x="0" y="756"/>
                      </a:lnTo>
                      <a:lnTo>
                        <a:pt x="4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19" name="Freeform 26"/>
                <p:cNvSpPr>
                  <a:spLocks/>
                </p:cNvSpPr>
                <p:nvPr/>
              </p:nvSpPr>
              <p:spPr bwMode="auto">
                <a:xfrm>
                  <a:off x="876300" y="5970588"/>
                  <a:ext cx="236538" cy="195263"/>
                </a:xfrm>
                <a:custGeom>
                  <a:avLst/>
                  <a:gdLst>
                    <a:gd name="T0" fmla="*/ 43 w 598"/>
                    <a:gd name="T1" fmla="*/ 0 h 492"/>
                    <a:gd name="T2" fmla="*/ 598 w 598"/>
                    <a:gd name="T3" fmla="*/ 329 h 492"/>
                    <a:gd name="T4" fmla="*/ 574 w 598"/>
                    <a:gd name="T5" fmla="*/ 365 h 492"/>
                    <a:gd name="T6" fmla="*/ 545 w 598"/>
                    <a:gd name="T7" fmla="*/ 398 h 492"/>
                    <a:gd name="T8" fmla="*/ 514 w 598"/>
                    <a:gd name="T9" fmla="*/ 426 h 492"/>
                    <a:gd name="T10" fmla="*/ 479 w 598"/>
                    <a:gd name="T11" fmla="*/ 449 h 492"/>
                    <a:gd name="T12" fmla="*/ 442 w 598"/>
                    <a:gd name="T13" fmla="*/ 468 h 492"/>
                    <a:gd name="T14" fmla="*/ 404 w 598"/>
                    <a:gd name="T15" fmla="*/ 481 h 492"/>
                    <a:gd name="T16" fmla="*/ 363 w 598"/>
                    <a:gd name="T17" fmla="*/ 490 h 492"/>
                    <a:gd name="T18" fmla="*/ 323 w 598"/>
                    <a:gd name="T19" fmla="*/ 492 h 492"/>
                    <a:gd name="T20" fmla="*/ 281 w 598"/>
                    <a:gd name="T21" fmla="*/ 490 h 492"/>
                    <a:gd name="T22" fmla="*/ 239 w 598"/>
                    <a:gd name="T23" fmla="*/ 481 h 492"/>
                    <a:gd name="T24" fmla="*/ 200 w 598"/>
                    <a:gd name="T25" fmla="*/ 468 h 492"/>
                    <a:gd name="T26" fmla="*/ 161 w 598"/>
                    <a:gd name="T27" fmla="*/ 448 h 492"/>
                    <a:gd name="T28" fmla="*/ 124 w 598"/>
                    <a:gd name="T29" fmla="*/ 424 h 492"/>
                    <a:gd name="T30" fmla="*/ 93 w 598"/>
                    <a:gd name="T31" fmla="*/ 395 h 492"/>
                    <a:gd name="T32" fmla="*/ 65 w 598"/>
                    <a:gd name="T33" fmla="*/ 362 h 492"/>
                    <a:gd name="T34" fmla="*/ 43 w 598"/>
                    <a:gd name="T35" fmla="*/ 326 h 492"/>
                    <a:gd name="T36" fmla="*/ 24 w 598"/>
                    <a:gd name="T37" fmla="*/ 288 h 492"/>
                    <a:gd name="T38" fmla="*/ 11 w 598"/>
                    <a:gd name="T39" fmla="*/ 249 h 492"/>
                    <a:gd name="T40" fmla="*/ 3 w 598"/>
                    <a:gd name="T41" fmla="*/ 208 h 492"/>
                    <a:gd name="T42" fmla="*/ 0 w 598"/>
                    <a:gd name="T43" fmla="*/ 167 h 492"/>
                    <a:gd name="T44" fmla="*/ 2 w 598"/>
                    <a:gd name="T45" fmla="*/ 124 h 492"/>
                    <a:gd name="T46" fmla="*/ 11 w 598"/>
                    <a:gd name="T47" fmla="*/ 81 h 492"/>
                    <a:gd name="T48" fmla="*/ 24 w 598"/>
                    <a:gd name="T49" fmla="*/ 40 h 492"/>
                    <a:gd name="T50" fmla="*/ 43 w 598"/>
                    <a:gd name="T51" fmla="*/ 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98" h="492">
                      <a:moveTo>
                        <a:pt x="43" y="0"/>
                      </a:moveTo>
                      <a:lnTo>
                        <a:pt x="598" y="329"/>
                      </a:lnTo>
                      <a:lnTo>
                        <a:pt x="574" y="365"/>
                      </a:lnTo>
                      <a:lnTo>
                        <a:pt x="545" y="398"/>
                      </a:lnTo>
                      <a:lnTo>
                        <a:pt x="514" y="426"/>
                      </a:lnTo>
                      <a:lnTo>
                        <a:pt x="479" y="449"/>
                      </a:lnTo>
                      <a:lnTo>
                        <a:pt x="442" y="468"/>
                      </a:lnTo>
                      <a:lnTo>
                        <a:pt x="404" y="481"/>
                      </a:lnTo>
                      <a:lnTo>
                        <a:pt x="363" y="490"/>
                      </a:lnTo>
                      <a:lnTo>
                        <a:pt x="323" y="492"/>
                      </a:lnTo>
                      <a:lnTo>
                        <a:pt x="281" y="490"/>
                      </a:lnTo>
                      <a:lnTo>
                        <a:pt x="239" y="481"/>
                      </a:lnTo>
                      <a:lnTo>
                        <a:pt x="200" y="468"/>
                      </a:lnTo>
                      <a:lnTo>
                        <a:pt x="161" y="448"/>
                      </a:lnTo>
                      <a:lnTo>
                        <a:pt x="124" y="424"/>
                      </a:lnTo>
                      <a:lnTo>
                        <a:pt x="93" y="395"/>
                      </a:lnTo>
                      <a:lnTo>
                        <a:pt x="65" y="362"/>
                      </a:lnTo>
                      <a:lnTo>
                        <a:pt x="43" y="326"/>
                      </a:lnTo>
                      <a:lnTo>
                        <a:pt x="24" y="288"/>
                      </a:lnTo>
                      <a:lnTo>
                        <a:pt x="11" y="249"/>
                      </a:lnTo>
                      <a:lnTo>
                        <a:pt x="3" y="208"/>
                      </a:lnTo>
                      <a:lnTo>
                        <a:pt x="0" y="167"/>
                      </a:lnTo>
                      <a:lnTo>
                        <a:pt x="2" y="124"/>
                      </a:lnTo>
                      <a:lnTo>
                        <a:pt x="11" y="81"/>
                      </a:lnTo>
                      <a:lnTo>
                        <a:pt x="24" y="40"/>
                      </a:lnTo>
                      <a:lnTo>
                        <a:pt x="4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20" name="Rectangle 27"/>
                <p:cNvSpPr>
                  <a:spLocks noChangeArrowheads="1"/>
                </p:cNvSpPr>
                <p:nvPr/>
              </p:nvSpPr>
              <p:spPr bwMode="auto">
                <a:xfrm>
                  <a:off x="1176338" y="5208588"/>
                  <a:ext cx="146050" cy="23336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21" name="Rectangle 28"/>
                <p:cNvSpPr>
                  <a:spLocks noChangeArrowheads="1"/>
                </p:cNvSpPr>
                <p:nvPr/>
              </p:nvSpPr>
              <p:spPr bwMode="auto">
                <a:xfrm>
                  <a:off x="1397000" y="5103813"/>
                  <a:ext cx="146050" cy="3381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22" name="Rectangle 29"/>
                <p:cNvSpPr>
                  <a:spLocks noChangeArrowheads="1"/>
                </p:cNvSpPr>
                <p:nvPr/>
              </p:nvSpPr>
              <p:spPr bwMode="auto">
                <a:xfrm>
                  <a:off x="1617663" y="4975226"/>
                  <a:ext cx="146050" cy="46672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grpSp>
      </p:grpSp>
      <p:sp>
        <p:nvSpPr>
          <p:cNvPr id="133" name="Rectangle 132"/>
          <p:cNvSpPr/>
          <p:nvPr/>
        </p:nvSpPr>
        <p:spPr>
          <a:xfrm>
            <a:off x="6569703" y="5537860"/>
            <a:ext cx="1068980" cy="634279"/>
          </a:xfrm>
          <a:prstGeom prst="rect">
            <a:avLst/>
          </a:prstGeom>
          <a:solidFill>
            <a:schemeClr val="accent1">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Calibri" panose="020F0502020204030204" pitchFamily="34" charset="0"/>
              <a:cs typeface="Calibri" panose="020F0502020204030204" pitchFamily="34" charset="0"/>
            </a:endParaRPr>
          </a:p>
        </p:txBody>
      </p:sp>
      <p:grpSp>
        <p:nvGrpSpPr>
          <p:cNvPr id="134" name="Group 133"/>
          <p:cNvGrpSpPr/>
          <p:nvPr/>
        </p:nvGrpSpPr>
        <p:grpSpPr>
          <a:xfrm>
            <a:off x="6629257" y="5675210"/>
            <a:ext cx="137113" cy="180195"/>
            <a:chOff x="1951038" y="5440363"/>
            <a:chExt cx="581025" cy="763587"/>
          </a:xfrm>
          <a:solidFill>
            <a:schemeClr val="accent6"/>
          </a:solidFill>
        </p:grpSpPr>
        <p:sp>
          <p:nvSpPr>
            <p:cNvPr id="135" name="Freeform 71"/>
            <p:cNvSpPr>
              <a:spLocks/>
            </p:cNvSpPr>
            <p:nvPr/>
          </p:nvSpPr>
          <p:spPr bwMode="auto">
            <a:xfrm>
              <a:off x="2087563" y="5440363"/>
              <a:ext cx="307975" cy="373062"/>
            </a:xfrm>
            <a:custGeom>
              <a:avLst/>
              <a:gdLst>
                <a:gd name="T0" fmla="*/ 746 w 1357"/>
                <a:gd name="T1" fmla="*/ 2 h 1647"/>
                <a:gd name="T2" fmla="*/ 867 w 1357"/>
                <a:gd name="T3" fmla="*/ 15 h 1647"/>
                <a:gd name="T4" fmla="*/ 972 w 1357"/>
                <a:gd name="T5" fmla="*/ 42 h 1647"/>
                <a:gd name="T6" fmla="*/ 1061 w 1357"/>
                <a:gd name="T7" fmla="*/ 81 h 1647"/>
                <a:gd name="T8" fmla="*/ 1135 w 1357"/>
                <a:gd name="T9" fmla="*/ 131 h 1647"/>
                <a:gd name="T10" fmla="*/ 1197 w 1357"/>
                <a:gd name="T11" fmla="*/ 190 h 1647"/>
                <a:gd name="T12" fmla="*/ 1247 w 1357"/>
                <a:gd name="T13" fmla="*/ 259 h 1647"/>
                <a:gd name="T14" fmla="*/ 1285 w 1357"/>
                <a:gd name="T15" fmla="*/ 337 h 1647"/>
                <a:gd name="T16" fmla="*/ 1314 w 1357"/>
                <a:gd name="T17" fmla="*/ 422 h 1647"/>
                <a:gd name="T18" fmla="*/ 1334 w 1357"/>
                <a:gd name="T19" fmla="*/ 514 h 1647"/>
                <a:gd name="T20" fmla="*/ 1348 w 1357"/>
                <a:gd name="T21" fmla="*/ 613 h 1647"/>
                <a:gd name="T22" fmla="*/ 1355 w 1357"/>
                <a:gd name="T23" fmla="*/ 716 h 1647"/>
                <a:gd name="T24" fmla="*/ 1357 w 1357"/>
                <a:gd name="T25" fmla="*/ 823 h 1647"/>
                <a:gd name="T26" fmla="*/ 1346 w 1357"/>
                <a:gd name="T27" fmla="*/ 971 h 1647"/>
                <a:gd name="T28" fmla="*/ 1315 w 1357"/>
                <a:gd name="T29" fmla="*/ 1111 h 1647"/>
                <a:gd name="T30" fmla="*/ 1264 w 1357"/>
                <a:gd name="T31" fmla="*/ 1239 h 1647"/>
                <a:gd name="T32" fmla="*/ 1198 w 1357"/>
                <a:gd name="T33" fmla="*/ 1354 h 1647"/>
                <a:gd name="T34" fmla="*/ 1116 w 1357"/>
                <a:gd name="T35" fmla="*/ 1453 h 1647"/>
                <a:gd name="T36" fmla="*/ 1021 w 1357"/>
                <a:gd name="T37" fmla="*/ 1535 h 1647"/>
                <a:gd name="T38" fmla="*/ 916 w 1357"/>
                <a:gd name="T39" fmla="*/ 1595 h 1647"/>
                <a:gd name="T40" fmla="*/ 800 w 1357"/>
                <a:gd name="T41" fmla="*/ 1634 h 1647"/>
                <a:gd name="T42" fmla="*/ 678 w 1357"/>
                <a:gd name="T43" fmla="*/ 1647 h 1647"/>
                <a:gd name="T44" fmla="*/ 557 w 1357"/>
                <a:gd name="T45" fmla="*/ 1634 h 1647"/>
                <a:gd name="T46" fmla="*/ 442 w 1357"/>
                <a:gd name="T47" fmla="*/ 1595 h 1647"/>
                <a:gd name="T48" fmla="*/ 336 w 1357"/>
                <a:gd name="T49" fmla="*/ 1535 h 1647"/>
                <a:gd name="T50" fmla="*/ 242 w 1357"/>
                <a:gd name="T51" fmla="*/ 1453 h 1647"/>
                <a:gd name="T52" fmla="*/ 160 w 1357"/>
                <a:gd name="T53" fmla="*/ 1354 h 1647"/>
                <a:gd name="T54" fmla="*/ 93 w 1357"/>
                <a:gd name="T55" fmla="*/ 1239 h 1647"/>
                <a:gd name="T56" fmla="*/ 43 w 1357"/>
                <a:gd name="T57" fmla="*/ 1111 h 1647"/>
                <a:gd name="T58" fmla="*/ 11 w 1357"/>
                <a:gd name="T59" fmla="*/ 971 h 1647"/>
                <a:gd name="T60" fmla="*/ 0 w 1357"/>
                <a:gd name="T61" fmla="*/ 823 h 1647"/>
                <a:gd name="T62" fmla="*/ 3 w 1357"/>
                <a:gd name="T63" fmla="*/ 716 h 1647"/>
                <a:gd name="T64" fmla="*/ 9 w 1357"/>
                <a:gd name="T65" fmla="*/ 613 h 1647"/>
                <a:gd name="T66" fmla="*/ 23 w 1357"/>
                <a:gd name="T67" fmla="*/ 514 h 1647"/>
                <a:gd name="T68" fmla="*/ 44 w 1357"/>
                <a:gd name="T69" fmla="*/ 422 h 1647"/>
                <a:gd name="T70" fmla="*/ 73 w 1357"/>
                <a:gd name="T71" fmla="*/ 337 h 1647"/>
                <a:gd name="T72" fmla="*/ 111 w 1357"/>
                <a:gd name="T73" fmla="*/ 259 h 1647"/>
                <a:gd name="T74" fmla="*/ 161 w 1357"/>
                <a:gd name="T75" fmla="*/ 190 h 1647"/>
                <a:gd name="T76" fmla="*/ 223 w 1357"/>
                <a:gd name="T77" fmla="*/ 131 h 1647"/>
                <a:gd name="T78" fmla="*/ 297 w 1357"/>
                <a:gd name="T79" fmla="*/ 81 h 1647"/>
                <a:gd name="T80" fmla="*/ 386 w 1357"/>
                <a:gd name="T81" fmla="*/ 42 h 1647"/>
                <a:gd name="T82" fmla="*/ 490 w 1357"/>
                <a:gd name="T83" fmla="*/ 15 h 1647"/>
                <a:gd name="T84" fmla="*/ 612 w 1357"/>
                <a:gd name="T85" fmla="*/ 2 h 1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7" h="1647">
                  <a:moveTo>
                    <a:pt x="678" y="0"/>
                  </a:moveTo>
                  <a:lnTo>
                    <a:pt x="746" y="2"/>
                  </a:lnTo>
                  <a:lnTo>
                    <a:pt x="809" y="7"/>
                  </a:lnTo>
                  <a:lnTo>
                    <a:pt x="867" y="15"/>
                  </a:lnTo>
                  <a:lnTo>
                    <a:pt x="921" y="28"/>
                  </a:lnTo>
                  <a:lnTo>
                    <a:pt x="972" y="42"/>
                  </a:lnTo>
                  <a:lnTo>
                    <a:pt x="1018" y="60"/>
                  </a:lnTo>
                  <a:lnTo>
                    <a:pt x="1061" y="81"/>
                  </a:lnTo>
                  <a:lnTo>
                    <a:pt x="1100" y="104"/>
                  </a:lnTo>
                  <a:lnTo>
                    <a:pt x="1135" y="131"/>
                  </a:lnTo>
                  <a:lnTo>
                    <a:pt x="1167" y="159"/>
                  </a:lnTo>
                  <a:lnTo>
                    <a:pt x="1197" y="190"/>
                  </a:lnTo>
                  <a:lnTo>
                    <a:pt x="1223" y="223"/>
                  </a:lnTo>
                  <a:lnTo>
                    <a:pt x="1247" y="259"/>
                  </a:lnTo>
                  <a:lnTo>
                    <a:pt x="1267" y="297"/>
                  </a:lnTo>
                  <a:lnTo>
                    <a:pt x="1285" y="337"/>
                  </a:lnTo>
                  <a:lnTo>
                    <a:pt x="1301" y="379"/>
                  </a:lnTo>
                  <a:lnTo>
                    <a:pt x="1314" y="422"/>
                  </a:lnTo>
                  <a:lnTo>
                    <a:pt x="1325" y="468"/>
                  </a:lnTo>
                  <a:lnTo>
                    <a:pt x="1334" y="514"/>
                  </a:lnTo>
                  <a:lnTo>
                    <a:pt x="1341" y="563"/>
                  </a:lnTo>
                  <a:lnTo>
                    <a:pt x="1348" y="613"/>
                  </a:lnTo>
                  <a:lnTo>
                    <a:pt x="1352" y="664"/>
                  </a:lnTo>
                  <a:lnTo>
                    <a:pt x="1355" y="716"/>
                  </a:lnTo>
                  <a:lnTo>
                    <a:pt x="1357" y="769"/>
                  </a:lnTo>
                  <a:lnTo>
                    <a:pt x="1357" y="823"/>
                  </a:lnTo>
                  <a:lnTo>
                    <a:pt x="1354" y="898"/>
                  </a:lnTo>
                  <a:lnTo>
                    <a:pt x="1346" y="971"/>
                  </a:lnTo>
                  <a:lnTo>
                    <a:pt x="1332" y="1042"/>
                  </a:lnTo>
                  <a:lnTo>
                    <a:pt x="1315" y="1111"/>
                  </a:lnTo>
                  <a:lnTo>
                    <a:pt x="1291" y="1176"/>
                  </a:lnTo>
                  <a:lnTo>
                    <a:pt x="1264" y="1239"/>
                  </a:lnTo>
                  <a:lnTo>
                    <a:pt x="1233" y="1298"/>
                  </a:lnTo>
                  <a:lnTo>
                    <a:pt x="1198" y="1354"/>
                  </a:lnTo>
                  <a:lnTo>
                    <a:pt x="1159" y="1406"/>
                  </a:lnTo>
                  <a:lnTo>
                    <a:pt x="1116" y="1453"/>
                  </a:lnTo>
                  <a:lnTo>
                    <a:pt x="1070" y="1496"/>
                  </a:lnTo>
                  <a:lnTo>
                    <a:pt x="1021" y="1535"/>
                  </a:lnTo>
                  <a:lnTo>
                    <a:pt x="970" y="1567"/>
                  </a:lnTo>
                  <a:lnTo>
                    <a:pt x="916" y="1595"/>
                  </a:lnTo>
                  <a:lnTo>
                    <a:pt x="859" y="1617"/>
                  </a:lnTo>
                  <a:lnTo>
                    <a:pt x="800" y="1634"/>
                  </a:lnTo>
                  <a:lnTo>
                    <a:pt x="740" y="1644"/>
                  </a:lnTo>
                  <a:lnTo>
                    <a:pt x="678" y="1647"/>
                  </a:lnTo>
                  <a:lnTo>
                    <a:pt x="617" y="1644"/>
                  </a:lnTo>
                  <a:lnTo>
                    <a:pt x="557" y="1634"/>
                  </a:lnTo>
                  <a:lnTo>
                    <a:pt x="498" y="1617"/>
                  </a:lnTo>
                  <a:lnTo>
                    <a:pt x="442" y="1595"/>
                  </a:lnTo>
                  <a:lnTo>
                    <a:pt x="388" y="1567"/>
                  </a:lnTo>
                  <a:lnTo>
                    <a:pt x="336" y="1535"/>
                  </a:lnTo>
                  <a:lnTo>
                    <a:pt x="288" y="1496"/>
                  </a:lnTo>
                  <a:lnTo>
                    <a:pt x="242" y="1453"/>
                  </a:lnTo>
                  <a:lnTo>
                    <a:pt x="199" y="1406"/>
                  </a:lnTo>
                  <a:lnTo>
                    <a:pt x="160" y="1354"/>
                  </a:lnTo>
                  <a:lnTo>
                    <a:pt x="125" y="1298"/>
                  </a:lnTo>
                  <a:lnTo>
                    <a:pt x="93" y="1239"/>
                  </a:lnTo>
                  <a:lnTo>
                    <a:pt x="66" y="1176"/>
                  </a:lnTo>
                  <a:lnTo>
                    <a:pt x="43" y="1111"/>
                  </a:lnTo>
                  <a:lnTo>
                    <a:pt x="25" y="1042"/>
                  </a:lnTo>
                  <a:lnTo>
                    <a:pt x="11" y="971"/>
                  </a:lnTo>
                  <a:lnTo>
                    <a:pt x="3" y="898"/>
                  </a:lnTo>
                  <a:lnTo>
                    <a:pt x="0" y="823"/>
                  </a:lnTo>
                  <a:lnTo>
                    <a:pt x="1" y="769"/>
                  </a:lnTo>
                  <a:lnTo>
                    <a:pt x="3" y="716"/>
                  </a:lnTo>
                  <a:lnTo>
                    <a:pt x="5" y="664"/>
                  </a:lnTo>
                  <a:lnTo>
                    <a:pt x="9" y="613"/>
                  </a:lnTo>
                  <a:lnTo>
                    <a:pt x="16" y="563"/>
                  </a:lnTo>
                  <a:lnTo>
                    <a:pt x="23" y="514"/>
                  </a:lnTo>
                  <a:lnTo>
                    <a:pt x="33" y="468"/>
                  </a:lnTo>
                  <a:lnTo>
                    <a:pt x="44" y="422"/>
                  </a:lnTo>
                  <a:lnTo>
                    <a:pt x="57" y="379"/>
                  </a:lnTo>
                  <a:lnTo>
                    <a:pt x="73" y="337"/>
                  </a:lnTo>
                  <a:lnTo>
                    <a:pt x="91" y="297"/>
                  </a:lnTo>
                  <a:lnTo>
                    <a:pt x="111" y="259"/>
                  </a:lnTo>
                  <a:lnTo>
                    <a:pt x="135" y="223"/>
                  </a:lnTo>
                  <a:lnTo>
                    <a:pt x="161" y="190"/>
                  </a:lnTo>
                  <a:lnTo>
                    <a:pt x="190" y="159"/>
                  </a:lnTo>
                  <a:lnTo>
                    <a:pt x="223" y="131"/>
                  </a:lnTo>
                  <a:lnTo>
                    <a:pt x="258" y="104"/>
                  </a:lnTo>
                  <a:lnTo>
                    <a:pt x="297" y="81"/>
                  </a:lnTo>
                  <a:lnTo>
                    <a:pt x="340" y="60"/>
                  </a:lnTo>
                  <a:lnTo>
                    <a:pt x="386" y="42"/>
                  </a:lnTo>
                  <a:lnTo>
                    <a:pt x="436" y="28"/>
                  </a:lnTo>
                  <a:lnTo>
                    <a:pt x="490" y="15"/>
                  </a:lnTo>
                  <a:lnTo>
                    <a:pt x="549" y="7"/>
                  </a:lnTo>
                  <a:lnTo>
                    <a:pt x="612" y="2"/>
                  </a:lnTo>
                  <a:lnTo>
                    <a:pt x="67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36" name="Freeform 72"/>
            <p:cNvSpPr>
              <a:spLocks/>
            </p:cNvSpPr>
            <p:nvPr/>
          </p:nvSpPr>
          <p:spPr bwMode="auto">
            <a:xfrm>
              <a:off x="1951038" y="5827713"/>
              <a:ext cx="581025" cy="376237"/>
            </a:xfrm>
            <a:custGeom>
              <a:avLst/>
              <a:gdLst>
                <a:gd name="T0" fmla="*/ 916 w 2562"/>
                <a:gd name="T1" fmla="*/ 7 h 1657"/>
                <a:gd name="T2" fmla="*/ 948 w 2562"/>
                <a:gd name="T3" fmla="*/ 37 h 1657"/>
                <a:gd name="T4" fmla="*/ 1011 w 2562"/>
                <a:gd name="T5" fmla="*/ 78 h 1657"/>
                <a:gd name="T6" fmla="*/ 1103 w 2562"/>
                <a:gd name="T7" fmla="*/ 117 h 1657"/>
                <a:gd name="T8" fmla="*/ 1231 w 2562"/>
                <a:gd name="T9" fmla="*/ 140 h 1657"/>
                <a:gd name="T10" fmla="*/ 1377 w 2562"/>
                <a:gd name="T11" fmla="*/ 135 h 1657"/>
                <a:gd name="T12" fmla="*/ 1492 w 2562"/>
                <a:gd name="T13" fmla="*/ 105 h 1657"/>
                <a:gd name="T14" fmla="*/ 1576 w 2562"/>
                <a:gd name="T15" fmla="*/ 63 h 1657"/>
                <a:gd name="T16" fmla="*/ 1628 w 2562"/>
                <a:gd name="T17" fmla="*/ 25 h 1657"/>
                <a:gd name="T18" fmla="*/ 1650 w 2562"/>
                <a:gd name="T19" fmla="*/ 2 h 1657"/>
                <a:gd name="T20" fmla="*/ 1836 w 2562"/>
                <a:gd name="T21" fmla="*/ 38 h 1657"/>
                <a:gd name="T22" fmla="*/ 2063 w 2562"/>
                <a:gd name="T23" fmla="*/ 104 h 1657"/>
                <a:gd name="T24" fmla="*/ 2236 w 2562"/>
                <a:gd name="T25" fmla="*/ 188 h 1657"/>
                <a:gd name="T26" fmla="*/ 2365 w 2562"/>
                <a:gd name="T27" fmla="*/ 295 h 1657"/>
                <a:gd name="T28" fmla="*/ 2454 w 2562"/>
                <a:gd name="T29" fmla="*/ 431 h 1657"/>
                <a:gd name="T30" fmla="*/ 2511 w 2562"/>
                <a:gd name="T31" fmla="*/ 600 h 1657"/>
                <a:gd name="T32" fmla="*/ 2544 w 2562"/>
                <a:gd name="T33" fmla="*/ 809 h 1657"/>
                <a:gd name="T34" fmla="*/ 2558 w 2562"/>
                <a:gd name="T35" fmla="*/ 1064 h 1657"/>
                <a:gd name="T36" fmla="*/ 2561 w 2562"/>
                <a:gd name="T37" fmla="*/ 1198 h 1657"/>
                <a:gd name="T38" fmla="*/ 2561 w 2562"/>
                <a:gd name="T39" fmla="*/ 1216 h 1657"/>
                <a:gd name="T40" fmla="*/ 2562 w 2562"/>
                <a:gd name="T41" fmla="*/ 1252 h 1657"/>
                <a:gd name="T42" fmla="*/ 2559 w 2562"/>
                <a:gd name="T43" fmla="*/ 1282 h 1657"/>
                <a:gd name="T44" fmla="*/ 2544 w 2562"/>
                <a:gd name="T45" fmla="*/ 1304 h 1657"/>
                <a:gd name="T46" fmla="*/ 2512 w 2562"/>
                <a:gd name="T47" fmla="*/ 1340 h 1657"/>
                <a:gd name="T48" fmla="*/ 2458 w 2562"/>
                <a:gd name="T49" fmla="*/ 1387 h 1657"/>
                <a:gd name="T50" fmla="*/ 2380 w 2562"/>
                <a:gd name="T51" fmla="*/ 1440 h 1657"/>
                <a:gd name="T52" fmla="*/ 2273 w 2562"/>
                <a:gd name="T53" fmla="*/ 1495 h 1657"/>
                <a:gd name="T54" fmla="*/ 2134 w 2562"/>
                <a:gd name="T55" fmla="*/ 1548 h 1657"/>
                <a:gd name="T56" fmla="*/ 1958 w 2562"/>
                <a:gd name="T57" fmla="*/ 1594 h 1657"/>
                <a:gd name="T58" fmla="*/ 1741 w 2562"/>
                <a:gd name="T59" fmla="*/ 1630 h 1657"/>
                <a:gd name="T60" fmla="*/ 1481 w 2562"/>
                <a:gd name="T61" fmla="*/ 1653 h 1657"/>
                <a:gd name="T62" fmla="*/ 1178 w 2562"/>
                <a:gd name="T63" fmla="*/ 1656 h 1657"/>
                <a:gd name="T64" fmla="*/ 901 w 2562"/>
                <a:gd name="T65" fmla="*/ 1640 h 1657"/>
                <a:gd name="T66" fmla="*/ 671 w 2562"/>
                <a:gd name="T67" fmla="*/ 1608 h 1657"/>
                <a:gd name="T68" fmla="*/ 482 w 2562"/>
                <a:gd name="T69" fmla="*/ 1564 h 1657"/>
                <a:gd name="T70" fmla="*/ 331 w 2562"/>
                <a:gd name="T71" fmla="*/ 1512 h 1657"/>
                <a:gd name="T72" fmla="*/ 213 w 2562"/>
                <a:gd name="T73" fmla="*/ 1458 h 1657"/>
                <a:gd name="T74" fmla="*/ 127 w 2562"/>
                <a:gd name="T75" fmla="*/ 1404 h 1657"/>
                <a:gd name="T76" fmla="*/ 65 w 2562"/>
                <a:gd name="T77" fmla="*/ 1355 h 1657"/>
                <a:gd name="T78" fmla="*/ 27 w 2562"/>
                <a:gd name="T79" fmla="*/ 1314 h 1657"/>
                <a:gd name="T80" fmla="*/ 6 w 2562"/>
                <a:gd name="T81" fmla="*/ 1287 h 1657"/>
                <a:gd name="T82" fmla="*/ 0 w 2562"/>
                <a:gd name="T83" fmla="*/ 1277 h 1657"/>
                <a:gd name="T84" fmla="*/ 0 w 2562"/>
                <a:gd name="T85" fmla="*/ 1206 h 1657"/>
                <a:gd name="T86" fmla="*/ 0 w 2562"/>
                <a:gd name="T87" fmla="*/ 1197 h 1657"/>
                <a:gd name="T88" fmla="*/ 1 w 2562"/>
                <a:gd name="T89" fmla="*/ 1175 h 1657"/>
                <a:gd name="T90" fmla="*/ 4 w 2562"/>
                <a:gd name="T91" fmla="*/ 1042 h 1657"/>
                <a:gd name="T92" fmla="*/ 19 w 2562"/>
                <a:gd name="T93" fmla="*/ 793 h 1657"/>
                <a:gd name="T94" fmla="*/ 53 w 2562"/>
                <a:gd name="T95" fmla="*/ 589 h 1657"/>
                <a:gd name="T96" fmla="*/ 111 w 2562"/>
                <a:gd name="T97" fmla="*/ 422 h 1657"/>
                <a:gd name="T98" fmla="*/ 201 w 2562"/>
                <a:gd name="T99" fmla="*/ 291 h 1657"/>
                <a:gd name="T100" fmla="*/ 330 w 2562"/>
                <a:gd name="T101" fmla="*/ 186 h 1657"/>
                <a:gd name="T102" fmla="*/ 502 w 2562"/>
                <a:gd name="T103" fmla="*/ 103 h 1657"/>
                <a:gd name="T104" fmla="*/ 728 w 2562"/>
                <a:gd name="T105" fmla="*/ 37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62" h="1657">
                  <a:moveTo>
                    <a:pt x="909" y="0"/>
                  </a:moveTo>
                  <a:lnTo>
                    <a:pt x="910" y="2"/>
                  </a:lnTo>
                  <a:lnTo>
                    <a:pt x="916" y="7"/>
                  </a:lnTo>
                  <a:lnTo>
                    <a:pt x="923" y="14"/>
                  </a:lnTo>
                  <a:lnTo>
                    <a:pt x="934" y="25"/>
                  </a:lnTo>
                  <a:lnTo>
                    <a:pt x="948" y="37"/>
                  </a:lnTo>
                  <a:lnTo>
                    <a:pt x="966" y="50"/>
                  </a:lnTo>
                  <a:lnTo>
                    <a:pt x="986" y="63"/>
                  </a:lnTo>
                  <a:lnTo>
                    <a:pt x="1011" y="78"/>
                  </a:lnTo>
                  <a:lnTo>
                    <a:pt x="1038" y="92"/>
                  </a:lnTo>
                  <a:lnTo>
                    <a:pt x="1069" y="105"/>
                  </a:lnTo>
                  <a:lnTo>
                    <a:pt x="1103" y="117"/>
                  </a:lnTo>
                  <a:lnTo>
                    <a:pt x="1142" y="128"/>
                  </a:lnTo>
                  <a:lnTo>
                    <a:pt x="1185" y="135"/>
                  </a:lnTo>
                  <a:lnTo>
                    <a:pt x="1231" y="140"/>
                  </a:lnTo>
                  <a:lnTo>
                    <a:pt x="1280" y="142"/>
                  </a:lnTo>
                  <a:lnTo>
                    <a:pt x="1331" y="140"/>
                  </a:lnTo>
                  <a:lnTo>
                    <a:pt x="1377" y="135"/>
                  </a:lnTo>
                  <a:lnTo>
                    <a:pt x="1419" y="128"/>
                  </a:lnTo>
                  <a:lnTo>
                    <a:pt x="1458" y="117"/>
                  </a:lnTo>
                  <a:lnTo>
                    <a:pt x="1492" y="105"/>
                  </a:lnTo>
                  <a:lnTo>
                    <a:pt x="1524" y="92"/>
                  </a:lnTo>
                  <a:lnTo>
                    <a:pt x="1551" y="78"/>
                  </a:lnTo>
                  <a:lnTo>
                    <a:pt x="1576" y="63"/>
                  </a:lnTo>
                  <a:lnTo>
                    <a:pt x="1596" y="50"/>
                  </a:lnTo>
                  <a:lnTo>
                    <a:pt x="1614" y="37"/>
                  </a:lnTo>
                  <a:lnTo>
                    <a:pt x="1628" y="25"/>
                  </a:lnTo>
                  <a:lnTo>
                    <a:pt x="1638" y="14"/>
                  </a:lnTo>
                  <a:lnTo>
                    <a:pt x="1646" y="7"/>
                  </a:lnTo>
                  <a:lnTo>
                    <a:pt x="1650" y="2"/>
                  </a:lnTo>
                  <a:lnTo>
                    <a:pt x="1653" y="0"/>
                  </a:lnTo>
                  <a:lnTo>
                    <a:pt x="1747" y="18"/>
                  </a:lnTo>
                  <a:lnTo>
                    <a:pt x="1836" y="38"/>
                  </a:lnTo>
                  <a:lnTo>
                    <a:pt x="1918" y="58"/>
                  </a:lnTo>
                  <a:lnTo>
                    <a:pt x="1993" y="81"/>
                  </a:lnTo>
                  <a:lnTo>
                    <a:pt x="2063" y="104"/>
                  </a:lnTo>
                  <a:lnTo>
                    <a:pt x="2126" y="130"/>
                  </a:lnTo>
                  <a:lnTo>
                    <a:pt x="2184" y="158"/>
                  </a:lnTo>
                  <a:lnTo>
                    <a:pt x="2236" y="188"/>
                  </a:lnTo>
                  <a:lnTo>
                    <a:pt x="2284" y="221"/>
                  </a:lnTo>
                  <a:lnTo>
                    <a:pt x="2327" y="256"/>
                  </a:lnTo>
                  <a:lnTo>
                    <a:pt x="2365" y="295"/>
                  </a:lnTo>
                  <a:lnTo>
                    <a:pt x="2399" y="337"/>
                  </a:lnTo>
                  <a:lnTo>
                    <a:pt x="2428" y="382"/>
                  </a:lnTo>
                  <a:lnTo>
                    <a:pt x="2454" y="431"/>
                  </a:lnTo>
                  <a:lnTo>
                    <a:pt x="2476" y="483"/>
                  </a:lnTo>
                  <a:lnTo>
                    <a:pt x="2496" y="540"/>
                  </a:lnTo>
                  <a:lnTo>
                    <a:pt x="2511" y="600"/>
                  </a:lnTo>
                  <a:lnTo>
                    <a:pt x="2524" y="665"/>
                  </a:lnTo>
                  <a:lnTo>
                    <a:pt x="2535" y="735"/>
                  </a:lnTo>
                  <a:lnTo>
                    <a:pt x="2544" y="809"/>
                  </a:lnTo>
                  <a:lnTo>
                    <a:pt x="2550" y="889"/>
                  </a:lnTo>
                  <a:lnTo>
                    <a:pt x="2555" y="974"/>
                  </a:lnTo>
                  <a:lnTo>
                    <a:pt x="2558" y="1064"/>
                  </a:lnTo>
                  <a:lnTo>
                    <a:pt x="2560" y="1160"/>
                  </a:lnTo>
                  <a:lnTo>
                    <a:pt x="2561" y="1183"/>
                  </a:lnTo>
                  <a:lnTo>
                    <a:pt x="2561" y="1198"/>
                  </a:lnTo>
                  <a:lnTo>
                    <a:pt x="2561" y="1209"/>
                  </a:lnTo>
                  <a:lnTo>
                    <a:pt x="2561" y="1214"/>
                  </a:lnTo>
                  <a:lnTo>
                    <a:pt x="2561" y="1216"/>
                  </a:lnTo>
                  <a:lnTo>
                    <a:pt x="2562" y="1215"/>
                  </a:lnTo>
                  <a:lnTo>
                    <a:pt x="2562" y="1232"/>
                  </a:lnTo>
                  <a:lnTo>
                    <a:pt x="2562" y="1252"/>
                  </a:lnTo>
                  <a:lnTo>
                    <a:pt x="2562" y="1277"/>
                  </a:lnTo>
                  <a:lnTo>
                    <a:pt x="2561" y="1278"/>
                  </a:lnTo>
                  <a:lnTo>
                    <a:pt x="2559" y="1282"/>
                  </a:lnTo>
                  <a:lnTo>
                    <a:pt x="2556" y="1287"/>
                  </a:lnTo>
                  <a:lnTo>
                    <a:pt x="2551" y="1295"/>
                  </a:lnTo>
                  <a:lnTo>
                    <a:pt x="2544" y="1304"/>
                  </a:lnTo>
                  <a:lnTo>
                    <a:pt x="2535" y="1314"/>
                  </a:lnTo>
                  <a:lnTo>
                    <a:pt x="2524" y="1326"/>
                  </a:lnTo>
                  <a:lnTo>
                    <a:pt x="2512" y="1340"/>
                  </a:lnTo>
                  <a:lnTo>
                    <a:pt x="2497" y="1355"/>
                  </a:lnTo>
                  <a:lnTo>
                    <a:pt x="2478" y="1370"/>
                  </a:lnTo>
                  <a:lnTo>
                    <a:pt x="2458" y="1387"/>
                  </a:lnTo>
                  <a:lnTo>
                    <a:pt x="2435" y="1404"/>
                  </a:lnTo>
                  <a:lnTo>
                    <a:pt x="2409" y="1421"/>
                  </a:lnTo>
                  <a:lnTo>
                    <a:pt x="2380" y="1440"/>
                  </a:lnTo>
                  <a:lnTo>
                    <a:pt x="2348" y="1458"/>
                  </a:lnTo>
                  <a:lnTo>
                    <a:pt x="2313" y="1476"/>
                  </a:lnTo>
                  <a:lnTo>
                    <a:pt x="2273" y="1495"/>
                  </a:lnTo>
                  <a:lnTo>
                    <a:pt x="2231" y="1512"/>
                  </a:lnTo>
                  <a:lnTo>
                    <a:pt x="2184" y="1530"/>
                  </a:lnTo>
                  <a:lnTo>
                    <a:pt x="2134" y="1548"/>
                  </a:lnTo>
                  <a:lnTo>
                    <a:pt x="2079" y="1564"/>
                  </a:lnTo>
                  <a:lnTo>
                    <a:pt x="2021" y="1579"/>
                  </a:lnTo>
                  <a:lnTo>
                    <a:pt x="1958" y="1594"/>
                  </a:lnTo>
                  <a:lnTo>
                    <a:pt x="1890" y="1608"/>
                  </a:lnTo>
                  <a:lnTo>
                    <a:pt x="1819" y="1620"/>
                  </a:lnTo>
                  <a:lnTo>
                    <a:pt x="1741" y="1630"/>
                  </a:lnTo>
                  <a:lnTo>
                    <a:pt x="1660" y="1640"/>
                  </a:lnTo>
                  <a:lnTo>
                    <a:pt x="1573" y="1647"/>
                  </a:lnTo>
                  <a:lnTo>
                    <a:pt x="1481" y="1653"/>
                  </a:lnTo>
                  <a:lnTo>
                    <a:pt x="1384" y="1656"/>
                  </a:lnTo>
                  <a:lnTo>
                    <a:pt x="1280" y="1657"/>
                  </a:lnTo>
                  <a:lnTo>
                    <a:pt x="1178" y="1656"/>
                  </a:lnTo>
                  <a:lnTo>
                    <a:pt x="1081" y="1653"/>
                  </a:lnTo>
                  <a:lnTo>
                    <a:pt x="988" y="1647"/>
                  </a:lnTo>
                  <a:lnTo>
                    <a:pt x="901" y="1640"/>
                  </a:lnTo>
                  <a:lnTo>
                    <a:pt x="820" y="1630"/>
                  </a:lnTo>
                  <a:lnTo>
                    <a:pt x="743" y="1620"/>
                  </a:lnTo>
                  <a:lnTo>
                    <a:pt x="671" y="1608"/>
                  </a:lnTo>
                  <a:lnTo>
                    <a:pt x="603" y="1594"/>
                  </a:lnTo>
                  <a:lnTo>
                    <a:pt x="541" y="1579"/>
                  </a:lnTo>
                  <a:lnTo>
                    <a:pt x="482" y="1564"/>
                  </a:lnTo>
                  <a:lnTo>
                    <a:pt x="428" y="1548"/>
                  </a:lnTo>
                  <a:lnTo>
                    <a:pt x="378" y="1530"/>
                  </a:lnTo>
                  <a:lnTo>
                    <a:pt x="331" y="1512"/>
                  </a:lnTo>
                  <a:lnTo>
                    <a:pt x="288" y="1495"/>
                  </a:lnTo>
                  <a:lnTo>
                    <a:pt x="249" y="1476"/>
                  </a:lnTo>
                  <a:lnTo>
                    <a:pt x="213" y="1458"/>
                  </a:lnTo>
                  <a:lnTo>
                    <a:pt x="182" y="1440"/>
                  </a:lnTo>
                  <a:lnTo>
                    <a:pt x="152" y="1421"/>
                  </a:lnTo>
                  <a:lnTo>
                    <a:pt x="127" y="1404"/>
                  </a:lnTo>
                  <a:lnTo>
                    <a:pt x="103" y="1387"/>
                  </a:lnTo>
                  <a:lnTo>
                    <a:pt x="83" y="1370"/>
                  </a:lnTo>
                  <a:lnTo>
                    <a:pt x="65" y="1355"/>
                  </a:lnTo>
                  <a:lnTo>
                    <a:pt x="50" y="1340"/>
                  </a:lnTo>
                  <a:lnTo>
                    <a:pt x="37" y="1326"/>
                  </a:lnTo>
                  <a:lnTo>
                    <a:pt x="27" y="1314"/>
                  </a:lnTo>
                  <a:lnTo>
                    <a:pt x="17" y="1304"/>
                  </a:lnTo>
                  <a:lnTo>
                    <a:pt x="11" y="1295"/>
                  </a:lnTo>
                  <a:lnTo>
                    <a:pt x="6" y="1287"/>
                  </a:lnTo>
                  <a:lnTo>
                    <a:pt x="3" y="1282"/>
                  </a:lnTo>
                  <a:lnTo>
                    <a:pt x="1" y="1278"/>
                  </a:lnTo>
                  <a:lnTo>
                    <a:pt x="0" y="1277"/>
                  </a:lnTo>
                  <a:lnTo>
                    <a:pt x="0" y="1247"/>
                  </a:lnTo>
                  <a:lnTo>
                    <a:pt x="0" y="1224"/>
                  </a:lnTo>
                  <a:lnTo>
                    <a:pt x="0" y="1206"/>
                  </a:lnTo>
                  <a:lnTo>
                    <a:pt x="0" y="1194"/>
                  </a:lnTo>
                  <a:lnTo>
                    <a:pt x="0" y="1196"/>
                  </a:lnTo>
                  <a:lnTo>
                    <a:pt x="0" y="1197"/>
                  </a:lnTo>
                  <a:lnTo>
                    <a:pt x="0" y="1194"/>
                  </a:lnTo>
                  <a:lnTo>
                    <a:pt x="1" y="1187"/>
                  </a:lnTo>
                  <a:lnTo>
                    <a:pt x="1" y="1175"/>
                  </a:lnTo>
                  <a:lnTo>
                    <a:pt x="1" y="1158"/>
                  </a:lnTo>
                  <a:lnTo>
                    <a:pt x="2" y="1135"/>
                  </a:lnTo>
                  <a:lnTo>
                    <a:pt x="4" y="1042"/>
                  </a:lnTo>
                  <a:lnTo>
                    <a:pt x="8" y="953"/>
                  </a:lnTo>
                  <a:lnTo>
                    <a:pt x="13" y="870"/>
                  </a:lnTo>
                  <a:lnTo>
                    <a:pt x="19" y="793"/>
                  </a:lnTo>
                  <a:lnTo>
                    <a:pt x="29" y="720"/>
                  </a:lnTo>
                  <a:lnTo>
                    <a:pt x="40" y="652"/>
                  </a:lnTo>
                  <a:lnTo>
                    <a:pt x="53" y="589"/>
                  </a:lnTo>
                  <a:lnTo>
                    <a:pt x="69" y="530"/>
                  </a:lnTo>
                  <a:lnTo>
                    <a:pt x="89" y="474"/>
                  </a:lnTo>
                  <a:lnTo>
                    <a:pt x="111" y="422"/>
                  </a:lnTo>
                  <a:lnTo>
                    <a:pt x="138" y="375"/>
                  </a:lnTo>
                  <a:lnTo>
                    <a:pt x="167" y="332"/>
                  </a:lnTo>
                  <a:lnTo>
                    <a:pt x="201" y="291"/>
                  </a:lnTo>
                  <a:lnTo>
                    <a:pt x="239" y="253"/>
                  </a:lnTo>
                  <a:lnTo>
                    <a:pt x="282" y="217"/>
                  </a:lnTo>
                  <a:lnTo>
                    <a:pt x="330" y="186"/>
                  </a:lnTo>
                  <a:lnTo>
                    <a:pt x="382" y="156"/>
                  </a:lnTo>
                  <a:lnTo>
                    <a:pt x="439" y="129"/>
                  </a:lnTo>
                  <a:lnTo>
                    <a:pt x="502" y="103"/>
                  </a:lnTo>
                  <a:lnTo>
                    <a:pt x="572" y="80"/>
                  </a:lnTo>
                  <a:lnTo>
                    <a:pt x="646" y="57"/>
                  </a:lnTo>
                  <a:lnTo>
                    <a:pt x="728" y="37"/>
                  </a:lnTo>
                  <a:lnTo>
                    <a:pt x="815" y="18"/>
                  </a:lnTo>
                  <a:lnTo>
                    <a:pt x="9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sp>
        <p:nvSpPr>
          <p:cNvPr id="137" name="Content Placeholder 1"/>
          <p:cNvSpPr txBox="1">
            <a:spLocks/>
          </p:cNvSpPr>
          <p:nvPr/>
        </p:nvSpPr>
        <p:spPr bwMode="gray">
          <a:xfrm>
            <a:off x="6875399" y="5645582"/>
            <a:ext cx="601319" cy="215444"/>
          </a:xfrm>
          <a:prstGeom prst="rect">
            <a:avLst/>
          </a:prstGeom>
          <a:noFill/>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400" dirty="0">
                <a:latin typeface="Calibri" panose="020F0502020204030204" pitchFamily="34" charset="0"/>
                <a:cs typeface="Calibri" panose="020F0502020204030204" pitchFamily="34" charset="0"/>
              </a:rPr>
              <a:t>External</a:t>
            </a:r>
          </a:p>
        </p:txBody>
      </p:sp>
      <p:sp>
        <p:nvSpPr>
          <p:cNvPr id="138" name="Content Placeholder 1"/>
          <p:cNvSpPr txBox="1">
            <a:spLocks/>
          </p:cNvSpPr>
          <p:nvPr/>
        </p:nvSpPr>
        <p:spPr bwMode="gray">
          <a:xfrm>
            <a:off x="6569703" y="5355569"/>
            <a:ext cx="412998" cy="215444"/>
          </a:xfrm>
          <a:prstGeom prst="rect">
            <a:avLst/>
          </a:prstGeom>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400" b="1" dirty="0">
                <a:latin typeface="Calibri" panose="020F0502020204030204" pitchFamily="34" charset="0"/>
                <a:cs typeface="Calibri" panose="020F0502020204030204" pitchFamily="34" charset="0"/>
              </a:rPr>
              <a:t>Users</a:t>
            </a:r>
          </a:p>
        </p:txBody>
      </p:sp>
      <p:sp>
        <p:nvSpPr>
          <p:cNvPr id="149" name="Content Placeholder 1"/>
          <p:cNvSpPr txBox="1">
            <a:spLocks/>
          </p:cNvSpPr>
          <p:nvPr/>
        </p:nvSpPr>
        <p:spPr bwMode="gray">
          <a:xfrm>
            <a:off x="2731055" y="4070161"/>
            <a:ext cx="468013" cy="215444"/>
          </a:xfrm>
          <a:prstGeom prst="rect">
            <a:avLst/>
          </a:prstGeom>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400" dirty="0">
                <a:latin typeface="Calibri" panose="020F0502020204030204" pitchFamily="34" charset="0"/>
                <a:cs typeface="Calibri" panose="020F0502020204030204" pitchFamily="34" charset="0"/>
              </a:rPr>
              <a:t>Server</a:t>
            </a:r>
          </a:p>
        </p:txBody>
      </p:sp>
      <p:sp>
        <p:nvSpPr>
          <p:cNvPr id="150" name="Content Placeholder 1"/>
          <p:cNvSpPr txBox="1">
            <a:spLocks/>
          </p:cNvSpPr>
          <p:nvPr/>
        </p:nvSpPr>
        <p:spPr bwMode="gray">
          <a:xfrm>
            <a:off x="3592892" y="4070161"/>
            <a:ext cx="208390" cy="215444"/>
          </a:xfrm>
          <a:prstGeom prst="rect">
            <a:avLst/>
          </a:prstGeom>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400" dirty="0">
                <a:latin typeface="Calibri" panose="020F0502020204030204" pitchFamily="34" charset="0"/>
                <a:cs typeface="Calibri" panose="020F0502020204030204" pitchFamily="34" charset="0"/>
              </a:rPr>
              <a:t>DB</a:t>
            </a:r>
          </a:p>
        </p:txBody>
      </p:sp>
      <p:grpSp>
        <p:nvGrpSpPr>
          <p:cNvPr id="151" name="Group 150"/>
          <p:cNvGrpSpPr/>
          <p:nvPr/>
        </p:nvGrpSpPr>
        <p:grpSpPr>
          <a:xfrm>
            <a:off x="2879029" y="4284249"/>
            <a:ext cx="172064" cy="230655"/>
            <a:chOff x="876300" y="4684713"/>
            <a:chExt cx="1104900" cy="1481138"/>
          </a:xfrm>
          <a:solidFill>
            <a:schemeClr val="accent4"/>
          </a:solidFill>
        </p:grpSpPr>
        <p:sp>
          <p:nvSpPr>
            <p:cNvPr id="152" name="Freeform 24"/>
            <p:cNvSpPr>
              <a:spLocks noEditPoints="1"/>
            </p:cNvSpPr>
            <p:nvPr/>
          </p:nvSpPr>
          <p:spPr bwMode="auto">
            <a:xfrm>
              <a:off x="958850" y="4684713"/>
              <a:ext cx="1022350" cy="1047750"/>
            </a:xfrm>
            <a:custGeom>
              <a:avLst/>
              <a:gdLst>
                <a:gd name="T0" fmla="*/ 1158 w 2578"/>
                <a:gd name="T1" fmla="*/ 227 h 2639"/>
                <a:gd name="T2" fmla="*/ 939 w 2578"/>
                <a:gd name="T3" fmla="*/ 278 h 2639"/>
                <a:gd name="T4" fmla="*/ 734 w 2578"/>
                <a:gd name="T5" fmla="*/ 376 h 2639"/>
                <a:gd name="T6" fmla="*/ 552 w 2578"/>
                <a:gd name="T7" fmla="*/ 517 h 2639"/>
                <a:gd name="T8" fmla="*/ 399 w 2578"/>
                <a:gd name="T9" fmla="*/ 700 h 2639"/>
                <a:gd name="T10" fmla="*/ 285 w 2578"/>
                <a:gd name="T11" fmla="*/ 923 h 2639"/>
                <a:gd name="T12" fmla="*/ 223 w 2578"/>
                <a:gd name="T13" fmla="*/ 1164 h 2639"/>
                <a:gd name="T14" fmla="*/ 216 w 2578"/>
                <a:gd name="T15" fmla="*/ 1406 h 2639"/>
                <a:gd name="T16" fmla="*/ 261 w 2578"/>
                <a:gd name="T17" fmla="*/ 1644 h 2639"/>
                <a:gd name="T18" fmla="*/ 354 w 2578"/>
                <a:gd name="T19" fmla="*/ 1866 h 2639"/>
                <a:gd name="T20" fmla="*/ 495 w 2578"/>
                <a:gd name="T21" fmla="*/ 2064 h 2639"/>
                <a:gd name="T22" fmla="*/ 679 w 2578"/>
                <a:gd name="T23" fmla="*/ 2228 h 2639"/>
                <a:gd name="T24" fmla="*/ 901 w 2578"/>
                <a:gd name="T25" fmla="*/ 2348 h 2639"/>
                <a:gd name="T26" fmla="*/ 1137 w 2578"/>
                <a:gd name="T27" fmla="*/ 2411 h 2639"/>
                <a:gd name="T28" fmla="*/ 1374 w 2578"/>
                <a:gd name="T29" fmla="*/ 2418 h 2639"/>
                <a:gd name="T30" fmla="*/ 1606 w 2578"/>
                <a:gd name="T31" fmla="*/ 2373 h 2639"/>
                <a:gd name="T32" fmla="*/ 1823 w 2578"/>
                <a:gd name="T33" fmla="*/ 2277 h 2639"/>
                <a:gd name="T34" fmla="*/ 2016 w 2578"/>
                <a:gd name="T35" fmla="*/ 2133 h 2639"/>
                <a:gd name="T36" fmla="*/ 2177 w 2578"/>
                <a:gd name="T37" fmla="*/ 1943 h 2639"/>
                <a:gd name="T38" fmla="*/ 2291 w 2578"/>
                <a:gd name="T39" fmla="*/ 1723 h 2639"/>
                <a:gd name="T40" fmla="*/ 2352 w 2578"/>
                <a:gd name="T41" fmla="*/ 1495 h 2639"/>
                <a:gd name="T42" fmla="*/ 2364 w 2578"/>
                <a:gd name="T43" fmla="*/ 1262 h 2639"/>
                <a:gd name="T44" fmla="*/ 2329 w 2578"/>
                <a:gd name="T45" fmla="*/ 1034 h 2639"/>
                <a:gd name="T46" fmla="*/ 2248 w 2578"/>
                <a:gd name="T47" fmla="*/ 819 h 2639"/>
                <a:gd name="T48" fmla="*/ 2124 w 2578"/>
                <a:gd name="T49" fmla="*/ 623 h 2639"/>
                <a:gd name="T50" fmla="*/ 1959 w 2578"/>
                <a:gd name="T51" fmla="*/ 458 h 2639"/>
                <a:gd name="T52" fmla="*/ 1756 w 2578"/>
                <a:gd name="T53" fmla="*/ 327 h 2639"/>
                <a:gd name="T54" fmla="*/ 1536 w 2578"/>
                <a:gd name="T55" fmla="*/ 247 h 2639"/>
                <a:gd name="T56" fmla="*/ 1309 w 2578"/>
                <a:gd name="T57" fmla="*/ 219 h 2639"/>
                <a:gd name="T58" fmla="*/ 1365 w 2578"/>
                <a:gd name="T59" fmla="*/ 2 h 2639"/>
                <a:gd name="T60" fmla="*/ 1614 w 2578"/>
                <a:gd name="T61" fmla="*/ 42 h 2639"/>
                <a:gd name="T62" fmla="*/ 1856 w 2578"/>
                <a:gd name="T63" fmla="*/ 134 h 2639"/>
                <a:gd name="T64" fmla="*/ 2086 w 2578"/>
                <a:gd name="T65" fmla="*/ 281 h 2639"/>
                <a:gd name="T66" fmla="*/ 2277 w 2578"/>
                <a:gd name="T67" fmla="*/ 471 h 2639"/>
                <a:gd name="T68" fmla="*/ 2423 w 2578"/>
                <a:gd name="T69" fmla="*/ 692 h 2639"/>
                <a:gd name="T70" fmla="*/ 2523 w 2578"/>
                <a:gd name="T71" fmla="*/ 936 h 2639"/>
                <a:gd name="T72" fmla="*/ 2573 w 2578"/>
                <a:gd name="T73" fmla="*/ 1195 h 2639"/>
                <a:gd name="T74" fmla="*/ 2572 w 2578"/>
                <a:gd name="T75" fmla="*/ 1461 h 2639"/>
                <a:gd name="T76" fmla="*/ 2517 w 2578"/>
                <a:gd name="T77" fmla="*/ 1726 h 2639"/>
                <a:gd name="T78" fmla="*/ 2407 w 2578"/>
                <a:gd name="T79" fmla="*/ 1979 h 2639"/>
                <a:gd name="T80" fmla="*/ 2246 w 2578"/>
                <a:gd name="T81" fmla="*/ 2205 h 2639"/>
                <a:gd name="T82" fmla="*/ 2050 w 2578"/>
                <a:gd name="T83" fmla="*/ 2387 h 2639"/>
                <a:gd name="T84" fmla="*/ 1825 w 2578"/>
                <a:gd name="T85" fmla="*/ 2521 h 2639"/>
                <a:gd name="T86" fmla="*/ 1581 w 2578"/>
                <a:gd name="T87" fmla="*/ 2605 h 2639"/>
                <a:gd name="T88" fmla="*/ 1325 w 2578"/>
                <a:gd name="T89" fmla="*/ 2639 h 2639"/>
                <a:gd name="T90" fmla="*/ 1064 w 2578"/>
                <a:gd name="T91" fmla="*/ 2620 h 2639"/>
                <a:gd name="T92" fmla="*/ 809 w 2578"/>
                <a:gd name="T93" fmla="*/ 2545 h 2639"/>
                <a:gd name="T94" fmla="*/ 566 w 2578"/>
                <a:gd name="T95" fmla="*/ 2414 h 2639"/>
                <a:gd name="T96" fmla="*/ 360 w 2578"/>
                <a:gd name="T97" fmla="*/ 2237 h 2639"/>
                <a:gd name="T98" fmla="*/ 198 w 2578"/>
                <a:gd name="T99" fmla="*/ 2025 h 2639"/>
                <a:gd name="T100" fmla="*/ 84 w 2578"/>
                <a:gd name="T101" fmla="*/ 1788 h 2639"/>
                <a:gd name="T102" fmla="*/ 16 w 2578"/>
                <a:gd name="T103" fmla="*/ 1532 h 2639"/>
                <a:gd name="T104" fmla="*/ 0 w 2578"/>
                <a:gd name="T105" fmla="*/ 1267 h 2639"/>
                <a:gd name="T106" fmla="*/ 37 w 2578"/>
                <a:gd name="T107" fmla="*/ 1001 h 2639"/>
                <a:gd name="T108" fmla="*/ 129 w 2578"/>
                <a:gd name="T109" fmla="*/ 743 h 2639"/>
                <a:gd name="T110" fmla="*/ 269 w 2578"/>
                <a:gd name="T111" fmla="*/ 511 h 2639"/>
                <a:gd name="T112" fmla="*/ 446 w 2578"/>
                <a:gd name="T113" fmla="*/ 321 h 2639"/>
                <a:gd name="T114" fmla="*/ 649 w 2578"/>
                <a:gd name="T115" fmla="*/ 174 h 2639"/>
                <a:gd name="T116" fmla="*/ 876 w 2578"/>
                <a:gd name="T117" fmla="*/ 70 h 2639"/>
                <a:gd name="T118" fmla="*/ 1118 w 2578"/>
                <a:gd name="T119" fmla="*/ 11 h 2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78" h="2639">
                  <a:moveTo>
                    <a:pt x="1309" y="219"/>
                  </a:moveTo>
                  <a:lnTo>
                    <a:pt x="1233" y="220"/>
                  </a:lnTo>
                  <a:lnTo>
                    <a:pt x="1158" y="227"/>
                  </a:lnTo>
                  <a:lnTo>
                    <a:pt x="1084" y="239"/>
                  </a:lnTo>
                  <a:lnTo>
                    <a:pt x="1010" y="256"/>
                  </a:lnTo>
                  <a:lnTo>
                    <a:pt x="939" y="278"/>
                  </a:lnTo>
                  <a:lnTo>
                    <a:pt x="869" y="306"/>
                  </a:lnTo>
                  <a:lnTo>
                    <a:pt x="800" y="339"/>
                  </a:lnTo>
                  <a:lnTo>
                    <a:pt x="734" y="376"/>
                  </a:lnTo>
                  <a:lnTo>
                    <a:pt x="670" y="419"/>
                  </a:lnTo>
                  <a:lnTo>
                    <a:pt x="609" y="466"/>
                  </a:lnTo>
                  <a:lnTo>
                    <a:pt x="552" y="517"/>
                  </a:lnTo>
                  <a:lnTo>
                    <a:pt x="497" y="573"/>
                  </a:lnTo>
                  <a:lnTo>
                    <a:pt x="446" y="634"/>
                  </a:lnTo>
                  <a:lnTo>
                    <a:pt x="399" y="700"/>
                  </a:lnTo>
                  <a:lnTo>
                    <a:pt x="356" y="770"/>
                  </a:lnTo>
                  <a:lnTo>
                    <a:pt x="317" y="845"/>
                  </a:lnTo>
                  <a:lnTo>
                    <a:pt x="285" y="923"/>
                  </a:lnTo>
                  <a:lnTo>
                    <a:pt x="258" y="1003"/>
                  </a:lnTo>
                  <a:lnTo>
                    <a:pt x="237" y="1083"/>
                  </a:lnTo>
                  <a:lnTo>
                    <a:pt x="223" y="1164"/>
                  </a:lnTo>
                  <a:lnTo>
                    <a:pt x="215" y="1244"/>
                  </a:lnTo>
                  <a:lnTo>
                    <a:pt x="212" y="1326"/>
                  </a:lnTo>
                  <a:lnTo>
                    <a:pt x="216" y="1406"/>
                  </a:lnTo>
                  <a:lnTo>
                    <a:pt x="225" y="1487"/>
                  </a:lnTo>
                  <a:lnTo>
                    <a:pt x="240" y="1566"/>
                  </a:lnTo>
                  <a:lnTo>
                    <a:pt x="261" y="1644"/>
                  </a:lnTo>
                  <a:lnTo>
                    <a:pt x="286" y="1720"/>
                  </a:lnTo>
                  <a:lnTo>
                    <a:pt x="317" y="1794"/>
                  </a:lnTo>
                  <a:lnTo>
                    <a:pt x="354" y="1866"/>
                  </a:lnTo>
                  <a:lnTo>
                    <a:pt x="396" y="1934"/>
                  </a:lnTo>
                  <a:lnTo>
                    <a:pt x="442" y="2001"/>
                  </a:lnTo>
                  <a:lnTo>
                    <a:pt x="495" y="2064"/>
                  </a:lnTo>
                  <a:lnTo>
                    <a:pt x="552" y="2122"/>
                  </a:lnTo>
                  <a:lnTo>
                    <a:pt x="613" y="2178"/>
                  </a:lnTo>
                  <a:lnTo>
                    <a:pt x="679" y="2228"/>
                  </a:lnTo>
                  <a:lnTo>
                    <a:pt x="751" y="2275"/>
                  </a:lnTo>
                  <a:lnTo>
                    <a:pt x="825" y="2315"/>
                  </a:lnTo>
                  <a:lnTo>
                    <a:pt x="901" y="2348"/>
                  </a:lnTo>
                  <a:lnTo>
                    <a:pt x="978" y="2376"/>
                  </a:lnTo>
                  <a:lnTo>
                    <a:pt x="1057" y="2396"/>
                  </a:lnTo>
                  <a:lnTo>
                    <a:pt x="1137" y="2411"/>
                  </a:lnTo>
                  <a:lnTo>
                    <a:pt x="1215" y="2420"/>
                  </a:lnTo>
                  <a:lnTo>
                    <a:pt x="1295" y="2422"/>
                  </a:lnTo>
                  <a:lnTo>
                    <a:pt x="1374" y="2418"/>
                  </a:lnTo>
                  <a:lnTo>
                    <a:pt x="1452" y="2409"/>
                  </a:lnTo>
                  <a:lnTo>
                    <a:pt x="1530" y="2394"/>
                  </a:lnTo>
                  <a:lnTo>
                    <a:pt x="1606" y="2373"/>
                  </a:lnTo>
                  <a:lnTo>
                    <a:pt x="1680" y="2346"/>
                  </a:lnTo>
                  <a:lnTo>
                    <a:pt x="1753" y="2315"/>
                  </a:lnTo>
                  <a:lnTo>
                    <a:pt x="1823" y="2277"/>
                  </a:lnTo>
                  <a:lnTo>
                    <a:pt x="1890" y="2234"/>
                  </a:lnTo>
                  <a:lnTo>
                    <a:pt x="1955" y="2186"/>
                  </a:lnTo>
                  <a:lnTo>
                    <a:pt x="2016" y="2133"/>
                  </a:lnTo>
                  <a:lnTo>
                    <a:pt x="2073" y="2075"/>
                  </a:lnTo>
                  <a:lnTo>
                    <a:pt x="2127" y="2011"/>
                  </a:lnTo>
                  <a:lnTo>
                    <a:pt x="2177" y="1943"/>
                  </a:lnTo>
                  <a:lnTo>
                    <a:pt x="2221" y="1871"/>
                  </a:lnTo>
                  <a:lnTo>
                    <a:pt x="2259" y="1798"/>
                  </a:lnTo>
                  <a:lnTo>
                    <a:pt x="2291" y="1723"/>
                  </a:lnTo>
                  <a:lnTo>
                    <a:pt x="2317" y="1648"/>
                  </a:lnTo>
                  <a:lnTo>
                    <a:pt x="2337" y="1572"/>
                  </a:lnTo>
                  <a:lnTo>
                    <a:pt x="2352" y="1495"/>
                  </a:lnTo>
                  <a:lnTo>
                    <a:pt x="2361" y="1417"/>
                  </a:lnTo>
                  <a:lnTo>
                    <a:pt x="2365" y="1339"/>
                  </a:lnTo>
                  <a:lnTo>
                    <a:pt x="2364" y="1262"/>
                  </a:lnTo>
                  <a:lnTo>
                    <a:pt x="2358" y="1186"/>
                  </a:lnTo>
                  <a:lnTo>
                    <a:pt x="2346" y="1110"/>
                  </a:lnTo>
                  <a:lnTo>
                    <a:pt x="2329" y="1034"/>
                  </a:lnTo>
                  <a:lnTo>
                    <a:pt x="2306" y="961"/>
                  </a:lnTo>
                  <a:lnTo>
                    <a:pt x="2279" y="889"/>
                  </a:lnTo>
                  <a:lnTo>
                    <a:pt x="2248" y="819"/>
                  </a:lnTo>
                  <a:lnTo>
                    <a:pt x="2211" y="751"/>
                  </a:lnTo>
                  <a:lnTo>
                    <a:pt x="2169" y="686"/>
                  </a:lnTo>
                  <a:lnTo>
                    <a:pt x="2124" y="623"/>
                  </a:lnTo>
                  <a:lnTo>
                    <a:pt x="2073" y="565"/>
                  </a:lnTo>
                  <a:lnTo>
                    <a:pt x="2018" y="509"/>
                  </a:lnTo>
                  <a:lnTo>
                    <a:pt x="1959" y="458"/>
                  </a:lnTo>
                  <a:lnTo>
                    <a:pt x="1895" y="409"/>
                  </a:lnTo>
                  <a:lnTo>
                    <a:pt x="1828" y="365"/>
                  </a:lnTo>
                  <a:lnTo>
                    <a:pt x="1756" y="327"/>
                  </a:lnTo>
                  <a:lnTo>
                    <a:pt x="1683" y="294"/>
                  </a:lnTo>
                  <a:lnTo>
                    <a:pt x="1611" y="269"/>
                  </a:lnTo>
                  <a:lnTo>
                    <a:pt x="1536" y="247"/>
                  </a:lnTo>
                  <a:lnTo>
                    <a:pt x="1461" y="232"/>
                  </a:lnTo>
                  <a:lnTo>
                    <a:pt x="1384" y="222"/>
                  </a:lnTo>
                  <a:lnTo>
                    <a:pt x="1309" y="219"/>
                  </a:lnTo>
                  <a:close/>
                  <a:moveTo>
                    <a:pt x="1281" y="0"/>
                  </a:moveTo>
                  <a:lnTo>
                    <a:pt x="1284" y="0"/>
                  </a:lnTo>
                  <a:lnTo>
                    <a:pt x="1365" y="2"/>
                  </a:lnTo>
                  <a:lnTo>
                    <a:pt x="1449" y="10"/>
                  </a:lnTo>
                  <a:lnTo>
                    <a:pt x="1532" y="24"/>
                  </a:lnTo>
                  <a:lnTo>
                    <a:pt x="1614" y="42"/>
                  </a:lnTo>
                  <a:lnTo>
                    <a:pt x="1697" y="66"/>
                  </a:lnTo>
                  <a:lnTo>
                    <a:pt x="1776" y="98"/>
                  </a:lnTo>
                  <a:lnTo>
                    <a:pt x="1856" y="134"/>
                  </a:lnTo>
                  <a:lnTo>
                    <a:pt x="1934" y="176"/>
                  </a:lnTo>
                  <a:lnTo>
                    <a:pt x="2012" y="226"/>
                  </a:lnTo>
                  <a:lnTo>
                    <a:pt x="2086" y="281"/>
                  </a:lnTo>
                  <a:lnTo>
                    <a:pt x="2154" y="341"/>
                  </a:lnTo>
                  <a:lnTo>
                    <a:pt x="2218" y="404"/>
                  </a:lnTo>
                  <a:lnTo>
                    <a:pt x="2277" y="471"/>
                  </a:lnTo>
                  <a:lnTo>
                    <a:pt x="2330" y="541"/>
                  </a:lnTo>
                  <a:lnTo>
                    <a:pt x="2379" y="615"/>
                  </a:lnTo>
                  <a:lnTo>
                    <a:pt x="2423" y="692"/>
                  </a:lnTo>
                  <a:lnTo>
                    <a:pt x="2461" y="771"/>
                  </a:lnTo>
                  <a:lnTo>
                    <a:pt x="2495" y="853"/>
                  </a:lnTo>
                  <a:lnTo>
                    <a:pt x="2523" y="936"/>
                  </a:lnTo>
                  <a:lnTo>
                    <a:pt x="2545" y="1021"/>
                  </a:lnTo>
                  <a:lnTo>
                    <a:pt x="2561" y="1108"/>
                  </a:lnTo>
                  <a:lnTo>
                    <a:pt x="2573" y="1195"/>
                  </a:lnTo>
                  <a:lnTo>
                    <a:pt x="2578" y="1283"/>
                  </a:lnTo>
                  <a:lnTo>
                    <a:pt x="2578" y="1372"/>
                  </a:lnTo>
                  <a:lnTo>
                    <a:pt x="2572" y="1461"/>
                  </a:lnTo>
                  <a:lnTo>
                    <a:pt x="2559" y="1550"/>
                  </a:lnTo>
                  <a:lnTo>
                    <a:pt x="2541" y="1638"/>
                  </a:lnTo>
                  <a:lnTo>
                    <a:pt x="2517" y="1726"/>
                  </a:lnTo>
                  <a:lnTo>
                    <a:pt x="2486" y="1812"/>
                  </a:lnTo>
                  <a:lnTo>
                    <a:pt x="2449" y="1897"/>
                  </a:lnTo>
                  <a:lnTo>
                    <a:pt x="2407" y="1979"/>
                  </a:lnTo>
                  <a:lnTo>
                    <a:pt x="2358" y="2060"/>
                  </a:lnTo>
                  <a:lnTo>
                    <a:pt x="2304" y="2134"/>
                  </a:lnTo>
                  <a:lnTo>
                    <a:pt x="2246" y="2205"/>
                  </a:lnTo>
                  <a:lnTo>
                    <a:pt x="2184" y="2271"/>
                  </a:lnTo>
                  <a:lnTo>
                    <a:pt x="2118" y="2331"/>
                  </a:lnTo>
                  <a:lnTo>
                    <a:pt x="2050" y="2387"/>
                  </a:lnTo>
                  <a:lnTo>
                    <a:pt x="1978" y="2437"/>
                  </a:lnTo>
                  <a:lnTo>
                    <a:pt x="1903" y="2481"/>
                  </a:lnTo>
                  <a:lnTo>
                    <a:pt x="1825" y="2521"/>
                  </a:lnTo>
                  <a:lnTo>
                    <a:pt x="1745" y="2554"/>
                  </a:lnTo>
                  <a:lnTo>
                    <a:pt x="1664" y="2583"/>
                  </a:lnTo>
                  <a:lnTo>
                    <a:pt x="1581" y="2605"/>
                  </a:lnTo>
                  <a:lnTo>
                    <a:pt x="1496" y="2622"/>
                  </a:lnTo>
                  <a:lnTo>
                    <a:pt x="1411" y="2634"/>
                  </a:lnTo>
                  <a:lnTo>
                    <a:pt x="1325" y="2639"/>
                  </a:lnTo>
                  <a:lnTo>
                    <a:pt x="1238" y="2639"/>
                  </a:lnTo>
                  <a:lnTo>
                    <a:pt x="1151" y="2633"/>
                  </a:lnTo>
                  <a:lnTo>
                    <a:pt x="1064" y="2620"/>
                  </a:lnTo>
                  <a:lnTo>
                    <a:pt x="978" y="2601"/>
                  </a:lnTo>
                  <a:lnTo>
                    <a:pt x="892" y="2577"/>
                  </a:lnTo>
                  <a:lnTo>
                    <a:pt x="809" y="2545"/>
                  </a:lnTo>
                  <a:lnTo>
                    <a:pt x="726" y="2507"/>
                  </a:lnTo>
                  <a:lnTo>
                    <a:pt x="645" y="2464"/>
                  </a:lnTo>
                  <a:lnTo>
                    <a:pt x="566" y="2414"/>
                  </a:lnTo>
                  <a:lnTo>
                    <a:pt x="492" y="2359"/>
                  </a:lnTo>
                  <a:lnTo>
                    <a:pt x="424" y="2300"/>
                  </a:lnTo>
                  <a:lnTo>
                    <a:pt x="360" y="2237"/>
                  </a:lnTo>
                  <a:lnTo>
                    <a:pt x="302" y="2170"/>
                  </a:lnTo>
                  <a:lnTo>
                    <a:pt x="247" y="2099"/>
                  </a:lnTo>
                  <a:lnTo>
                    <a:pt x="198" y="2025"/>
                  </a:lnTo>
                  <a:lnTo>
                    <a:pt x="155" y="1948"/>
                  </a:lnTo>
                  <a:lnTo>
                    <a:pt x="116" y="1868"/>
                  </a:lnTo>
                  <a:lnTo>
                    <a:pt x="84" y="1788"/>
                  </a:lnTo>
                  <a:lnTo>
                    <a:pt x="55" y="1704"/>
                  </a:lnTo>
                  <a:lnTo>
                    <a:pt x="34" y="1618"/>
                  </a:lnTo>
                  <a:lnTo>
                    <a:pt x="16" y="1532"/>
                  </a:lnTo>
                  <a:lnTo>
                    <a:pt x="5" y="1444"/>
                  </a:lnTo>
                  <a:lnTo>
                    <a:pt x="0" y="1356"/>
                  </a:lnTo>
                  <a:lnTo>
                    <a:pt x="0" y="1267"/>
                  </a:lnTo>
                  <a:lnTo>
                    <a:pt x="6" y="1178"/>
                  </a:lnTo>
                  <a:lnTo>
                    <a:pt x="18" y="1090"/>
                  </a:lnTo>
                  <a:lnTo>
                    <a:pt x="37" y="1001"/>
                  </a:lnTo>
                  <a:lnTo>
                    <a:pt x="61" y="915"/>
                  </a:lnTo>
                  <a:lnTo>
                    <a:pt x="92" y="828"/>
                  </a:lnTo>
                  <a:lnTo>
                    <a:pt x="129" y="743"/>
                  </a:lnTo>
                  <a:lnTo>
                    <a:pt x="172" y="660"/>
                  </a:lnTo>
                  <a:lnTo>
                    <a:pt x="218" y="583"/>
                  </a:lnTo>
                  <a:lnTo>
                    <a:pt x="269" y="511"/>
                  </a:lnTo>
                  <a:lnTo>
                    <a:pt x="324" y="443"/>
                  </a:lnTo>
                  <a:lnTo>
                    <a:pt x="383" y="380"/>
                  </a:lnTo>
                  <a:lnTo>
                    <a:pt x="446" y="321"/>
                  </a:lnTo>
                  <a:lnTo>
                    <a:pt x="510" y="267"/>
                  </a:lnTo>
                  <a:lnTo>
                    <a:pt x="579" y="217"/>
                  </a:lnTo>
                  <a:lnTo>
                    <a:pt x="649" y="174"/>
                  </a:lnTo>
                  <a:lnTo>
                    <a:pt x="723" y="133"/>
                  </a:lnTo>
                  <a:lnTo>
                    <a:pt x="798" y="99"/>
                  </a:lnTo>
                  <a:lnTo>
                    <a:pt x="876" y="70"/>
                  </a:lnTo>
                  <a:lnTo>
                    <a:pt x="956" y="45"/>
                  </a:lnTo>
                  <a:lnTo>
                    <a:pt x="1035" y="26"/>
                  </a:lnTo>
                  <a:lnTo>
                    <a:pt x="1118" y="11"/>
                  </a:lnTo>
                  <a:lnTo>
                    <a:pt x="1200" y="3"/>
                  </a:lnTo>
                  <a:lnTo>
                    <a:pt x="12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53" name="Freeform 25"/>
            <p:cNvSpPr>
              <a:spLocks/>
            </p:cNvSpPr>
            <p:nvPr/>
          </p:nvSpPr>
          <p:spPr bwMode="auto">
            <a:xfrm>
              <a:off x="915988" y="5630863"/>
              <a:ext cx="388938" cy="430213"/>
            </a:xfrm>
            <a:custGeom>
              <a:avLst/>
              <a:gdLst>
                <a:gd name="T0" fmla="*/ 427 w 982"/>
                <a:gd name="T1" fmla="*/ 0 h 1084"/>
                <a:gd name="T2" fmla="*/ 982 w 982"/>
                <a:gd name="T3" fmla="*/ 327 h 1084"/>
                <a:gd name="T4" fmla="*/ 555 w 982"/>
                <a:gd name="T5" fmla="*/ 1084 h 1084"/>
                <a:gd name="T6" fmla="*/ 0 w 982"/>
                <a:gd name="T7" fmla="*/ 756 h 1084"/>
                <a:gd name="T8" fmla="*/ 427 w 982"/>
                <a:gd name="T9" fmla="*/ 0 h 1084"/>
              </a:gdLst>
              <a:ahLst/>
              <a:cxnLst>
                <a:cxn ang="0">
                  <a:pos x="T0" y="T1"/>
                </a:cxn>
                <a:cxn ang="0">
                  <a:pos x="T2" y="T3"/>
                </a:cxn>
                <a:cxn ang="0">
                  <a:pos x="T4" y="T5"/>
                </a:cxn>
                <a:cxn ang="0">
                  <a:pos x="T6" y="T7"/>
                </a:cxn>
                <a:cxn ang="0">
                  <a:pos x="T8" y="T9"/>
                </a:cxn>
              </a:cxnLst>
              <a:rect l="0" t="0" r="r" b="b"/>
              <a:pathLst>
                <a:path w="982" h="1084">
                  <a:moveTo>
                    <a:pt x="427" y="0"/>
                  </a:moveTo>
                  <a:lnTo>
                    <a:pt x="982" y="327"/>
                  </a:lnTo>
                  <a:lnTo>
                    <a:pt x="555" y="1084"/>
                  </a:lnTo>
                  <a:lnTo>
                    <a:pt x="0" y="756"/>
                  </a:lnTo>
                  <a:lnTo>
                    <a:pt x="4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54" name="Freeform 26"/>
            <p:cNvSpPr>
              <a:spLocks/>
            </p:cNvSpPr>
            <p:nvPr/>
          </p:nvSpPr>
          <p:spPr bwMode="auto">
            <a:xfrm>
              <a:off x="876300" y="5970588"/>
              <a:ext cx="236538" cy="195263"/>
            </a:xfrm>
            <a:custGeom>
              <a:avLst/>
              <a:gdLst>
                <a:gd name="T0" fmla="*/ 43 w 598"/>
                <a:gd name="T1" fmla="*/ 0 h 492"/>
                <a:gd name="T2" fmla="*/ 598 w 598"/>
                <a:gd name="T3" fmla="*/ 329 h 492"/>
                <a:gd name="T4" fmla="*/ 574 w 598"/>
                <a:gd name="T5" fmla="*/ 365 h 492"/>
                <a:gd name="T6" fmla="*/ 545 w 598"/>
                <a:gd name="T7" fmla="*/ 398 h 492"/>
                <a:gd name="T8" fmla="*/ 514 w 598"/>
                <a:gd name="T9" fmla="*/ 426 h 492"/>
                <a:gd name="T10" fmla="*/ 479 w 598"/>
                <a:gd name="T11" fmla="*/ 449 h 492"/>
                <a:gd name="T12" fmla="*/ 442 w 598"/>
                <a:gd name="T13" fmla="*/ 468 h 492"/>
                <a:gd name="T14" fmla="*/ 404 w 598"/>
                <a:gd name="T15" fmla="*/ 481 h 492"/>
                <a:gd name="T16" fmla="*/ 363 w 598"/>
                <a:gd name="T17" fmla="*/ 490 h 492"/>
                <a:gd name="T18" fmla="*/ 323 w 598"/>
                <a:gd name="T19" fmla="*/ 492 h 492"/>
                <a:gd name="T20" fmla="*/ 281 w 598"/>
                <a:gd name="T21" fmla="*/ 490 h 492"/>
                <a:gd name="T22" fmla="*/ 239 w 598"/>
                <a:gd name="T23" fmla="*/ 481 h 492"/>
                <a:gd name="T24" fmla="*/ 200 w 598"/>
                <a:gd name="T25" fmla="*/ 468 h 492"/>
                <a:gd name="T26" fmla="*/ 161 w 598"/>
                <a:gd name="T27" fmla="*/ 448 h 492"/>
                <a:gd name="T28" fmla="*/ 124 w 598"/>
                <a:gd name="T29" fmla="*/ 424 h 492"/>
                <a:gd name="T30" fmla="*/ 93 w 598"/>
                <a:gd name="T31" fmla="*/ 395 h 492"/>
                <a:gd name="T32" fmla="*/ 65 w 598"/>
                <a:gd name="T33" fmla="*/ 362 h 492"/>
                <a:gd name="T34" fmla="*/ 43 w 598"/>
                <a:gd name="T35" fmla="*/ 326 h 492"/>
                <a:gd name="T36" fmla="*/ 24 w 598"/>
                <a:gd name="T37" fmla="*/ 288 h 492"/>
                <a:gd name="T38" fmla="*/ 11 w 598"/>
                <a:gd name="T39" fmla="*/ 249 h 492"/>
                <a:gd name="T40" fmla="*/ 3 w 598"/>
                <a:gd name="T41" fmla="*/ 208 h 492"/>
                <a:gd name="T42" fmla="*/ 0 w 598"/>
                <a:gd name="T43" fmla="*/ 167 h 492"/>
                <a:gd name="T44" fmla="*/ 2 w 598"/>
                <a:gd name="T45" fmla="*/ 124 h 492"/>
                <a:gd name="T46" fmla="*/ 11 w 598"/>
                <a:gd name="T47" fmla="*/ 81 h 492"/>
                <a:gd name="T48" fmla="*/ 24 w 598"/>
                <a:gd name="T49" fmla="*/ 40 h 492"/>
                <a:gd name="T50" fmla="*/ 43 w 598"/>
                <a:gd name="T51" fmla="*/ 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98" h="492">
                  <a:moveTo>
                    <a:pt x="43" y="0"/>
                  </a:moveTo>
                  <a:lnTo>
                    <a:pt x="598" y="329"/>
                  </a:lnTo>
                  <a:lnTo>
                    <a:pt x="574" y="365"/>
                  </a:lnTo>
                  <a:lnTo>
                    <a:pt x="545" y="398"/>
                  </a:lnTo>
                  <a:lnTo>
                    <a:pt x="514" y="426"/>
                  </a:lnTo>
                  <a:lnTo>
                    <a:pt x="479" y="449"/>
                  </a:lnTo>
                  <a:lnTo>
                    <a:pt x="442" y="468"/>
                  </a:lnTo>
                  <a:lnTo>
                    <a:pt x="404" y="481"/>
                  </a:lnTo>
                  <a:lnTo>
                    <a:pt x="363" y="490"/>
                  </a:lnTo>
                  <a:lnTo>
                    <a:pt x="323" y="492"/>
                  </a:lnTo>
                  <a:lnTo>
                    <a:pt x="281" y="490"/>
                  </a:lnTo>
                  <a:lnTo>
                    <a:pt x="239" y="481"/>
                  </a:lnTo>
                  <a:lnTo>
                    <a:pt x="200" y="468"/>
                  </a:lnTo>
                  <a:lnTo>
                    <a:pt x="161" y="448"/>
                  </a:lnTo>
                  <a:lnTo>
                    <a:pt x="124" y="424"/>
                  </a:lnTo>
                  <a:lnTo>
                    <a:pt x="93" y="395"/>
                  </a:lnTo>
                  <a:lnTo>
                    <a:pt x="65" y="362"/>
                  </a:lnTo>
                  <a:lnTo>
                    <a:pt x="43" y="326"/>
                  </a:lnTo>
                  <a:lnTo>
                    <a:pt x="24" y="288"/>
                  </a:lnTo>
                  <a:lnTo>
                    <a:pt x="11" y="249"/>
                  </a:lnTo>
                  <a:lnTo>
                    <a:pt x="3" y="208"/>
                  </a:lnTo>
                  <a:lnTo>
                    <a:pt x="0" y="167"/>
                  </a:lnTo>
                  <a:lnTo>
                    <a:pt x="2" y="124"/>
                  </a:lnTo>
                  <a:lnTo>
                    <a:pt x="11" y="81"/>
                  </a:lnTo>
                  <a:lnTo>
                    <a:pt x="24" y="40"/>
                  </a:lnTo>
                  <a:lnTo>
                    <a:pt x="4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55" name="Rectangle 27"/>
            <p:cNvSpPr>
              <a:spLocks noChangeArrowheads="1"/>
            </p:cNvSpPr>
            <p:nvPr/>
          </p:nvSpPr>
          <p:spPr bwMode="auto">
            <a:xfrm>
              <a:off x="1176338" y="5208588"/>
              <a:ext cx="146050" cy="23336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56" name="Rectangle 28"/>
            <p:cNvSpPr>
              <a:spLocks noChangeArrowheads="1"/>
            </p:cNvSpPr>
            <p:nvPr/>
          </p:nvSpPr>
          <p:spPr bwMode="auto">
            <a:xfrm>
              <a:off x="1397000" y="5103813"/>
              <a:ext cx="146050" cy="3381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57" name="Rectangle 29"/>
            <p:cNvSpPr>
              <a:spLocks noChangeArrowheads="1"/>
            </p:cNvSpPr>
            <p:nvPr/>
          </p:nvSpPr>
          <p:spPr bwMode="auto">
            <a:xfrm>
              <a:off x="1617663" y="4975226"/>
              <a:ext cx="146050" cy="46672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grpSp>
        <p:nvGrpSpPr>
          <p:cNvPr id="158" name="Group 157"/>
          <p:cNvGrpSpPr/>
          <p:nvPr/>
        </p:nvGrpSpPr>
        <p:grpSpPr>
          <a:xfrm>
            <a:off x="3563580" y="4295496"/>
            <a:ext cx="270070" cy="211505"/>
            <a:chOff x="12790488" y="2682875"/>
            <a:chExt cx="1149350" cy="900113"/>
          </a:xfrm>
          <a:solidFill>
            <a:schemeClr val="accent4"/>
          </a:solidFill>
        </p:grpSpPr>
        <p:sp>
          <p:nvSpPr>
            <p:cNvPr id="159" name="Freeform 39"/>
            <p:cNvSpPr>
              <a:spLocks/>
            </p:cNvSpPr>
            <p:nvPr/>
          </p:nvSpPr>
          <p:spPr bwMode="auto">
            <a:xfrm>
              <a:off x="12987338" y="3479800"/>
              <a:ext cx="757238" cy="103188"/>
            </a:xfrm>
            <a:custGeom>
              <a:avLst/>
              <a:gdLst>
                <a:gd name="T0" fmla="*/ 164 w 2387"/>
                <a:gd name="T1" fmla="*/ 0 h 324"/>
                <a:gd name="T2" fmla="*/ 2221 w 2387"/>
                <a:gd name="T3" fmla="*/ 0 h 324"/>
                <a:gd name="T4" fmla="*/ 2255 w 2387"/>
                <a:gd name="T5" fmla="*/ 3 h 324"/>
                <a:gd name="T6" fmla="*/ 2286 w 2387"/>
                <a:gd name="T7" fmla="*/ 13 h 324"/>
                <a:gd name="T8" fmla="*/ 2313 w 2387"/>
                <a:gd name="T9" fmla="*/ 28 h 324"/>
                <a:gd name="T10" fmla="*/ 2338 w 2387"/>
                <a:gd name="T11" fmla="*/ 48 h 324"/>
                <a:gd name="T12" fmla="*/ 2358 w 2387"/>
                <a:gd name="T13" fmla="*/ 72 h 324"/>
                <a:gd name="T14" fmla="*/ 2373 w 2387"/>
                <a:gd name="T15" fmla="*/ 99 h 324"/>
                <a:gd name="T16" fmla="*/ 2383 w 2387"/>
                <a:gd name="T17" fmla="*/ 130 h 324"/>
                <a:gd name="T18" fmla="*/ 2387 w 2387"/>
                <a:gd name="T19" fmla="*/ 162 h 324"/>
                <a:gd name="T20" fmla="*/ 2383 w 2387"/>
                <a:gd name="T21" fmla="*/ 195 h 324"/>
                <a:gd name="T22" fmla="*/ 2373 w 2387"/>
                <a:gd name="T23" fmla="*/ 226 h 324"/>
                <a:gd name="T24" fmla="*/ 2358 w 2387"/>
                <a:gd name="T25" fmla="*/ 253 h 324"/>
                <a:gd name="T26" fmla="*/ 2338 w 2387"/>
                <a:gd name="T27" fmla="*/ 277 h 324"/>
                <a:gd name="T28" fmla="*/ 2313 w 2387"/>
                <a:gd name="T29" fmla="*/ 297 h 324"/>
                <a:gd name="T30" fmla="*/ 2286 w 2387"/>
                <a:gd name="T31" fmla="*/ 312 h 324"/>
                <a:gd name="T32" fmla="*/ 2255 w 2387"/>
                <a:gd name="T33" fmla="*/ 321 h 324"/>
                <a:gd name="T34" fmla="*/ 2221 w 2387"/>
                <a:gd name="T35" fmla="*/ 324 h 324"/>
                <a:gd name="T36" fmla="*/ 164 w 2387"/>
                <a:gd name="T37" fmla="*/ 324 h 324"/>
                <a:gd name="T38" fmla="*/ 131 w 2387"/>
                <a:gd name="T39" fmla="*/ 321 h 324"/>
                <a:gd name="T40" fmla="*/ 100 w 2387"/>
                <a:gd name="T41" fmla="*/ 312 h 324"/>
                <a:gd name="T42" fmla="*/ 72 w 2387"/>
                <a:gd name="T43" fmla="*/ 297 h 324"/>
                <a:gd name="T44" fmla="*/ 47 w 2387"/>
                <a:gd name="T45" fmla="*/ 277 h 324"/>
                <a:gd name="T46" fmla="*/ 27 w 2387"/>
                <a:gd name="T47" fmla="*/ 253 h 324"/>
                <a:gd name="T48" fmla="*/ 12 w 2387"/>
                <a:gd name="T49" fmla="*/ 226 h 324"/>
                <a:gd name="T50" fmla="*/ 3 w 2387"/>
                <a:gd name="T51" fmla="*/ 195 h 324"/>
                <a:gd name="T52" fmla="*/ 0 w 2387"/>
                <a:gd name="T53" fmla="*/ 162 h 324"/>
                <a:gd name="T54" fmla="*/ 3 w 2387"/>
                <a:gd name="T55" fmla="*/ 130 h 324"/>
                <a:gd name="T56" fmla="*/ 12 w 2387"/>
                <a:gd name="T57" fmla="*/ 99 h 324"/>
                <a:gd name="T58" fmla="*/ 27 w 2387"/>
                <a:gd name="T59" fmla="*/ 72 h 324"/>
                <a:gd name="T60" fmla="*/ 47 w 2387"/>
                <a:gd name="T61" fmla="*/ 48 h 324"/>
                <a:gd name="T62" fmla="*/ 72 w 2387"/>
                <a:gd name="T63" fmla="*/ 28 h 324"/>
                <a:gd name="T64" fmla="*/ 100 w 2387"/>
                <a:gd name="T65" fmla="*/ 13 h 324"/>
                <a:gd name="T66" fmla="*/ 131 w 2387"/>
                <a:gd name="T67" fmla="*/ 3 h 324"/>
                <a:gd name="T68" fmla="*/ 164 w 2387"/>
                <a:gd name="T69"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87" h="324">
                  <a:moveTo>
                    <a:pt x="164" y="0"/>
                  </a:moveTo>
                  <a:lnTo>
                    <a:pt x="2221" y="0"/>
                  </a:lnTo>
                  <a:lnTo>
                    <a:pt x="2255" y="3"/>
                  </a:lnTo>
                  <a:lnTo>
                    <a:pt x="2286" y="13"/>
                  </a:lnTo>
                  <a:lnTo>
                    <a:pt x="2313" y="28"/>
                  </a:lnTo>
                  <a:lnTo>
                    <a:pt x="2338" y="48"/>
                  </a:lnTo>
                  <a:lnTo>
                    <a:pt x="2358" y="72"/>
                  </a:lnTo>
                  <a:lnTo>
                    <a:pt x="2373" y="99"/>
                  </a:lnTo>
                  <a:lnTo>
                    <a:pt x="2383" y="130"/>
                  </a:lnTo>
                  <a:lnTo>
                    <a:pt x="2387" y="162"/>
                  </a:lnTo>
                  <a:lnTo>
                    <a:pt x="2383" y="195"/>
                  </a:lnTo>
                  <a:lnTo>
                    <a:pt x="2373" y="226"/>
                  </a:lnTo>
                  <a:lnTo>
                    <a:pt x="2358" y="253"/>
                  </a:lnTo>
                  <a:lnTo>
                    <a:pt x="2338" y="277"/>
                  </a:lnTo>
                  <a:lnTo>
                    <a:pt x="2313" y="297"/>
                  </a:lnTo>
                  <a:lnTo>
                    <a:pt x="2286" y="312"/>
                  </a:lnTo>
                  <a:lnTo>
                    <a:pt x="2255" y="321"/>
                  </a:lnTo>
                  <a:lnTo>
                    <a:pt x="2221" y="324"/>
                  </a:lnTo>
                  <a:lnTo>
                    <a:pt x="164" y="324"/>
                  </a:lnTo>
                  <a:lnTo>
                    <a:pt x="131" y="321"/>
                  </a:lnTo>
                  <a:lnTo>
                    <a:pt x="100" y="312"/>
                  </a:lnTo>
                  <a:lnTo>
                    <a:pt x="72" y="297"/>
                  </a:lnTo>
                  <a:lnTo>
                    <a:pt x="47" y="277"/>
                  </a:lnTo>
                  <a:lnTo>
                    <a:pt x="27" y="253"/>
                  </a:lnTo>
                  <a:lnTo>
                    <a:pt x="12" y="226"/>
                  </a:lnTo>
                  <a:lnTo>
                    <a:pt x="3" y="195"/>
                  </a:lnTo>
                  <a:lnTo>
                    <a:pt x="0" y="162"/>
                  </a:lnTo>
                  <a:lnTo>
                    <a:pt x="3" y="130"/>
                  </a:lnTo>
                  <a:lnTo>
                    <a:pt x="12" y="99"/>
                  </a:lnTo>
                  <a:lnTo>
                    <a:pt x="27" y="72"/>
                  </a:lnTo>
                  <a:lnTo>
                    <a:pt x="47" y="48"/>
                  </a:lnTo>
                  <a:lnTo>
                    <a:pt x="72" y="28"/>
                  </a:lnTo>
                  <a:lnTo>
                    <a:pt x="100" y="13"/>
                  </a:lnTo>
                  <a:lnTo>
                    <a:pt x="131" y="3"/>
                  </a:lnTo>
                  <a:lnTo>
                    <a:pt x="1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60" name="Freeform 40"/>
            <p:cNvSpPr>
              <a:spLocks/>
            </p:cNvSpPr>
            <p:nvPr/>
          </p:nvSpPr>
          <p:spPr bwMode="auto">
            <a:xfrm>
              <a:off x="12973051" y="3055938"/>
              <a:ext cx="79375" cy="204788"/>
            </a:xfrm>
            <a:custGeom>
              <a:avLst/>
              <a:gdLst>
                <a:gd name="T0" fmla="*/ 124 w 247"/>
                <a:gd name="T1" fmla="*/ 0 h 647"/>
                <a:gd name="T2" fmla="*/ 152 w 247"/>
                <a:gd name="T3" fmla="*/ 3 h 647"/>
                <a:gd name="T4" fmla="*/ 178 w 247"/>
                <a:gd name="T5" fmla="*/ 12 h 647"/>
                <a:gd name="T6" fmla="*/ 201 w 247"/>
                <a:gd name="T7" fmla="*/ 26 h 647"/>
                <a:gd name="T8" fmla="*/ 220 w 247"/>
                <a:gd name="T9" fmla="*/ 46 h 647"/>
                <a:gd name="T10" fmla="*/ 235 w 247"/>
                <a:gd name="T11" fmla="*/ 68 h 647"/>
                <a:gd name="T12" fmla="*/ 244 w 247"/>
                <a:gd name="T13" fmla="*/ 94 h 647"/>
                <a:gd name="T14" fmla="*/ 247 w 247"/>
                <a:gd name="T15" fmla="*/ 121 h 647"/>
                <a:gd name="T16" fmla="*/ 247 w 247"/>
                <a:gd name="T17" fmla="*/ 526 h 647"/>
                <a:gd name="T18" fmla="*/ 244 w 247"/>
                <a:gd name="T19" fmla="*/ 555 h 647"/>
                <a:gd name="T20" fmla="*/ 235 w 247"/>
                <a:gd name="T21" fmla="*/ 580 h 647"/>
                <a:gd name="T22" fmla="*/ 220 w 247"/>
                <a:gd name="T23" fmla="*/ 603 h 647"/>
                <a:gd name="T24" fmla="*/ 201 w 247"/>
                <a:gd name="T25" fmla="*/ 621 h 647"/>
                <a:gd name="T26" fmla="*/ 178 w 247"/>
                <a:gd name="T27" fmla="*/ 635 h 647"/>
                <a:gd name="T28" fmla="*/ 152 w 247"/>
                <a:gd name="T29" fmla="*/ 645 h 647"/>
                <a:gd name="T30" fmla="*/ 124 w 247"/>
                <a:gd name="T31" fmla="*/ 647 h 647"/>
                <a:gd name="T32" fmla="*/ 95 w 247"/>
                <a:gd name="T33" fmla="*/ 645 h 647"/>
                <a:gd name="T34" fmla="*/ 69 w 247"/>
                <a:gd name="T35" fmla="*/ 635 h 647"/>
                <a:gd name="T36" fmla="*/ 46 w 247"/>
                <a:gd name="T37" fmla="*/ 621 h 647"/>
                <a:gd name="T38" fmla="*/ 27 w 247"/>
                <a:gd name="T39" fmla="*/ 603 h 647"/>
                <a:gd name="T40" fmla="*/ 13 w 247"/>
                <a:gd name="T41" fmla="*/ 580 h 647"/>
                <a:gd name="T42" fmla="*/ 3 w 247"/>
                <a:gd name="T43" fmla="*/ 555 h 647"/>
                <a:gd name="T44" fmla="*/ 0 w 247"/>
                <a:gd name="T45" fmla="*/ 526 h 647"/>
                <a:gd name="T46" fmla="*/ 0 w 247"/>
                <a:gd name="T47" fmla="*/ 121 h 647"/>
                <a:gd name="T48" fmla="*/ 3 w 247"/>
                <a:gd name="T49" fmla="*/ 94 h 647"/>
                <a:gd name="T50" fmla="*/ 13 w 247"/>
                <a:gd name="T51" fmla="*/ 68 h 647"/>
                <a:gd name="T52" fmla="*/ 27 w 247"/>
                <a:gd name="T53" fmla="*/ 46 h 647"/>
                <a:gd name="T54" fmla="*/ 46 w 247"/>
                <a:gd name="T55" fmla="*/ 26 h 647"/>
                <a:gd name="T56" fmla="*/ 69 w 247"/>
                <a:gd name="T57" fmla="*/ 12 h 647"/>
                <a:gd name="T58" fmla="*/ 95 w 247"/>
                <a:gd name="T59" fmla="*/ 3 h 647"/>
                <a:gd name="T60" fmla="*/ 124 w 247"/>
                <a:gd name="T61" fmla="*/ 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7" h="647">
                  <a:moveTo>
                    <a:pt x="124" y="0"/>
                  </a:moveTo>
                  <a:lnTo>
                    <a:pt x="152" y="3"/>
                  </a:lnTo>
                  <a:lnTo>
                    <a:pt x="178" y="12"/>
                  </a:lnTo>
                  <a:lnTo>
                    <a:pt x="201" y="26"/>
                  </a:lnTo>
                  <a:lnTo>
                    <a:pt x="220" y="46"/>
                  </a:lnTo>
                  <a:lnTo>
                    <a:pt x="235" y="68"/>
                  </a:lnTo>
                  <a:lnTo>
                    <a:pt x="244" y="94"/>
                  </a:lnTo>
                  <a:lnTo>
                    <a:pt x="247" y="121"/>
                  </a:lnTo>
                  <a:lnTo>
                    <a:pt x="247" y="526"/>
                  </a:lnTo>
                  <a:lnTo>
                    <a:pt x="244" y="555"/>
                  </a:lnTo>
                  <a:lnTo>
                    <a:pt x="235" y="580"/>
                  </a:lnTo>
                  <a:lnTo>
                    <a:pt x="220" y="603"/>
                  </a:lnTo>
                  <a:lnTo>
                    <a:pt x="201" y="621"/>
                  </a:lnTo>
                  <a:lnTo>
                    <a:pt x="178" y="635"/>
                  </a:lnTo>
                  <a:lnTo>
                    <a:pt x="152" y="645"/>
                  </a:lnTo>
                  <a:lnTo>
                    <a:pt x="124" y="647"/>
                  </a:lnTo>
                  <a:lnTo>
                    <a:pt x="95" y="645"/>
                  </a:lnTo>
                  <a:lnTo>
                    <a:pt x="69" y="635"/>
                  </a:lnTo>
                  <a:lnTo>
                    <a:pt x="46" y="621"/>
                  </a:lnTo>
                  <a:lnTo>
                    <a:pt x="27" y="603"/>
                  </a:lnTo>
                  <a:lnTo>
                    <a:pt x="13" y="580"/>
                  </a:lnTo>
                  <a:lnTo>
                    <a:pt x="3" y="555"/>
                  </a:lnTo>
                  <a:lnTo>
                    <a:pt x="0" y="526"/>
                  </a:lnTo>
                  <a:lnTo>
                    <a:pt x="0" y="121"/>
                  </a:lnTo>
                  <a:lnTo>
                    <a:pt x="3" y="94"/>
                  </a:lnTo>
                  <a:lnTo>
                    <a:pt x="13" y="68"/>
                  </a:lnTo>
                  <a:lnTo>
                    <a:pt x="27" y="46"/>
                  </a:lnTo>
                  <a:lnTo>
                    <a:pt x="46" y="26"/>
                  </a:lnTo>
                  <a:lnTo>
                    <a:pt x="69" y="12"/>
                  </a:lnTo>
                  <a:lnTo>
                    <a:pt x="95" y="3"/>
                  </a:lnTo>
                  <a:lnTo>
                    <a:pt x="1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61" name="Freeform 41"/>
            <p:cNvSpPr>
              <a:spLocks/>
            </p:cNvSpPr>
            <p:nvPr/>
          </p:nvSpPr>
          <p:spPr bwMode="auto">
            <a:xfrm>
              <a:off x="13103226" y="3003550"/>
              <a:ext cx="79375" cy="257175"/>
            </a:xfrm>
            <a:custGeom>
              <a:avLst/>
              <a:gdLst>
                <a:gd name="T0" fmla="*/ 124 w 247"/>
                <a:gd name="T1" fmla="*/ 0 h 810"/>
                <a:gd name="T2" fmla="*/ 152 w 247"/>
                <a:gd name="T3" fmla="*/ 3 h 810"/>
                <a:gd name="T4" fmla="*/ 179 w 247"/>
                <a:gd name="T5" fmla="*/ 13 h 810"/>
                <a:gd name="T6" fmla="*/ 201 w 247"/>
                <a:gd name="T7" fmla="*/ 27 h 810"/>
                <a:gd name="T8" fmla="*/ 221 w 247"/>
                <a:gd name="T9" fmla="*/ 46 h 810"/>
                <a:gd name="T10" fmla="*/ 235 w 247"/>
                <a:gd name="T11" fmla="*/ 69 h 810"/>
                <a:gd name="T12" fmla="*/ 244 w 247"/>
                <a:gd name="T13" fmla="*/ 94 h 810"/>
                <a:gd name="T14" fmla="*/ 247 w 247"/>
                <a:gd name="T15" fmla="*/ 122 h 810"/>
                <a:gd name="T16" fmla="*/ 247 w 247"/>
                <a:gd name="T17" fmla="*/ 689 h 810"/>
                <a:gd name="T18" fmla="*/ 244 w 247"/>
                <a:gd name="T19" fmla="*/ 718 h 810"/>
                <a:gd name="T20" fmla="*/ 235 w 247"/>
                <a:gd name="T21" fmla="*/ 743 h 810"/>
                <a:gd name="T22" fmla="*/ 221 w 247"/>
                <a:gd name="T23" fmla="*/ 766 h 810"/>
                <a:gd name="T24" fmla="*/ 201 w 247"/>
                <a:gd name="T25" fmla="*/ 784 h 810"/>
                <a:gd name="T26" fmla="*/ 179 w 247"/>
                <a:gd name="T27" fmla="*/ 798 h 810"/>
                <a:gd name="T28" fmla="*/ 152 w 247"/>
                <a:gd name="T29" fmla="*/ 808 h 810"/>
                <a:gd name="T30" fmla="*/ 124 w 247"/>
                <a:gd name="T31" fmla="*/ 810 h 810"/>
                <a:gd name="T32" fmla="*/ 95 w 247"/>
                <a:gd name="T33" fmla="*/ 808 h 810"/>
                <a:gd name="T34" fmla="*/ 70 w 247"/>
                <a:gd name="T35" fmla="*/ 798 h 810"/>
                <a:gd name="T36" fmla="*/ 47 w 247"/>
                <a:gd name="T37" fmla="*/ 784 h 810"/>
                <a:gd name="T38" fmla="*/ 28 w 247"/>
                <a:gd name="T39" fmla="*/ 766 h 810"/>
                <a:gd name="T40" fmla="*/ 13 w 247"/>
                <a:gd name="T41" fmla="*/ 743 h 810"/>
                <a:gd name="T42" fmla="*/ 3 w 247"/>
                <a:gd name="T43" fmla="*/ 718 h 810"/>
                <a:gd name="T44" fmla="*/ 0 w 247"/>
                <a:gd name="T45" fmla="*/ 689 h 810"/>
                <a:gd name="T46" fmla="*/ 0 w 247"/>
                <a:gd name="T47" fmla="*/ 122 h 810"/>
                <a:gd name="T48" fmla="*/ 3 w 247"/>
                <a:gd name="T49" fmla="*/ 94 h 810"/>
                <a:gd name="T50" fmla="*/ 13 w 247"/>
                <a:gd name="T51" fmla="*/ 69 h 810"/>
                <a:gd name="T52" fmla="*/ 28 w 247"/>
                <a:gd name="T53" fmla="*/ 46 h 810"/>
                <a:gd name="T54" fmla="*/ 47 w 247"/>
                <a:gd name="T55" fmla="*/ 27 h 810"/>
                <a:gd name="T56" fmla="*/ 70 w 247"/>
                <a:gd name="T57" fmla="*/ 13 h 810"/>
                <a:gd name="T58" fmla="*/ 95 w 247"/>
                <a:gd name="T59" fmla="*/ 3 h 810"/>
                <a:gd name="T60" fmla="*/ 124 w 247"/>
                <a:gd name="T61" fmla="*/ 0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7" h="810">
                  <a:moveTo>
                    <a:pt x="124" y="0"/>
                  </a:moveTo>
                  <a:lnTo>
                    <a:pt x="152" y="3"/>
                  </a:lnTo>
                  <a:lnTo>
                    <a:pt x="179" y="13"/>
                  </a:lnTo>
                  <a:lnTo>
                    <a:pt x="201" y="27"/>
                  </a:lnTo>
                  <a:lnTo>
                    <a:pt x="221" y="46"/>
                  </a:lnTo>
                  <a:lnTo>
                    <a:pt x="235" y="69"/>
                  </a:lnTo>
                  <a:lnTo>
                    <a:pt x="244" y="94"/>
                  </a:lnTo>
                  <a:lnTo>
                    <a:pt x="247" y="122"/>
                  </a:lnTo>
                  <a:lnTo>
                    <a:pt x="247" y="689"/>
                  </a:lnTo>
                  <a:lnTo>
                    <a:pt x="244" y="718"/>
                  </a:lnTo>
                  <a:lnTo>
                    <a:pt x="235" y="743"/>
                  </a:lnTo>
                  <a:lnTo>
                    <a:pt x="221" y="766"/>
                  </a:lnTo>
                  <a:lnTo>
                    <a:pt x="201" y="784"/>
                  </a:lnTo>
                  <a:lnTo>
                    <a:pt x="179" y="798"/>
                  </a:lnTo>
                  <a:lnTo>
                    <a:pt x="152" y="808"/>
                  </a:lnTo>
                  <a:lnTo>
                    <a:pt x="124" y="810"/>
                  </a:lnTo>
                  <a:lnTo>
                    <a:pt x="95" y="808"/>
                  </a:lnTo>
                  <a:lnTo>
                    <a:pt x="70" y="798"/>
                  </a:lnTo>
                  <a:lnTo>
                    <a:pt x="47" y="784"/>
                  </a:lnTo>
                  <a:lnTo>
                    <a:pt x="28" y="766"/>
                  </a:lnTo>
                  <a:lnTo>
                    <a:pt x="13" y="743"/>
                  </a:lnTo>
                  <a:lnTo>
                    <a:pt x="3" y="718"/>
                  </a:lnTo>
                  <a:lnTo>
                    <a:pt x="0" y="689"/>
                  </a:lnTo>
                  <a:lnTo>
                    <a:pt x="0" y="122"/>
                  </a:lnTo>
                  <a:lnTo>
                    <a:pt x="3" y="94"/>
                  </a:lnTo>
                  <a:lnTo>
                    <a:pt x="13" y="69"/>
                  </a:lnTo>
                  <a:lnTo>
                    <a:pt x="28" y="46"/>
                  </a:lnTo>
                  <a:lnTo>
                    <a:pt x="47" y="27"/>
                  </a:lnTo>
                  <a:lnTo>
                    <a:pt x="70" y="13"/>
                  </a:lnTo>
                  <a:lnTo>
                    <a:pt x="95" y="3"/>
                  </a:lnTo>
                  <a:lnTo>
                    <a:pt x="1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62" name="Freeform 42"/>
            <p:cNvSpPr>
              <a:spLocks/>
            </p:cNvSpPr>
            <p:nvPr/>
          </p:nvSpPr>
          <p:spPr bwMode="auto">
            <a:xfrm>
              <a:off x="13234988" y="2952750"/>
              <a:ext cx="77788" cy="307975"/>
            </a:xfrm>
            <a:custGeom>
              <a:avLst/>
              <a:gdLst>
                <a:gd name="T0" fmla="*/ 123 w 246"/>
                <a:gd name="T1" fmla="*/ 0 h 971"/>
                <a:gd name="T2" fmla="*/ 151 w 246"/>
                <a:gd name="T3" fmla="*/ 3 h 971"/>
                <a:gd name="T4" fmla="*/ 177 w 246"/>
                <a:gd name="T5" fmla="*/ 12 h 971"/>
                <a:gd name="T6" fmla="*/ 199 w 246"/>
                <a:gd name="T7" fmla="*/ 26 h 971"/>
                <a:gd name="T8" fmla="*/ 219 w 246"/>
                <a:gd name="T9" fmla="*/ 45 h 971"/>
                <a:gd name="T10" fmla="*/ 234 w 246"/>
                <a:gd name="T11" fmla="*/ 67 h 971"/>
                <a:gd name="T12" fmla="*/ 243 w 246"/>
                <a:gd name="T13" fmla="*/ 93 h 971"/>
                <a:gd name="T14" fmla="*/ 246 w 246"/>
                <a:gd name="T15" fmla="*/ 121 h 971"/>
                <a:gd name="T16" fmla="*/ 246 w 246"/>
                <a:gd name="T17" fmla="*/ 850 h 971"/>
                <a:gd name="T18" fmla="*/ 243 w 246"/>
                <a:gd name="T19" fmla="*/ 879 h 971"/>
                <a:gd name="T20" fmla="*/ 234 w 246"/>
                <a:gd name="T21" fmla="*/ 904 h 971"/>
                <a:gd name="T22" fmla="*/ 219 w 246"/>
                <a:gd name="T23" fmla="*/ 927 h 971"/>
                <a:gd name="T24" fmla="*/ 199 w 246"/>
                <a:gd name="T25" fmla="*/ 945 h 971"/>
                <a:gd name="T26" fmla="*/ 177 w 246"/>
                <a:gd name="T27" fmla="*/ 959 h 971"/>
                <a:gd name="T28" fmla="*/ 151 w 246"/>
                <a:gd name="T29" fmla="*/ 969 h 971"/>
                <a:gd name="T30" fmla="*/ 123 w 246"/>
                <a:gd name="T31" fmla="*/ 971 h 971"/>
                <a:gd name="T32" fmla="*/ 94 w 246"/>
                <a:gd name="T33" fmla="*/ 969 h 971"/>
                <a:gd name="T34" fmla="*/ 68 w 246"/>
                <a:gd name="T35" fmla="*/ 959 h 971"/>
                <a:gd name="T36" fmla="*/ 45 w 246"/>
                <a:gd name="T37" fmla="*/ 945 h 971"/>
                <a:gd name="T38" fmla="*/ 26 w 246"/>
                <a:gd name="T39" fmla="*/ 927 h 971"/>
                <a:gd name="T40" fmla="*/ 12 w 246"/>
                <a:gd name="T41" fmla="*/ 904 h 971"/>
                <a:gd name="T42" fmla="*/ 3 w 246"/>
                <a:gd name="T43" fmla="*/ 879 h 971"/>
                <a:gd name="T44" fmla="*/ 0 w 246"/>
                <a:gd name="T45" fmla="*/ 850 h 971"/>
                <a:gd name="T46" fmla="*/ 0 w 246"/>
                <a:gd name="T47" fmla="*/ 121 h 971"/>
                <a:gd name="T48" fmla="*/ 3 w 246"/>
                <a:gd name="T49" fmla="*/ 93 h 971"/>
                <a:gd name="T50" fmla="*/ 12 w 246"/>
                <a:gd name="T51" fmla="*/ 67 h 971"/>
                <a:gd name="T52" fmla="*/ 26 w 246"/>
                <a:gd name="T53" fmla="*/ 45 h 971"/>
                <a:gd name="T54" fmla="*/ 45 w 246"/>
                <a:gd name="T55" fmla="*/ 26 h 971"/>
                <a:gd name="T56" fmla="*/ 68 w 246"/>
                <a:gd name="T57" fmla="*/ 12 h 971"/>
                <a:gd name="T58" fmla="*/ 94 w 246"/>
                <a:gd name="T59" fmla="*/ 3 h 971"/>
                <a:gd name="T60" fmla="*/ 123 w 246"/>
                <a:gd name="T61" fmla="*/ 0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6" h="971">
                  <a:moveTo>
                    <a:pt x="123" y="0"/>
                  </a:moveTo>
                  <a:lnTo>
                    <a:pt x="151" y="3"/>
                  </a:lnTo>
                  <a:lnTo>
                    <a:pt x="177" y="12"/>
                  </a:lnTo>
                  <a:lnTo>
                    <a:pt x="199" y="26"/>
                  </a:lnTo>
                  <a:lnTo>
                    <a:pt x="219" y="45"/>
                  </a:lnTo>
                  <a:lnTo>
                    <a:pt x="234" y="67"/>
                  </a:lnTo>
                  <a:lnTo>
                    <a:pt x="243" y="93"/>
                  </a:lnTo>
                  <a:lnTo>
                    <a:pt x="246" y="121"/>
                  </a:lnTo>
                  <a:lnTo>
                    <a:pt x="246" y="850"/>
                  </a:lnTo>
                  <a:lnTo>
                    <a:pt x="243" y="879"/>
                  </a:lnTo>
                  <a:lnTo>
                    <a:pt x="234" y="904"/>
                  </a:lnTo>
                  <a:lnTo>
                    <a:pt x="219" y="927"/>
                  </a:lnTo>
                  <a:lnTo>
                    <a:pt x="199" y="945"/>
                  </a:lnTo>
                  <a:lnTo>
                    <a:pt x="177" y="959"/>
                  </a:lnTo>
                  <a:lnTo>
                    <a:pt x="151" y="969"/>
                  </a:lnTo>
                  <a:lnTo>
                    <a:pt x="123" y="971"/>
                  </a:lnTo>
                  <a:lnTo>
                    <a:pt x="94" y="969"/>
                  </a:lnTo>
                  <a:lnTo>
                    <a:pt x="68" y="959"/>
                  </a:lnTo>
                  <a:lnTo>
                    <a:pt x="45" y="945"/>
                  </a:lnTo>
                  <a:lnTo>
                    <a:pt x="26" y="927"/>
                  </a:lnTo>
                  <a:lnTo>
                    <a:pt x="12" y="904"/>
                  </a:lnTo>
                  <a:lnTo>
                    <a:pt x="3" y="879"/>
                  </a:lnTo>
                  <a:lnTo>
                    <a:pt x="0" y="850"/>
                  </a:lnTo>
                  <a:lnTo>
                    <a:pt x="0" y="121"/>
                  </a:lnTo>
                  <a:lnTo>
                    <a:pt x="3" y="93"/>
                  </a:lnTo>
                  <a:lnTo>
                    <a:pt x="12" y="67"/>
                  </a:lnTo>
                  <a:lnTo>
                    <a:pt x="26" y="45"/>
                  </a:lnTo>
                  <a:lnTo>
                    <a:pt x="45" y="26"/>
                  </a:lnTo>
                  <a:lnTo>
                    <a:pt x="68" y="12"/>
                  </a:lnTo>
                  <a:lnTo>
                    <a:pt x="94" y="3"/>
                  </a:lnTo>
                  <a:lnTo>
                    <a:pt x="1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63" name="Freeform 43"/>
            <p:cNvSpPr>
              <a:spLocks/>
            </p:cNvSpPr>
            <p:nvPr/>
          </p:nvSpPr>
          <p:spPr bwMode="auto">
            <a:xfrm>
              <a:off x="12790488" y="2682875"/>
              <a:ext cx="1149350" cy="746125"/>
            </a:xfrm>
            <a:custGeom>
              <a:avLst/>
              <a:gdLst>
                <a:gd name="T0" fmla="*/ 3457 w 3621"/>
                <a:gd name="T1" fmla="*/ 0 h 2350"/>
                <a:gd name="T2" fmla="*/ 3521 w 3621"/>
                <a:gd name="T3" fmla="*/ 12 h 2350"/>
                <a:gd name="T4" fmla="*/ 3573 w 3621"/>
                <a:gd name="T5" fmla="*/ 47 h 2350"/>
                <a:gd name="T6" fmla="*/ 3609 w 3621"/>
                <a:gd name="T7" fmla="*/ 98 h 2350"/>
                <a:gd name="T8" fmla="*/ 3621 w 3621"/>
                <a:gd name="T9" fmla="*/ 161 h 2350"/>
                <a:gd name="T10" fmla="*/ 3400 w 3621"/>
                <a:gd name="T11" fmla="*/ 1781 h 2350"/>
                <a:gd name="T12" fmla="*/ 3463 w 3621"/>
                <a:gd name="T13" fmla="*/ 1647 h 2350"/>
                <a:gd name="T14" fmla="*/ 3501 w 3621"/>
                <a:gd name="T15" fmla="*/ 1504 h 2350"/>
                <a:gd name="T16" fmla="*/ 3515 w 3621"/>
                <a:gd name="T17" fmla="*/ 1356 h 2350"/>
                <a:gd name="T18" fmla="*/ 3503 w 3621"/>
                <a:gd name="T19" fmla="*/ 1215 h 2350"/>
                <a:gd name="T20" fmla="*/ 3469 w 3621"/>
                <a:gd name="T21" fmla="*/ 1080 h 2350"/>
                <a:gd name="T22" fmla="*/ 3414 w 3621"/>
                <a:gd name="T23" fmla="*/ 953 h 2350"/>
                <a:gd name="T24" fmla="*/ 3337 w 3621"/>
                <a:gd name="T25" fmla="*/ 835 h 2350"/>
                <a:gd name="T26" fmla="*/ 3292 w 3621"/>
                <a:gd name="T27" fmla="*/ 324 h 2350"/>
                <a:gd name="T28" fmla="*/ 329 w 3621"/>
                <a:gd name="T29" fmla="*/ 2026 h 2350"/>
                <a:gd name="T30" fmla="*/ 2123 w 3621"/>
                <a:gd name="T31" fmla="*/ 2067 h 2350"/>
                <a:gd name="T32" fmla="*/ 2238 w 3621"/>
                <a:gd name="T33" fmla="*/ 2135 h 2350"/>
                <a:gd name="T34" fmla="*/ 2362 w 3621"/>
                <a:gd name="T35" fmla="*/ 2185 h 2350"/>
                <a:gd name="T36" fmla="*/ 2494 w 3621"/>
                <a:gd name="T37" fmla="*/ 2216 h 2350"/>
                <a:gd name="T38" fmla="*/ 2631 w 3621"/>
                <a:gd name="T39" fmla="*/ 2225 h 2350"/>
                <a:gd name="T40" fmla="*/ 2782 w 3621"/>
                <a:gd name="T41" fmla="*/ 2212 h 2350"/>
                <a:gd name="T42" fmla="*/ 2927 w 3621"/>
                <a:gd name="T43" fmla="*/ 2175 h 2350"/>
                <a:gd name="T44" fmla="*/ 3063 w 3621"/>
                <a:gd name="T45" fmla="*/ 2113 h 2350"/>
                <a:gd name="T46" fmla="*/ 3296 w 3621"/>
                <a:gd name="T47" fmla="*/ 2342 h 2350"/>
                <a:gd name="T48" fmla="*/ 3306 w 3621"/>
                <a:gd name="T49" fmla="*/ 2350 h 2350"/>
                <a:gd name="T50" fmla="*/ 132 w 3621"/>
                <a:gd name="T51" fmla="*/ 2347 h 2350"/>
                <a:gd name="T52" fmla="*/ 73 w 3621"/>
                <a:gd name="T53" fmla="*/ 2323 h 2350"/>
                <a:gd name="T54" fmla="*/ 28 w 3621"/>
                <a:gd name="T55" fmla="*/ 2278 h 2350"/>
                <a:gd name="T56" fmla="*/ 3 w 3621"/>
                <a:gd name="T57" fmla="*/ 2220 h 2350"/>
                <a:gd name="T58" fmla="*/ 0 w 3621"/>
                <a:gd name="T59" fmla="*/ 161 h 2350"/>
                <a:gd name="T60" fmla="*/ 13 w 3621"/>
                <a:gd name="T61" fmla="*/ 99 h 2350"/>
                <a:gd name="T62" fmla="*/ 49 w 3621"/>
                <a:gd name="T63" fmla="*/ 47 h 2350"/>
                <a:gd name="T64" fmla="*/ 101 w 3621"/>
                <a:gd name="T65" fmla="*/ 12 h 2350"/>
                <a:gd name="T66" fmla="*/ 165 w 3621"/>
                <a:gd name="T67" fmla="*/ 0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21" h="2350">
                  <a:moveTo>
                    <a:pt x="165" y="0"/>
                  </a:moveTo>
                  <a:lnTo>
                    <a:pt x="3457" y="0"/>
                  </a:lnTo>
                  <a:lnTo>
                    <a:pt x="3490" y="3"/>
                  </a:lnTo>
                  <a:lnTo>
                    <a:pt x="3521" y="12"/>
                  </a:lnTo>
                  <a:lnTo>
                    <a:pt x="3549" y="27"/>
                  </a:lnTo>
                  <a:lnTo>
                    <a:pt x="3573" y="47"/>
                  </a:lnTo>
                  <a:lnTo>
                    <a:pt x="3593" y="71"/>
                  </a:lnTo>
                  <a:lnTo>
                    <a:pt x="3609" y="98"/>
                  </a:lnTo>
                  <a:lnTo>
                    <a:pt x="3618" y="129"/>
                  </a:lnTo>
                  <a:lnTo>
                    <a:pt x="3621" y="161"/>
                  </a:lnTo>
                  <a:lnTo>
                    <a:pt x="3621" y="1999"/>
                  </a:lnTo>
                  <a:lnTo>
                    <a:pt x="3400" y="1781"/>
                  </a:lnTo>
                  <a:lnTo>
                    <a:pt x="3435" y="1715"/>
                  </a:lnTo>
                  <a:lnTo>
                    <a:pt x="3463" y="1647"/>
                  </a:lnTo>
                  <a:lnTo>
                    <a:pt x="3485" y="1577"/>
                  </a:lnTo>
                  <a:lnTo>
                    <a:pt x="3501" y="1504"/>
                  </a:lnTo>
                  <a:lnTo>
                    <a:pt x="3511" y="1430"/>
                  </a:lnTo>
                  <a:lnTo>
                    <a:pt x="3515" y="1356"/>
                  </a:lnTo>
                  <a:lnTo>
                    <a:pt x="3511" y="1285"/>
                  </a:lnTo>
                  <a:lnTo>
                    <a:pt x="3503" y="1215"/>
                  </a:lnTo>
                  <a:lnTo>
                    <a:pt x="3488" y="1146"/>
                  </a:lnTo>
                  <a:lnTo>
                    <a:pt x="3469" y="1080"/>
                  </a:lnTo>
                  <a:lnTo>
                    <a:pt x="3444" y="1015"/>
                  </a:lnTo>
                  <a:lnTo>
                    <a:pt x="3414" y="953"/>
                  </a:lnTo>
                  <a:lnTo>
                    <a:pt x="3378" y="892"/>
                  </a:lnTo>
                  <a:lnTo>
                    <a:pt x="3337" y="835"/>
                  </a:lnTo>
                  <a:lnTo>
                    <a:pt x="3292" y="781"/>
                  </a:lnTo>
                  <a:lnTo>
                    <a:pt x="3292" y="324"/>
                  </a:lnTo>
                  <a:lnTo>
                    <a:pt x="329" y="324"/>
                  </a:lnTo>
                  <a:lnTo>
                    <a:pt x="329" y="2026"/>
                  </a:lnTo>
                  <a:lnTo>
                    <a:pt x="2068" y="2026"/>
                  </a:lnTo>
                  <a:lnTo>
                    <a:pt x="2123" y="2067"/>
                  </a:lnTo>
                  <a:lnTo>
                    <a:pt x="2179" y="2103"/>
                  </a:lnTo>
                  <a:lnTo>
                    <a:pt x="2238" y="2135"/>
                  </a:lnTo>
                  <a:lnTo>
                    <a:pt x="2299" y="2162"/>
                  </a:lnTo>
                  <a:lnTo>
                    <a:pt x="2362" y="2185"/>
                  </a:lnTo>
                  <a:lnTo>
                    <a:pt x="2428" y="2203"/>
                  </a:lnTo>
                  <a:lnTo>
                    <a:pt x="2494" y="2216"/>
                  </a:lnTo>
                  <a:lnTo>
                    <a:pt x="2562" y="2223"/>
                  </a:lnTo>
                  <a:lnTo>
                    <a:pt x="2631" y="2225"/>
                  </a:lnTo>
                  <a:lnTo>
                    <a:pt x="2707" y="2222"/>
                  </a:lnTo>
                  <a:lnTo>
                    <a:pt x="2782" y="2212"/>
                  </a:lnTo>
                  <a:lnTo>
                    <a:pt x="2855" y="2197"/>
                  </a:lnTo>
                  <a:lnTo>
                    <a:pt x="2927" y="2175"/>
                  </a:lnTo>
                  <a:lnTo>
                    <a:pt x="2997" y="2147"/>
                  </a:lnTo>
                  <a:lnTo>
                    <a:pt x="3063" y="2113"/>
                  </a:lnTo>
                  <a:lnTo>
                    <a:pt x="3292" y="2338"/>
                  </a:lnTo>
                  <a:lnTo>
                    <a:pt x="3296" y="2342"/>
                  </a:lnTo>
                  <a:lnTo>
                    <a:pt x="3302" y="2346"/>
                  </a:lnTo>
                  <a:lnTo>
                    <a:pt x="3306" y="2350"/>
                  </a:lnTo>
                  <a:lnTo>
                    <a:pt x="165" y="2350"/>
                  </a:lnTo>
                  <a:lnTo>
                    <a:pt x="132" y="2347"/>
                  </a:lnTo>
                  <a:lnTo>
                    <a:pt x="101" y="2337"/>
                  </a:lnTo>
                  <a:lnTo>
                    <a:pt x="73" y="2323"/>
                  </a:lnTo>
                  <a:lnTo>
                    <a:pt x="49" y="2302"/>
                  </a:lnTo>
                  <a:lnTo>
                    <a:pt x="28" y="2278"/>
                  </a:lnTo>
                  <a:lnTo>
                    <a:pt x="13" y="2251"/>
                  </a:lnTo>
                  <a:lnTo>
                    <a:pt x="3" y="2220"/>
                  </a:lnTo>
                  <a:lnTo>
                    <a:pt x="0" y="2188"/>
                  </a:lnTo>
                  <a:lnTo>
                    <a:pt x="0" y="161"/>
                  </a:lnTo>
                  <a:lnTo>
                    <a:pt x="3" y="129"/>
                  </a:lnTo>
                  <a:lnTo>
                    <a:pt x="13" y="99"/>
                  </a:lnTo>
                  <a:lnTo>
                    <a:pt x="28" y="71"/>
                  </a:lnTo>
                  <a:lnTo>
                    <a:pt x="49" y="47"/>
                  </a:lnTo>
                  <a:lnTo>
                    <a:pt x="73" y="27"/>
                  </a:lnTo>
                  <a:lnTo>
                    <a:pt x="101" y="12"/>
                  </a:lnTo>
                  <a:lnTo>
                    <a:pt x="132" y="3"/>
                  </a:lnTo>
                  <a:lnTo>
                    <a:pt x="1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64" name="Freeform 44"/>
            <p:cNvSpPr>
              <a:spLocks noEditPoints="1"/>
            </p:cNvSpPr>
            <p:nvPr/>
          </p:nvSpPr>
          <p:spPr bwMode="auto">
            <a:xfrm>
              <a:off x="13396913" y="2887663"/>
              <a:ext cx="515938" cy="508000"/>
            </a:xfrm>
            <a:custGeom>
              <a:avLst/>
              <a:gdLst>
                <a:gd name="T0" fmla="*/ 607 w 1622"/>
                <a:gd name="T1" fmla="*/ 157 h 1596"/>
                <a:gd name="T2" fmla="*/ 450 w 1622"/>
                <a:gd name="T3" fmla="*/ 211 h 1596"/>
                <a:gd name="T4" fmla="*/ 315 w 1622"/>
                <a:gd name="T5" fmla="*/ 311 h 1596"/>
                <a:gd name="T6" fmla="*/ 215 w 1622"/>
                <a:gd name="T7" fmla="*/ 443 h 1596"/>
                <a:gd name="T8" fmla="*/ 159 w 1622"/>
                <a:gd name="T9" fmla="*/ 598 h 1596"/>
                <a:gd name="T10" fmla="*/ 151 w 1622"/>
                <a:gd name="T11" fmla="*/ 764 h 1596"/>
                <a:gd name="T12" fmla="*/ 191 w 1622"/>
                <a:gd name="T13" fmla="*/ 923 h 1596"/>
                <a:gd name="T14" fmla="*/ 277 w 1622"/>
                <a:gd name="T15" fmla="*/ 1064 h 1596"/>
                <a:gd name="T16" fmla="*/ 403 w 1622"/>
                <a:gd name="T17" fmla="*/ 1176 h 1596"/>
                <a:gd name="T18" fmla="*/ 552 w 1622"/>
                <a:gd name="T19" fmla="*/ 1247 h 1596"/>
                <a:gd name="T20" fmla="*/ 719 w 1622"/>
                <a:gd name="T21" fmla="*/ 1271 h 1596"/>
                <a:gd name="T22" fmla="*/ 885 w 1622"/>
                <a:gd name="T23" fmla="*/ 1247 h 1596"/>
                <a:gd name="T24" fmla="*/ 1036 w 1622"/>
                <a:gd name="T25" fmla="*/ 1176 h 1596"/>
                <a:gd name="T26" fmla="*/ 1161 w 1622"/>
                <a:gd name="T27" fmla="*/ 1064 h 1596"/>
                <a:gd name="T28" fmla="*/ 1247 w 1622"/>
                <a:gd name="T29" fmla="*/ 923 h 1596"/>
                <a:gd name="T30" fmla="*/ 1288 w 1622"/>
                <a:gd name="T31" fmla="*/ 764 h 1596"/>
                <a:gd name="T32" fmla="*/ 1279 w 1622"/>
                <a:gd name="T33" fmla="*/ 598 h 1596"/>
                <a:gd name="T34" fmla="*/ 1223 w 1622"/>
                <a:gd name="T35" fmla="*/ 443 h 1596"/>
                <a:gd name="T36" fmla="*/ 1124 w 1622"/>
                <a:gd name="T37" fmla="*/ 311 h 1596"/>
                <a:gd name="T38" fmla="*/ 988 w 1622"/>
                <a:gd name="T39" fmla="*/ 211 h 1596"/>
                <a:gd name="T40" fmla="*/ 832 w 1622"/>
                <a:gd name="T41" fmla="*/ 157 h 1596"/>
                <a:gd name="T42" fmla="*/ 719 w 1622"/>
                <a:gd name="T43" fmla="*/ 0 h 1596"/>
                <a:gd name="T44" fmla="*/ 906 w 1622"/>
                <a:gd name="T45" fmla="*/ 24 h 1596"/>
                <a:gd name="T46" fmla="*/ 1078 w 1622"/>
                <a:gd name="T47" fmla="*/ 94 h 1596"/>
                <a:gd name="T48" fmla="*/ 1228 w 1622"/>
                <a:gd name="T49" fmla="*/ 208 h 1596"/>
                <a:gd name="T50" fmla="*/ 1342 w 1622"/>
                <a:gd name="T51" fmla="*/ 354 h 1596"/>
                <a:gd name="T52" fmla="*/ 1413 w 1622"/>
                <a:gd name="T53" fmla="*/ 524 h 1596"/>
                <a:gd name="T54" fmla="*/ 1437 w 1622"/>
                <a:gd name="T55" fmla="*/ 708 h 1596"/>
                <a:gd name="T56" fmla="*/ 1411 w 1622"/>
                <a:gd name="T57" fmla="*/ 898 h 1596"/>
                <a:gd name="T58" fmla="*/ 1335 w 1622"/>
                <a:gd name="T59" fmla="*/ 1072 h 1596"/>
                <a:gd name="T60" fmla="*/ 1292 w 1622"/>
                <a:gd name="T61" fmla="*/ 1208 h 1596"/>
                <a:gd name="T62" fmla="*/ 1340 w 1622"/>
                <a:gd name="T63" fmla="*/ 1219 h 1596"/>
                <a:gd name="T64" fmla="*/ 1613 w 1622"/>
                <a:gd name="T65" fmla="*/ 1489 h 1596"/>
                <a:gd name="T66" fmla="*/ 1619 w 1622"/>
                <a:gd name="T67" fmla="*/ 1543 h 1596"/>
                <a:gd name="T68" fmla="*/ 1585 w 1622"/>
                <a:gd name="T69" fmla="*/ 1587 h 1596"/>
                <a:gd name="T70" fmla="*/ 1530 w 1622"/>
                <a:gd name="T71" fmla="*/ 1594 h 1596"/>
                <a:gd name="T72" fmla="*/ 1249 w 1622"/>
                <a:gd name="T73" fmla="*/ 1332 h 1596"/>
                <a:gd name="T74" fmla="*/ 1228 w 1622"/>
                <a:gd name="T75" fmla="*/ 1289 h 1596"/>
                <a:gd name="T76" fmla="*/ 1142 w 1622"/>
                <a:gd name="T77" fmla="*/ 1279 h 1596"/>
                <a:gd name="T78" fmla="*/ 973 w 1622"/>
                <a:gd name="T79" fmla="*/ 1370 h 1596"/>
                <a:gd name="T80" fmla="*/ 784 w 1622"/>
                <a:gd name="T81" fmla="*/ 1413 h 1596"/>
                <a:gd name="T82" fmla="*/ 593 w 1622"/>
                <a:gd name="T83" fmla="*/ 1405 h 1596"/>
                <a:gd name="T84" fmla="*/ 416 w 1622"/>
                <a:gd name="T85" fmla="*/ 1349 h 1596"/>
                <a:gd name="T86" fmla="*/ 258 w 1622"/>
                <a:gd name="T87" fmla="*/ 1251 h 1596"/>
                <a:gd name="T88" fmla="*/ 130 w 1622"/>
                <a:gd name="T89" fmla="*/ 1113 h 1596"/>
                <a:gd name="T90" fmla="*/ 43 w 1622"/>
                <a:gd name="T91" fmla="*/ 951 h 1596"/>
                <a:gd name="T92" fmla="*/ 3 w 1622"/>
                <a:gd name="T93" fmla="*/ 770 h 1596"/>
                <a:gd name="T94" fmla="*/ 11 w 1622"/>
                <a:gd name="T95" fmla="*/ 584 h 1596"/>
                <a:gd name="T96" fmla="*/ 68 w 1622"/>
                <a:gd name="T97" fmla="*/ 409 h 1596"/>
                <a:gd name="T98" fmla="*/ 168 w 1622"/>
                <a:gd name="T99" fmla="*/ 254 h 1596"/>
                <a:gd name="T100" fmla="*/ 307 w 1622"/>
                <a:gd name="T101" fmla="*/ 127 h 1596"/>
                <a:gd name="T102" fmla="*/ 473 w 1622"/>
                <a:gd name="T103" fmla="*/ 43 h 1596"/>
                <a:gd name="T104" fmla="*/ 656 w 1622"/>
                <a:gd name="T105" fmla="*/ 3 h 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22" h="1596">
                  <a:moveTo>
                    <a:pt x="719" y="146"/>
                  </a:moveTo>
                  <a:lnTo>
                    <a:pt x="662" y="148"/>
                  </a:lnTo>
                  <a:lnTo>
                    <a:pt x="607" y="157"/>
                  </a:lnTo>
                  <a:lnTo>
                    <a:pt x="552" y="170"/>
                  </a:lnTo>
                  <a:lnTo>
                    <a:pt x="500" y="188"/>
                  </a:lnTo>
                  <a:lnTo>
                    <a:pt x="450" y="211"/>
                  </a:lnTo>
                  <a:lnTo>
                    <a:pt x="403" y="240"/>
                  </a:lnTo>
                  <a:lnTo>
                    <a:pt x="357" y="272"/>
                  </a:lnTo>
                  <a:lnTo>
                    <a:pt x="315" y="311"/>
                  </a:lnTo>
                  <a:lnTo>
                    <a:pt x="277" y="352"/>
                  </a:lnTo>
                  <a:lnTo>
                    <a:pt x="244" y="396"/>
                  </a:lnTo>
                  <a:lnTo>
                    <a:pt x="215" y="443"/>
                  </a:lnTo>
                  <a:lnTo>
                    <a:pt x="191" y="493"/>
                  </a:lnTo>
                  <a:lnTo>
                    <a:pt x="172" y="544"/>
                  </a:lnTo>
                  <a:lnTo>
                    <a:pt x="159" y="598"/>
                  </a:lnTo>
                  <a:lnTo>
                    <a:pt x="151" y="652"/>
                  </a:lnTo>
                  <a:lnTo>
                    <a:pt x="148" y="708"/>
                  </a:lnTo>
                  <a:lnTo>
                    <a:pt x="151" y="764"/>
                  </a:lnTo>
                  <a:lnTo>
                    <a:pt x="159" y="818"/>
                  </a:lnTo>
                  <a:lnTo>
                    <a:pt x="172" y="872"/>
                  </a:lnTo>
                  <a:lnTo>
                    <a:pt x="191" y="923"/>
                  </a:lnTo>
                  <a:lnTo>
                    <a:pt x="215" y="972"/>
                  </a:lnTo>
                  <a:lnTo>
                    <a:pt x="244" y="1019"/>
                  </a:lnTo>
                  <a:lnTo>
                    <a:pt x="277" y="1064"/>
                  </a:lnTo>
                  <a:lnTo>
                    <a:pt x="315" y="1106"/>
                  </a:lnTo>
                  <a:lnTo>
                    <a:pt x="357" y="1143"/>
                  </a:lnTo>
                  <a:lnTo>
                    <a:pt x="403" y="1176"/>
                  </a:lnTo>
                  <a:lnTo>
                    <a:pt x="450" y="1204"/>
                  </a:lnTo>
                  <a:lnTo>
                    <a:pt x="500" y="1228"/>
                  </a:lnTo>
                  <a:lnTo>
                    <a:pt x="552" y="1247"/>
                  </a:lnTo>
                  <a:lnTo>
                    <a:pt x="607" y="1260"/>
                  </a:lnTo>
                  <a:lnTo>
                    <a:pt x="662" y="1267"/>
                  </a:lnTo>
                  <a:lnTo>
                    <a:pt x="719" y="1271"/>
                  </a:lnTo>
                  <a:lnTo>
                    <a:pt x="775" y="1267"/>
                  </a:lnTo>
                  <a:lnTo>
                    <a:pt x="832" y="1260"/>
                  </a:lnTo>
                  <a:lnTo>
                    <a:pt x="885" y="1247"/>
                  </a:lnTo>
                  <a:lnTo>
                    <a:pt x="938" y="1228"/>
                  </a:lnTo>
                  <a:lnTo>
                    <a:pt x="988" y="1204"/>
                  </a:lnTo>
                  <a:lnTo>
                    <a:pt x="1036" y="1176"/>
                  </a:lnTo>
                  <a:lnTo>
                    <a:pt x="1081" y="1143"/>
                  </a:lnTo>
                  <a:lnTo>
                    <a:pt x="1124" y="1106"/>
                  </a:lnTo>
                  <a:lnTo>
                    <a:pt x="1161" y="1064"/>
                  </a:lnTo>
                  <a:lnTo>
                    <a:pt x="1195" y="1019"/>
                  </a:lnTo>
                  <a:lnTo>
                    <a:pt x="1223" y="972"/>
                  </a:lnTo>
                  <a:lnTo>
                    <a:pt x="1247" y="923"/>
                  </a:lnTo>
                  <a:lnTo>
                    <a:pt x="1266" y="872"/>
                  </a:lnTo>
                  <a:lnTo>
                    <a:pt x="1279" y="818"/>
                  </a:lnTo>
                  <a:lnTo>
                    <a:pt x="1288" y="764"/>
                  </a:lnTo>
                  <a:lnTo>
                    <a:pt x="1290" y="708"/>
                  </a:lnTo>
                  <a:lnTo>
                    <a:pt x="1288" y="652"/>
                  </a:lnTo>
                  <a:lnTo>
                    <a:pt x="1279" y="598"/>
                  </a:lnTo>
                  <a:lnTo>
                    <a:pt x="1266" y="544"/>
                  </a:lnTo>
                  <a:lnTo>
                    <a:pt x="1247" y="493"/>
                  </a:lnTo>
                  <a:lnTo>
                    <a:pt x="1223" y="443"/>
                  </a:lnTo>
                  <a:lnTo>
                    <a:pt x="1195" y="396"/>
                  </a:lnTo>
                  <a:lnTo>
                    <a:pt x="1161" y="352"/>
                  </a:lnTo>
                  <a:lnTo>
                    <a:pt x="1124" y="311"/>
                  </a:lnTo>
                  <a:lnTo>
                    <a:pt x="1081" y="272"/>
                  </a:lnTo>
                  <a:lnTo>
                    <a:pt x="1036" y="240"/>
                  </a:lnTo>
                  <a:lnTo>
                    <a:pt x="988" y="211"/>
                  </a:lnTo>
                  <a:lnTo>
                    <a:pt x="938" y="188"/>
                  </a:lnTo>
                  <a:lnTo>
                    <a:pt x="885" y="170"/>
                  </a:lnTo>
                  <a:lnTo>
                    <a:pt x="832" y="157"/>
                  </a:lnTo>
                  <a:lnTo>
                    <a:pt x="775" y="148"/>
                  </a:lnTo>
                  <a:lnTo>
                    <a:pt x="719" y="146"/>
                  </a:lnTo>
                  <a:close/>
                  <a:moveTo>
                    <a:pt x="719" y="0"/>
                  </a:moveTo>
                  <a:lnTo>
                    <a:pt x="783" y="3"/>
                  </a:lnTo>
                  <a:lnTo>
                    <a:pt x="845" y="11"/>
                  </a:lnTo>
                  <a:lnTo>
                    <a:pt x="906" y="24"/>
                  </a:lnTo>
                  <a:lnTo>
                    <a:pt x="965" y="43"/>
                  </a:lnTo>
                  <a:lnTo>
                    <a:pt x="1023" y="66"/>
                  </a:lnTo>
                  <a:lnTo>
                    <a:pt x="1078" y="94"/>
                  </a:lnTo>
                  <a:lnTo>
                    <a:pt x="1130" y="127"/>
                  </a:lnTo>
                  <a:lnTo>
                    <a:pt x="1180" y="165"/>
                  </a:lnTo>
                  <a:lnTo>
                    <a:pt x="1228" y="208"/>
                  </a:lnTo>
                  <a:lnTo>
                    <a:pt x="1270" y="254"/>
                  </a:lnTo>
                  <a:lnTo>
                    <a:pt x="1309" y="303"/>
                  </a:lnTo>
                  <a:lnTo>
                    <a:pt x="1342" y="354"/>
                  </a:lnTo>
                  <a:lnTo>
                    <a:pt x="1371" y="409"/>
                  </a:lnTo>
                  <a:lnTo>
                    <a:pt x="1394" y="466"/>
                  </a:lnTo>
                  <a:lnTo>
                    <a:pt x="1413" y="524"/>
                  </a:lnTo>
                  <a:lnTo>
                    <a:pt x="1426" y="584"/>
                  </a:lnTo>
                  <a:lnTo>
                    <a:pt x="1435" y="645"/>
                  </a:lnTo>
                  <a:lnTo>
                    <a:pt x="1437" y="708"/>
                  </a:lnTo>
                  <a:lnTo>
                    <a:pt x="1434" y="773"/>
                  </a:lnTo>
                  <a:lnTo>
                    <a:pt x="1426" y="836"/>
                  </a:lnTo>
                  <a:lnTo>
                    <a:pt x="1411" y="898"/>
                  </a:lnTo>
                  <a:lnTo>
                    <a:pt x="1391" y="958"/>
                  </a:lnTo>
                  <a:lnTo>
                    <a:pt x="1365" y="1016"/>
                  </a:lnTo>
                  <a:lnTo>
                    <a:pt x="1335" y="1072"/>
                  </a:lnTo>
                  <a:lnTo>
                    <a:pt x="1299" y="1124"/>
                  </a:lnTo>
                  <a:lnTo>
                    <a:pt x="1258" y="1174"/>
                  </a:lnTo>
                  <a:lnTo>
                    <a:pt x="1292" y="1208"/>
                  </a:lnTo>
                  <a:lnTo>
                    <a:pt x="1309" y="1208"/>
                  </a:lnTo>
                  <a:lnTo>
                    <a:pt x="1324" y="1212"/>
                  </a:lnTo>
                  <a:lnTo>
                    <a:pt x="1340" y="1219"/>
                  </a:lnTo>
                  <a:lnTo>
                    <a:pt x="1353" y="1229"/>
                  </a:lnTo>
                  <a:lnTo>
                    <a:pt x="1600" y="1474"/>
                  </a:lnTo>
                  <a:lnTo>
                    <a:pt x="1613" y="1489"/>
                  </a:lnTo>
                  <a:lnTo>
                    <a:pt x="1619" y="1506"/>
                  </a:lnTo>
                  <a:lnTo>
                    <a:pt x="1622" y="1524"/>
                  </a:lnTo>
                  <a:lnTo>
                    <a:pt x="1619" y="1543"/>
                  </a:lnTo>
                  <a:lnTo>
                    <a:pt x="1613" y="1560"/>
                  </a:lnTo>
                  <a:lnTo>
                    <a:pt x="1600" y="1575"/>
                  </a:lnTo>
                  <a:lnTo>
                    <a:pt x="1585" y="1587"/>
                  </a:lnTo>
                  <a:lnTo>
                    <a:pt x="1567" y="1594"/>
                  </a:lnTo>
                  <a:lnTo>
                    <a:pt x="1548" y="1596"/>
                  </a:lnTo>
                  <a:lnTo>
                    <a:pt x="1530" y="1594"/>
                  </a:lnTo>
                  <a:lnTo>
                    <a:pt x="1512" y="1587"/>
                  </a:lnTo>
                  <a:lnTo>
                    <a:pt x="1496" y="1575"/>
                  </a:lnTo>
                  <a:lnTo>
                    <a:pt x="1249" y="1332"/>
                  </a:lnTo>
                  <a:lnTo>
                    <a:pt x="1238" y="1319"/>
                  </a:lnTo>
                  <a:lnTo>
                    <a:pt x="1231" y="1304"/>
                  </a:lnTo>
                  <a:lnTo>
                    <a:pt x="1228" y="1289"/>
                  </a:lnTo>
                  <a:lnTo>
                    <a:pt x="1228" y="1273"/>
                  </a:lnTo>
                  <a:lnTo>
                    <a:pt x="1193" y="1239"/>
                  </a:lnTo>
                  <a:lnTo>
                    <a:pt x="1142" y="1279"/>
                  </a:lnTo>
                  <a:lnTo>
                    <a:pt x="1088" y="1314"/>
                  </a:lnTo>
                  <a:lnTo>
                    <a:pt x="1032" y="1345"/>
                  </a:lnTo>
                  <a:lnTo>
                    <a:pt x="973" y="1370"/>
                  </a:lnTo>
                  <a:lnTo>
                    <a:pt x="912" y="1390"/>
                  </a:lnTo>
                  <a:lnTo>
                    <a:pt x="850" y="1404"/>
                  </a:lnTo>
                  <a:lnTo>
                    <a:pt x="784" y="1413"/>
                  </a:lnTo>
                  <a:lnTo>
                    <a:pt x="719" y="1416"/>
                  </a:lnTo>
                  <a:lnTo>
                    <a:pt x="656" y="1413"/>
                  </a:lnTo>
                  <a:lnTo>
                    <a:pt x="593" y="1405"/>
                  </a:lnTo>
                  <a:lnTo>
                    <a:pt x="532" y="1392"/>
                  </a:lnTo>
                  <a:lnTo>
                    <a:pt x="473" y="1373"/>
                  </a:lnTo>
                  <a:lnTo>
                    <a:pt x="416" y="1349"/>
                  </a:lnTo>
                  <a:lnTo>
                    <a:pt x="361" y="1322"/>
                  </a:lnTo>
                  <a:lnTo>
                    <a:pt x="307" y="1288"/>
                  </a:lnTo>
                  <a:lnTo>
                    <a:pt x="258" y="1251"/>
                  </a:lnTo>
                  <a:lnTo>
                    <a:pt x="211" y="1208"/>
                  </a:lnTo>
                  <a:lnTo>
                    <a:pt x="168" y="1162"/>
                  </a:lnTo>
                  <a:lnTo>
                    <a:pt x="130" y="1113"/>
                  </a:lnTo>
                  <a:lnTo>
                    <a:pt x="97" y="1061"/>
                  </a:lnTo>
                  <a:lnTo>
                    <a:pt x="68" y="1006"/>
                  </a:lnTo>
                  <a:lnTo>
                    <a:pt x="43" y="951"/>
                  </a:lnTo>
                  <a:lnTo>
                    <a:pt x="24" y="892"/>
                  </a:lnTo>
                  <a:lnTo>
                    <a:pt x="11" y="832"/>
                  </a:lnTo>
                  <a:lnTo>
                    <a:pt x="3" y="770"/>
                  </a:lnTo>
                  <a:lnTo>
                    <a:pt x="0" y="708"/>
                  </a:lnTo>
                  <a:lnTo>
                    <a:pt x="3" y="645"/>
                  </a:lnTo>
                  <a:lnTo>
                    <a:pt x="11" y="584"/>
                  </a:lnTo>
                  <a:lnTo>
                    <a:pt x="24" y="524"/>
                  </a:lnTo>
                  <a:lnTo>
                    <a:pt x="43" y="466"/>
                  </a:lnTo>
                  <a:lnTo>
                    <a:pt x="68" y="409"/>
                  </a:lnTo>
                  <a:lnTo>
                    <a:pt x="97" y="354"/>
                  </a:lnTo>
                  <a:lnTo>
                    <a:pt x="130" y="303"/>
                  </a:lnTo>
                  <a:lnTo>
                    <a:pt x="168" y="254"/>
                  </a:lnTo>
                  <a:lnTo>
                    <a:pt x="211" y="208"/>
                  </a:lnTo>
                  <a:lnTo>
                    <a:pt x="258" y="165"/>
                  </a:lnTo>
                  <a:lnTo>
                    <a:pt x="307" y="127"/>
                  </a:lnTo>
                  <a:lnTo>
                    <a:pt x="361" y="94"/>
                  </a:lnTo>
                  <a:lnTo>
                    <a:pt x="416" y="66"/>
                  </a:lnTo>
                  <a:lnTo>
                    <a:pt x="473" y="43"/>
                  </a:lnTo>
                  <a:lnTo>
                    <a:pt x="532" y="24"/>
                  </a:lnTo>
                  <a:lnTo>
                    <a:pt x="593" y="11"/>
                  </a:lnTo>
                  <a:lnTo>
                    <a:pt x="656" y="3"/>
                  </a:lnTo>
                  <a:lnTo>
                    <a:pt x="7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sp>
        <p:nvSpPr>
          <p:cNvPr id="165" name="Freeform 6"/>
          <p:cNvSpPr>
            <a:spLocks noEditPoints="1"/>
          </p:cNvSpPr>
          <p:nvPr/>
        </p:nvSpPr>
        <p:spPr bwMode="auto">
          <a:xfrm>
            <a:off x="6673480" y="1401398"/>
            <a:ext cx="182782" cy="239056"/>
          </a:xfrm>
          <a:custGeom>
            <a:avLst/>
            <a:gdLst>
              <a:gd name="T0" fmla="*/ 1822 w 2514"/>
              <a:gd name="T1" fmla="*/ 1843 h 3289"/>
              <a:gd name="T2" fmla="*/ 1788 w 2514"/>
              <a:gd name="T3" fmla="*/ 1900 h 3289"/>
              <a:gd name="T4" fmla="*/ 1693 w 2514"/>
              <a:gd name="T5" fmla="*/ 1994 h 3289"/>
              <a:gd name="T6" fmla="*/ 1793 w 2514"/>
              <a:gd name="T7" fmla="*/ 2040 h 3289"/>
              <a:gd name="T8" fmla="*/ 1825 w 2514"/>
              <a:gd name="T9" fmla="*/ 2088 h 3289"/>
              <a:gd name="T10" fmla="*/ 1870 w 2514"/>
              <a:gd name="T11" fmla="*/ 2095 h 3289"/>
              <a:gd name="T12" fmla="*/ 1909 w 2514"/>
              <a:gd name="T13" fmla="*/ 2059 h 3289"/>
              <a:gd name="T14" fmla="*/ 1930 w 2514"/>
              <a:gd name="T15" fmla="*/ 1991 h 3289"/>
              <a:gd name="T16" fmla="*/ 1926 w 2514"/>
              <a:gd name="T17" fmla="*/ 1912 h 3289"/>
              <a:gd name="T18" fmla="*/ 1898 w 2514"/>
              <a:gd name="T19" fmla="*/ 1853 h 3289"/>
              <a:gd name="T20" fmla="*/ 1855 w 2514"/>
              <a:gd name="T21" fmla="*/ 1829 h 3289"/>
              <a:gd name="T22" fmla="*/ 517 w 2514"/>
              <a:gd name="T23" fmla="*/ 1711 h 3289"/>
              <a:gd name="T24" fmla="*/ 488 w 2514"/>
              <a:gd name="T25" fmla="*/ 1805 h 3289"/>
              <a:gd name="T26" fmla="*/ 500 w 2514"/>
              <a:gd name="T27" fmla="*/ 1902 h 3289"/>
              <a:gd name="T28" fmla="*/ 555 w 2514"/>
              <a:gd name="T29" fmla="*/ 1988 h 3289"/>
              <a:gd name="T30" fmla="*/ 584 w 2514"/>
              <a:gd name="T31" fmla="*/ 2679 h 3289"/>
              <a:gd name="T32" fmla="*/ 562 w 2514"/>
              <a:gd name="T33" fmla="*/ 2732 h 3289"/>
              <a:gd name="T34" fmla="*/ 506 w 2514"/>
              <a:gd name="T35" fmla="*/ 2755 h 3289"/>
              <a:gd name="T36" fmla="*/ 452 w 2514"/>
              <a:gd name="T37" fmla="*/ 2732 h 3289"/>
              <a:gd name="T38" fmla="*/ 430 w 2514"/>
              <a:gd name="T39" fmla="*/ 2679 h 3289"/>
              <a:gd name="T40" fmla="*/ 684 w 2514"/>
              <a:gd name="T41" fmla="*/ 985 h 3289"/>
              <a:gd name="T42" fmla="*/ 731 w 2514"/>
              <a:gd name="T43" fmla="*/ 1008 h 3289"/>
              <a:gd name="T44" fmla="*/ 1126 w 2514"/>
              <a:gd name="T45" fmla="*/ 1410 h 3289"/>
              <a:gd name="T46" fmla="*/ 1126 w 2514"/>
              <a:gd name="T47" fmla="*/ 1460 h 3289"/>
              <a:gd name="T48" fmla="*/ 731 w 2514"/>
              <a:gd name="T49" fmla="*/ 1863 h 3289"/>
              <a:gd name="T50" fmla="*/ 675 w 2514"/>
              <a:gd name="T51" fmla="*/ 1886 h 3289"/>
              <a:gd name="T52" fmla="*/ 632 w 2514"/>
              <a:gd name="T53" fmla="*/ 1873 h 3289"/>
              <a:gd name="T54" fmla="*/ 601 w 2514"/>
              <a:gd name="T55" fmla="*/ 1833 h 3289"/>
              <a:gd name="T56" fmla="*/ 601 w 2514"/>
              <a:gd name="T57" fmla="*/ 1783 h 3289"/>
              <a:gd name="T58" fmla="*/ 862 w 2514"/>
              <a:gd name="T59" fmla="*/ 1513 h 3289"/>
              <a:gd name="T60" fmla="*/ 39 w 2514"/>
              <a:gd name="T61" fmla="*/ 1503 h 3289"/>
              <a:gd name="T62" fmla="*/ 2 w 2514"/>
              <a:gd name="T63" fmla="*/ 1456 h 3289"/>
              <a:gd name="T64" fmla="*/ 10 w 2514"/>
              <a:gd name="T65" fmla="*/ 1396 h 3289"/>
              <a:gd name="T66" fmla="*/ 57 w 2514"/>
              <a:gd name="T67" fmla="*/ 1361 h 3289"/>
              <a:gd name="T68" fmla="*/ 620 w 2514"/>
              <a:gd name="T69" fmla="*/ 1117 h 3289"/>
              <a:gd name="T70" fmla="*/ 598 w 2514"/>
              <a:gd name="T71" fmla="*/ 1071 h 3289"/>
              <a:gd name="T72" fmla="*/ 609 w 2514"/>
              <a:gd name="T73" fmla="*/ 1022 h 3289"/>
              <a:gd name="T74" fmla="*/ 650 w 2514"/>
              <a:gd name="T75" fmla="*/ 988 h 3289"/>
              <a:gd name="T76" fmla="*/ 2436 w 2514"/>
              <a:gd name="T77" fmla="*/ 0 h 3289"/>
              <a:gd name="T78" fmla="*/ 2492 w 2514"/>
              <a:gd name="T79" fmla="*/ 22 h 3289"/>
              <a:gd name="T80" fmla="*/ 2514 w 2514"/>
              <a:gd name="T81" fmla="*/ 76 h 3289"/>
              <a:gd name="T82" fmla="*/ 2503 w 2514"/>
              <a:gd name="T83" fmla="*/ 2717 h 3289"/>
              <a:gd name="T84" fmla="*/ 2457 w 2514"/>
              <a:gd name="T85" fmla="*/ 2752 h 3289"/>
              <a:gd name="T86" fmla="*/ 2399 w 2514"/>
              <a:gd name="T87" fmla="*/ 2746 h 3289"/>
              <a:gd name="T88" fmla="*/ 2364 w 2514"/>
              <a:gd name="T89" fmla="*/ 2703 h 3289"/>
              <a:gd name="T90" fmla="*/ 2360 w 2514"/>
              <a:gd name="T91" fmla="*/ 207 h 3289"/>
              <a:gd name="T92" fmla="*/ 584 w 2514"/>
              <a:gd name="T93" fmla="*/ 891 h 3289"/>
              <a:gd name="T94" fmla="*/ 535 w 2514"/>
              <a:gd name="T95" fmla="*/ 938 h 3289"/>
              <a:gd name="T96" fmla="*/ 494 w 2514"/>
              <a:gd name="T97" fmla="*/ 1018 h 3289"/>
              <a:gd name="T98" fmla="*/ 489 w 2514"/>
              <a:gd name="T99" fmla="*/ 1109 h 3289"/>
              <a:gd name="T100" fmla="*/ 519 w 2514"/>
              <a:gd name="T101" fmla="*/ 1195 h 3289"/>
              <a:gd name="T102" fmla="*/ 430 w 2514"/>
              <a:gd name="T103" fmla="*/ 76 h 3289"/>
              <a:gd name="T104" fmla="*/ 452 w 2514"/>
              <a:gd name="T105" fmla="*/ 22 h 3289"/>
              <a:gd name="T106" fmla="*/ 506 w 2514"/>
              <a:gd name="T107" fmla="*/ 0 h 3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14" h="3289">
                <a:moveTo>
                  <a:pt x="1855" y="1829"/>
                </a:moveTo>
                <a:lnTo>
                  <a:pt x="1838" y="1833"/>
                </a:lnTo>
                <a:lnTo>
                  <a:pt x="1822" y="1843"/>
                </a:lnTo>
                <a:lnTo>
                  <a:pt x="1809" y="1858"/>
                </a:lnTo>
                <a:lnTo>
                  <a:pt x="1797" y="1877"/>
                </a:lnTo>
                <a:lnTo>
                  <a:pt x="1788" y="1900"/>
                </a:lnTo>
                <a:lnTo>
                  <a:pt x="1781" y="1927"/>
                </a:lnTo>
                <a:lnTo>
                  <a:pt x="1693" y="1927"/>
                </a:lnTo>
                <a:lnTo>
                  <a:pt x="1693" y="1994"/>
                </a:lnTo>
                <a:lnTo>
                  <a:pt x="1780" y="1994"/>
                </a:lnTo>
                <a:lnTo>
                  <a:pt x="1786" y="2019"/>
                </a:lnTo>
                <a:lnTo>
                  <a:pt x="1793" y="2040"/>
                </a:lnTo>
                <a:lnTo>
                  <a:pt x="1802" y="2060"/>
                </a:lnTo>
                <a:lnTo>
                  <a:pt x="1813" y="2076"/>
                </a:lnTo>
                <a:lnTo>
                  <a:pt x="1825" y="2088"/>
                </a:lnTo>
                <a:lnTo>
                  <a:pt x="1840" y="2095"/>
                </a:lnTo>
                <a:lnTo>
                  <a:pt x="1855" y="2098"/>
                </a:lnTo>
                <a:lnTo>
                  <a:pt x="1870" y="2095"/>
                </a:lnTo>
                <a:lnTo>
                  <a:pt x="1885" y="2088"/>
                </a:lnTo>
                <a:lnTo>
                  <a:pt x="1898" y="2075"/>
                </a:lnTo>
                <a:lnTo>
                  <a:pt x="1909" y="2059"/>
                </a:lnTo>
                <a:lnTo>
                  <a:pt x="1919" y="2039"/>
                </a:lnTo>
                <a:lnTo>
                  <a:pt x="1926" y="2016"/>
                </a:lnTo>
                <a:lnTo>
                  <a:pt x="1930" y="1991"/>
                </a:lnTo>
                <a:lnTo>
                  <a:pt x="1932" y="1964"/>
                </a:lnTo>
                <a:lnTo>
                  <a:pt x="1930" y="1937"/>
                </a:lnTo>
                <a:lnTo>
                  <a:pt x="1926" y="1912"/>
                </a:lnTo>
                <a:lnTo>
                  <a:pt x="1919" y="1889"/>
                </a:lnTo>
                <a:lnTo>
                  <a:pt x="1909" y="1869"/>
                </a:lnTo>
                <a:lnTo>
                  <a:pt x="1898" y="1853"/>
                </a:lnTo>
                <a:lnTo>
                  <a:pt x="1885" y="1841"/>
                </a:lnTo>
                <a:lnTo>
                  <a:pt x="1870" y="1832"/>
                </a:lnTo>
                <a:lnTo>
                  <a:pt x="1855" y="1829"/>
                </a:lnTo>
                <a:close/>
                <a:moveTo>
                  <a:pt x="430" y="1682"/>
                </a:moveTo>
                <a:lnTo>
                  <a:pt x="536" y="1682"/>
                </a:lnTo>
                <a:lnTo>
                  <a:pt x="517" y="1711"/>
                </a:lnTo>
                <a:lnTo>
                  <a:pt x="502" y="1741"/>
                </a:lnTo>
                <a:lnTo>
                  <a:pt x="493" y="1773"/>
                </a:lnTo>
                <a:lnTo>
                  <a:pt x="488" y="1805"/>
                </a:lnTo>
                <a:lnTo>
                  <a:pt x="487" y="1838"/>
                </a:lnTo>
                <a:lnTo>
                  <a:pt x="491" y="1870"/>
                </a:lnTo>
                <a:lnTo>
                  <a:pt x="500" y="1902"/>
                </a:lnTo>
                <a:lnTo>
                  <a:pt x="514" y="1933"/>
                </a:lnTo>
                <a:lnTo>
                  <a:pt x="532" y="1961"/>
                </a:lnTo>
                <a:lnTo>
                  <a:pt x="555" y="1988"/>
                </a:lnTo>
                <a:lnTo>
                  <a:pt x="569" y="2001"/>
                </a:lnTo>
                <a:lnTo>
                  <a:pt x="584" y="2012"/>
                </a:lnTo>
                <a:lnTo>
                  <a:pt x="584" y="2679"/>
                </a:lnTo>
                <a:lnTo>
                  <a:pt x="581" y="2699"/>
                </a:lnTo>
                <a:lnTo>
                  <a:pt x="574" y="2717"/>
                </a:lnTo>
                <a:lnTo>
                  <a:pt x="562" y="2732"/>
                </a:lnTo>
                <a:lnTo>
                  <a:pt x="546" y="2745"/>
                </a:lnTo>
                <a:lnTo>
                  <a:pt x="527" y="2752"/>
                </a:lnTo>
                <a:lnTo>
                  <a:pt x="506" y="2755"/>
                </a:lnTo>
                <a:lnTo>
                  <a:pt x="486" y="2752"/>
                </a:lnTo>
                <a:lnTo>
                  <a:pt x="468" y="2745"/>
                </a:lnTo>
                <a:lnTo>
                  <a:pt x="452" y="2732"/>
                </a:lnTo>
                <a:lnTo>
                  <a:pt x="440" y="2717"/>
                </a:lnTo>
                <a:lnTo>
                  <a:pt x="433" y="2699"/>
                </a:lnTo>
                <a:lnTo>
                  <a:pt x="430" y="2679"/>
                </a:lnTo>
                <a:lnTo>
                  <a:pt x="430" y="1682"/>
                </a:lnTo>
                <a:close/>
                <a:moveTo>
                  <a:pt x="667" y="985"/>
                </a:moveTo>
                <a:lnTo>
                  <a:pt x="684" y="985"/>
                </a:lnTo>
                <a:lnTo>
                  <a:pt x="701" y="988"/>
                </a:lnTo>
                <a:lnTo>
                  <a:pt x="717" y="996"/>
                </a:lnTo>
                <a:lnTo>
                  <a:pt x="731" y="1008"/>
                </a:lnTo>
                <a:lnTo>
                  <a:pt x="1107" y="1380"/>
                </a:lnTo>
                <a:lnTo>
                  <a:pt x="1118" y="1394"/>
                </a:lnTo>
                <a:lnTo>
                  <a:pt x="1126" y="1410"/>
                </a:lnTo>
                <a:lnTo>
                  <a:pt x="1130" y="1427"/>
                </a:lnTo>
                <a:lnTo>
                  <a:pt x="1130" y="1444"/>
                </a:lnTo>
                <a:lnTo>
                  <a:pt x="1126" y="1460"/>
                </a:lnTo>
                <a:lnTo>
                  <a:pt x="1118" y="1476"/>
                </a:lnTo>
                <a:lnTo>
                  <a:pt x="1107" y="1491"/>
                </a:lnTo>
                <a:lnTo>
                  <a:pt x="731" y="1863"/>
                </a:lnTo>
                <a:lnTo>
                  <a:pt x="714" y="1876"/>
                </a:lnTo>
                <a:lnTo>
                  <a:pt x="696" y="1883"/>
                </a:lnTo>
                <a:lnTo>
                  <a:pt x="675" y="1886"/>
                </a:lnTo>
                <a:lnTo>
                  <a:pt x="660" y="1885"/>
                </a:lnTo>
                <a:lnTo>
                  <a:pt x="646" y="1880"/>
                </a:lnTo>
                <a:lnTo>
                  <a:pt x="632" y="1873"/>
                </a:lnTo>
                <a:lnTo>
                  <a:pt x="620" y="1863"/>
                </a:lnTo>
                <a:lnTo>
                  <a:pt x="609" y="1850"/>
                </a:lnTo>
                <a:lnTo>
                  <a:pt x="601" y="1833"/>
                </a:lnTo>
                <a:lnTo>
                  <a:pt x="598" y="1817"/>
                </a:lnTo>
                <a:lnTo>
                  <a:pt x="598" y="1800"/>
                </a:lnTo>
                <a:lnTo>
                  <a:pt x="601" y="1783"/>
                </a:lnTo>
                <a:lnTo>
                  <a:pt x="609" y="1767"/>
                </a:lnTo>
                <a:lnTo>
                  <a:pt x="620" y="1753"/>
                </a:lnTo>
                <a:lnTo>
                  <a:pt x="862" y="1513"/>
                </a:lnTo>
                <a:lnTo>
                  <a:pt x="79" y="1513"/>
                </a:lnTo>
                <a:lnTo>
                  <a:pt x="57" y="1511"/>
                </a:lnTo>
                <a:lnTo>
                  <a:pt x="39" y="1503"/>
                </a:lnTo>
                <a:lnTo>
                  <a:pt x="23" y="1491"/>
                </a:lnTo>
                <a:lnTo>
                  <a:pt x="10" y="1474"/>
                </a:lnTo>
                <a:lnTo>
                  <a:pt x="2" y="1456"/>
                </a:lnTo>
                <a:lnTo>
                  <a:pt x="0" y="1436"/>
                </a:lnTo>
                <a:lnTo>
                  <a:pt x="2" y="1414"/>
                </a:lnTo>
                <a:lnTo>
                  <a:pt x="10" y="1396"/>
                </a:lnTo>
                <a:lnTo>
                  <a:pt x="23" y="1380"/>
                </a:lnTo>
                <a:lnTo>
                  <a:pt x="39" y="1368"/>
                </a:lnTo>
                <a:lnTo>
                  <a:pt x="57" y="1361"/>
                </a:lnTo>
                <a:lnTo>
                  <a:pt x="79" y="1358"/>
                </a:lnTo>
                <a:lnTo>
                  <a:pt x="862" y="1358"/>
                </a:lnTo>
                <a:lnTo>
                  <a:pt x="620" y="1117"/>
                </a:lnTo>
                <a:lnTo>
                  <a:pt x="609" y="1103"/>
                </a:lnTo>
                <a:lnTo>
                  <a:pt x="601" y="1088"/>
                </a:lnTo>
                <a:lnTo>
                  <a:pt x="598" y="1071"/>
                </a:lnTo>
                <a:lnTo>
                  <a:pt x="598" y="1054"/>
                </a:lnTo>
                <a:lnTo>
                  <a:pt x="601" y="1037"/>
                </a:lnTo>
                <a:lnTo>
                  <a:pt x="609" y="1022"/>
                </a:lnTo>
                <a:lnTo>
                  <a:pt x="620" y="1008"/>
                </a:lnTo>
                <a:lnTo>
                  <a:pt x="634" y="996"/>
                </a:lnTo>
                <a:lnTo>
                  <a:pt x="650" y="988"/>
                </a:lnTo>
                <a:lnTo>
                  <a:pt x="667" y="985"/>
                </a:lnTo>
                <a:close/>
                <a:moveTo>
                  <a:pt x="506" y="0"/>
                </a:moveTo>
                <a:lnTo>
                  <a:pt x="2436" y="0"/>
                </a:lnTo>
                <a:lnTo>
                  <a:pt x="2457" y="2"/>
                </a:lnTo>
                <a:lnTo>
                  <a:pt x="2475" y="10"/>
                </a:lnTo>
                <a:lnTo>
                  <a:pt x="2492" y="22"/>
                </a:lnTo>
                <a:lnTo>
                  <a:pt x="2503" y="38"/>
                </a:lnTo>
                <a:lnTo>
                  <a:pt x="2511" y="56"/>
                </a:lnTo>
                <a:lnTo>
                  <a:pt x="2514" y="76"/>
                </a:lnTo>
                <a:lnTo>
                  <a:pt x="2514" y="2679"/>
                </a:lnTo>
                <a:lnTo>
                  <a:pt x="2511" y="2699"/>
                </a:lnTo>
                <a:lnTo>
                  <a:pt x="2503" y="2717"/>
                </a:lnTo>
                <a:lnTo>
                  <a:pt x="2492" y="2732"/>
                </a:lnTo>
                <a:lnTo>
                  <a:pt x="2475" y="2745"/>
                </a:lnTo>
                <a:lnTo>
                  <a:pt x="2457" y="2752"/>
                </a:lnTo>
                <a:lnTo>
                  <a:pt x="2436" y="2755"/>
                </a:lnTo>
                <a:lnTo>
                  <a:pt x="2417" y="2753"/>
                </a:lnTo>
                <a:lnTo>
                  <a:pt x="2399" y="2746"/>
                </a:lnTo>
                <a:lnTo>
                  <a:pt x="2384" y="2734"/>
                </a:lnTo>
                <a:lnTo>
                  <a:pt x="2372" y="2719"/>
                </a:lnTo>
                <a:lnTo>
                  <a:pt x="2364" y="2703"/>
                </a:lnTo>
                <a:lnTo>
                  <a:pt x="1549" y="3289"/>
                </a:lnTo>
                <a:lnTo>
                  <a:pt x="1549" y="792"/>
                </a:lnTo>
                <a:lnTo>
                  <a:pt x="2360" y="207"/>
                </a:lnTo>
                <a:lnTo>
                  <a:pt x="2360" y="152"/>
                </a:lnTo>
                <a:lnTo>
                  <a:pt x="584" y="152"/>
                </a:lnTo>
                <a:lnTo>
                  <a:pt x="584" y="891"/>
                </a:lnTo>
                <a:lnTo>
                  <a:pt x="569" y="902"/>
                </a:lnTo>
                <a:lnTo>
                  <a:pt x="555" y="915"/>
                </a:lnTo>
                <a:lnTo>
                  <a:pt x="535" y="938"/>
                </a:lnTo>
                <a:lnTo>
                  <a:pt x="518" y="963"/>
                </a:lnTo>
                <a:lnTo>
                  <a:pt x="504" y="989"/>
                </a:lnTo>
                <a:lnTo>
                  <a:pt x="494" y="1018"/>
                </a:lnTo>
                <a:lnTo>
                  <a:pt x="489" y="1048"/>
                </a:lnTo>
                <a:lnTo>
                  <a:pt x="487" y="1079"/>
                </a:lnTo>
                <a:lnTo>
                  <a:pt x="489" y="1109"/>
                </a:lnTo>
                <a:lnTo>
                  <a:pt x="495" y="1139"/>
                </a:lnTo>
                <a:lnTo>
                  <a:pt x="504" y="1168"/>
                </a:lnTo>
                <a:lnTo>
                  <a:pt x="519" y="1195"/>
                </a:lnTo>
                <a:lnTo>
                  <a:pt x="536" y="1221"/>
                </a:lnTo>
                <a:lnTo>
                  <a:pt x="430" y="1221"/>
                </a:lnTo>
                <a:lnTo>
                  <a:pt x="430" y="76"/>
                </a:lnTo>
                <a:lnTo>
                  <a:pt x="433" y="56"/>
                </a:lnTo>
                <a:lnTo>
                  <a:pt x="440" y="38"/>
                </a:lnTo>
                <a:lnTo>
                  <a:pt x="452" y="22"/>
                </a:lnTo>
                <a:lnTo>
                  <a:pt x="468" y="10"/>
                </a:lnTo>
                <a:lnTo>
                  <a:pt x="486" y="2"/>
                </a:lnTo>
                <a:lnTo>
                  <a:pt x="506" y="0"/>
                </a:lnTo>
                <a:close/>
              </a:path>
            </a:pathLst>
          </a:custGeom>
          <a:solidFill>
            <a:srgbClr val="92D05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400" dirty="0">
              <a:latin typeface="Calibri" panose="020F0502020204030204" pitchFamily="34" charset="0"/>
              <a:cs typeface="Calibri" panose="020F0502020204030204" pitchFamily="34" charset="0"/>
            </a:endParaRPr>
          </a:p>
        </p:txBody>
      </p:sp>
      <p:cxnSp>
        <p:nvCxnSpPr>
          <p:cNvPr id="167" name="Straight Connector 166"/>
          <p:cNvCxnSpPr/>
          <p:nvPr/>
        </p:nvCxnSpPr>
        <p:spPr>
          <a:xfrm>
            <a:off x="1237729" y="4151098"/>
            <a:ext cx="1205881" cy="0"/>
          </a:xfrm>
          <a:prstGeom prst="line">
            <a:avLst/>
          </a:prstGeom>
          <a:ln>
            <a:headEnd type="triangle" w="med" len="med"/>
            <a:tailEnd type="triangle" w="med" len="med"/>
          </a:ln>
        </p:spPr>
        <p:style>
          <a:lnRef idx="1">
            <a:schemeClr val="dk1"/>
          </a:lnRef>
          <a:fillRef idx="0">
            <a:schemeClr val="dk1"/>
          </a:fillRef>
          <a:effectRef idx="0">
            <a:schemeClr val="dk1"/>
          </a:effectRef>
          <a:fontRef idx="minor">
            <a:schemeClr val="tx1"/>
          </a:fontRef>
        </p:style>
      </p:cxnSp>
      <p:sp>
        <p:nvSpPr>
          <p:cNvPr id="168" name="Content Placeholder 1"/>
          <p:cNvSpPr txBox="1">
            <a:spLocks/>
          </p:cNvSpPr>
          <p:nvPr/>
        </p:nvSpPr>
        <p:spPr bwMode="gray">
          <a:xfrm>
            <a:off x="4086648" y="3524057"/>
            <a:ext cx="594778" cy="456535"/>
          </a:xfrm>
          <a:prstGeom prst="rect">
            <a:avLst/>
          </a:prstGeom>
          <a:noFill/>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400" dirty="0">
                <a:latin typeface="Calibri" panose="020F0502020204030204" pitchFamily="34" charset="0"/>
                <a:cs typeface="Calibri" panose="020F0502020204030204" pitchFamily="34" charset="0"/>
              </a:rPr>
              <a:t>Web </a:t>
            </a:r>
          </a:p>
          <a:p>
            <a:pPr marL="0" indent="0" algn="ctr">
              <a:buNone/>
            </a:pPr>
            <a:r>
              <a:rPr lang="en-US" sz="1400" dirty="0">
                <a:latin typeface="Calibri" panose="020F0502020204030204" pitchFamily="34" charset="0"/>
                <a:cs typeface="Calibri" panose="020F0502020204030204" pitchFamily="34" charset="0"/>
              </a:rPr>
              <a:t>Services</a:t>
            </a:r>
          </a:p>
        </p:txBody>
      </p:sp>
      <p:sp>
        <p:nvSpPr>
          <p:cNvPr id="169" name="Content Placeholder 1"/>
          <p:cNvSpPr txBox="1">
            <a:spLocks/>
          </p:cNvSpPr>
          <p:nvPr/>
        </p:nvSpPr>
        <p:spPr bwMode="gray">
          <a:xfrm>
            <a:off x="6527102" y="3540539"/>
            <a:ext cx="594778" cy="456535"/>
          </a:xfrm>
          <a:prstGeom prst="rect">
            <a:avLst/>
          </a:prstGeom>
          <a:noFill/>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400" dirty="0">
                <a:latin typeface="Calibri" panose="020F0502020204030204" pitchFamily="34" charset="0"/>
                <a:cs typeface="Calibri" panose="020F0502020204030204" pitchFamily="34" charset="0"/>
              </a:rPr>
              <a:t>Web </a:t>
            </a:r>
          </a:p>
          <a:p>
            <a:pPr marL="0" indent="0" algn="ctr">
              <a:buNone/>
            </a:pPr>
            <a:r>
              <a:rPr lang="en-US" sz="1400" dirty="0">
                <a:latin typeface="Calibri" panose="020F0502020204030204" pitchFamily="34" charset="0"/>
                <a:cs typeface="Calibri" panose="020F0502020204030204" pitchFamily="34" charset="0"/>
              </a:rPr>
              <a:t>Services</a:t>
            </a:r>
          </a:p>
        </p:txBody>
      </p:sp>
      <p:sp>
        <p:nvSpPr>
          <p:cNvPr id="171" name="Rectangle 170"/>
          <p:cNvSpPr/>
          <p:nvPr/>
        </p:nvSpPr>
        <p:spPr>
          <a:xfrm>
            <a:off x="97028" y="2888174"/>
            <a:ext cx="1138628" cy="1640616"/>
          </a:xfrm>
          <a:prstGeom prst="rect">
            <a:avLst/>
          </a:prstGeom>
          <a:solidFill>
            <a:schemeClr val="accent1">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rgbClr val="53565A"/>
                </a:solidFill>
                <a:latin typeface="Calibri" panose="020F0502020204030204" pitchFamily="34" charset="0"/>
                <a:cs typeface="Calibri" panose="020F0502020204030204" pitchFamily="34" charset="0"/>
              </a:rPr>
              <a:t>Performance Testing Tool</a:t>
            </a:r>
          </a:p>
        </p:txBody>
      </p:sp>
      <p:grpSp>
        <p:nvGrpSpPr>
          <p:cNvPr id="172" name="Group 171"/>
          <p:cNvGrpSpPr/>
          <p:nvPr/>
        </p:nvGrpSpPr>
        <p:grpSpPr>
          <a:xfrm>
            <a:off x="9603642" y="2939739"/>
            <a:ext cx="1786991" cy="1640616"/>
            <a:chOff x="5297858" y="2793610"/>
            <a:chExt cx="1786991" cy="1640616"/>
          </a:xfrm>
        </p:grpSpPr>
        <p:sp>
          <p:nvSpPr>
            <p:cNvPr id="173" name="Rectangle 172"/>
            <p:cNvSpPr/>
            <p:nvPr/>
          </p:nvSpPr>
          <p:spPr>
            <a:xfrm>
              <a:off x="5297858" y="2793610"/>
              <a:ext cx="1786991" cy="1640616"/>
            </a:xfrm>
            <a:prstGeom prst="rect">
              <a:avLst/>
            </a:prstGeom>
            <a:solidFill>
              <a:schemeClr val="accent1">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Calibri" panose="020F0502020204030204" pitchFamily="34" charset="0"/>
                <a:cs typeface="Calibri" panose="020F0502020204030204" pitchFamily="34" charset="0"/>
              </a:endParaRPr>
            </a:p>
          </p:txBody>
        </p:sp>
        <p:sp>
          <p:nvSpPr>
            <p:cNvPr id="174" name="Content Placeholder 1"/>
            <p:cNvSpPr txBox="1">
              <a:spLocks/>
            </p:cNvSpPr>
            <p:nvPr/>
          </p:nvSpPr>
          <p:spPr bwMode="gray">
            <a:xfrm>
              <a:off x="5389607" y="2844910"/>
              <a:ext cx="1603517" cy="215444"/>
            </a:xfrm>
            <a:prstGeom prst="rect">
              <a:avLst/>
            </a:prstGeom>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400" b="1" dirty="0">
                  <a:latin typeface="Calibri" panose="020F0502020204030204" pitchFamily="34" charset="0"/>
                  <a:cs typeface="Calibri" panose="020F0502020204030204" pitchFamily="34" charset="0"/>
                </a:rPr>
                <a:t>Other Retail Interface</a:t>
              </a:r>
            </a:p>
          </p:txBody>
        </p:sp>
        <p:sp>
          <p:nvSpPr>
            <p:cNvPr id="175" name="Content Placeholder 1"/>
            <p:cNvSpPr txBox="1">
              <a:spLocks/>
            </p:cNvSpPr>
            <p:nvPr/>
          </p:nvSpPr>
          <p:spPr bwMode="gray">
            <a:xfrm>
              <a:off x="5473659" y="3961816"/>
              <a:ext cx="338042" cy="215444"/>
            </a:xfrm>
            <a:prstGeom prst="rect">
              <a:avLst/>
            </a:prstGeom>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400" dirty="0">
                  <a:latin typeface="Calibri" panose="020F0502020204030204" pitchFamily="34" charset="0"/>
                  <a:cs typeface="Calibri" panose="020F0502020204030204" pitchFamily="34" charset="0"/>
                </a:rPr>
                <a:t>Web</a:t>
              </a:r>
            </a:p>
          </p:txBody>
        </p:sp>
        <p:grpSp>
          <p:nvGrpSpPr>
            <p:cNvPr id="176" name="Group 175"/>
            <p:cNvGrpSpPr/>
            <p:nvPr/>
          </p:nvGrpSpPr>
          <p:grpSpPr>
            <a:xfrm>
              <a:off x="5423667" y="3432506"/>
              <a:ext cx="438027" cy="406364"/>
              <a:chOff x="9190038" y="4740275"/>
              <a:chExt cx="263525" cy="244476"/>
            </a:xfrm>
            <a:solidFill>
              <a:schemeClr val="tx1">
                <a:lumMod val="65000"/>
                <a:lumOff val="35000"/>
              </a:schemeClr>
            </a:solidFill>
          </p:grpSpPr>
          <p:sp>
            <p:nvSpPr>
              <p:cNvPr id="197" name="Freeform 54"/>
              <p:cNvSpPr>
                <a:spLocks/>
              </p:cNvSpPr>
              <p:nvPr/>
            </p:nvSpPr>
            <p:spPr bwMode="auto">
              <a:xfrm>
                <a:off x="9282113" y="4964113"/>
                <a:ext cx="101600" cy="20638"/>
              </a:xfrm>
              <a:custGeom>
                <a:avLst/>
                <a:gdLst>
                  <a:gd name="T0" fmla="*/ 128 w 1279"/>
                  <a:gd name="T1" fmla="*/ 0 h 255"/>
                  <a:gd name="T2" fmla="*/ 1152 w 1279"/>
                  <a:gd name="T3" fmla="*/ 0 h 255"/>
                  <a:gd name="T4" fmla="*/ 1178 w 1279"/>
                  <a:gd name="T5" fmla="*/ 2 h 255"/>
                  <a:gd name="T6" fmla="*/ 1202 w 1279"/>
                  <a:gd name="T7" fmla="*/ 10 h 255"/>
                  <a:gd name="T8" fmla="*/ 1223 w 1279"/>
                  <a:gd name="T9" fmla="*/ 21 h 255"/>
                  <a:gd name="T10" fmla="*/ 1243 w 1279"/>
                  <a:gd name="T11" fmla="*/ 37 h 255"/>
                  <a:gd name="T12" fmla="*/ 1258 w 1279"/>
                  <a:gd name="T13" fmla="*/ 56 h 255"/>
                  <a:gd name="T14" fmla="*/ 1270 w 1279"/>
                  <a:gd name="T15" fmla="*/ 77 h 255"/>
                  <a:gd name="T16" fmla="*/ 1277 w 1279"/>
                  <a:gd name="T17" fmla="*/ 101 h 255"/>
                  <a:gd name="T18" fmla="*/ 1279 w 1279"/>
                  <a:gd name="T19" fmla="*/ 127 h 255"/>
                  <a:gd name="T20" fmla="*/ 1279 w 1279"/>
                  <a:gd name="T21" fmla="*/ 255 h 255"/>
                  <a:gd name="T22" fmla="*/ 0 w 1279"/>
                  <a:gd name="T23" fmla="*/ 255 h 255"/>
                  <a:gd name="T24" fmla="*/ 0 w 1279"/>
                  <a:gd name="T25" fmla="*/ 127 h 255"/>
                  <a:gd name="T26" fmla="*/ 3 w 1279"/>
                  <a:gd name="T27" fmla="*/ 100 h 255"/>
                  <a:gd name="T28" fmla="*/ 10 w 1279"/>
                  <a:gd name="T29" fmla="*/ 77 h 255"/>
                  <a:gd name="T30" fmla="*/ 22 w 1279"/>
                  <a:gd name="T31" fmla="*/ 55 h 255"/>
                  <a:gd name="T32" fmla="*/ 37 w 1279"/>
                  <a:gd name="T33" fmla="*/ 36 h 255"/>
                  <a:gd name="T34" fmla="*/ 57 w 1279"/>
                  <a:gd name="T35" fmla="*/ 21 h 255"/>
                  <a:gd name="T36" fmla="*/ 78 w 1279"/>
                  <a:gd name="T37" fmla="*/ 9 h 255"/>
                  <a:gd name="T38" fmla="*/ 102 w 1279"/>
                  <a:gd name="T39" fmla="*/ 2 h 255"/>
                  <a:gd name="T40" fmla="*/ 128 w 1279"/>
                  <a:gd name="T4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9" h="255">
                    <a:moveTo>
                      <a:pt x="128" y="0"/>
                    </a:moveTo>
                    <a:lnTo>
                      <a:pt x="1152" y="0"/>
                    </a:lnTo>
                    <a:lnTo>
                      <a:pt x="1178" y="2"/>
                    </a:lnTo>
                    <a:lnTo>
                      <a:pt x="1202" y="10"/>
                    </a:lnTo>
                    <a:lnTo>
                      <a:pt x="1223" y="21"/>
                    </a:lnTo>
                    <a:lnTo>
                      <a:pt x="1243" y="37"/>
                    </a:lnTo>
                    <a:lnTo>
                      <a:pt x="1258" y="56"/>
                    </a:lnTo>
                    <a:lnTo>
                      <a:pt x="1270" y="77"/>
                    </a:lnTo>
                    <a:lnTo>
                      <a:pt x="1277" y="101"/>
                    </a:lnTo>
                    <a:lnTo>
                      <a:pt x="1279" y="127"/>
                    </a:lnTo>
                    <a:lnTo>
                      <a:pt x="1279" y="255"/>
                    </a:lnTo>
                    <a:lnTo>
                      <a:pt x="0" y="255"/>
                    </a:lnTo>
                    <a:lnTo>
                      <a:pt x="0" y="127"/>
                    </a:lnTo>
                    <a:lnTo>
                      <a:pt x="3" y="100"/>
                    </a:lnTo>
                    <a:lnTo>
                      <a:pt x="10" y="77"/>
                    </a:lnTo>
                    <a:lnTo>
                      <a:pt x="22" y="55"/>
                    </a:lnTo>
                    <a:lnTo>
                      <a:pt x="37" y="36"/>
                    </a:lnTo>
                    <a:lnTo>
                      <a:pt x="57" y="21"/>
                    </a:lnTo>
                    <a:lnTo>
                      <a:pt x="78" y="9"/>
                    </a:lnTo>
                    <a:lnTo>
                      <a:pt x="102" y="2"/>
                    </a:lnTo>
                    <a:lnTo>
                      <a:pt x="1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98" name="Freeform 55"/>
              <p:cNvSpPr>
                <a:spLocks noEditPoints="1"/>
              </p:cNvSpPr>
              <p:nvPr/>
            </p:nvSpPr>
            <p:spPr bwMode="auto">
              <a:xfrm>
                <a:off x="9190038" y="4740275"/>
                <a:ext cx="71438" cy="244475"/>
              </a:xfrm>
              <a:custGeom>
                <a:avLst/>
                <a:gdLst>
                  <a:gd name="T0" fmla="*/ 413 w 896"/>
                  <a:gd name="T1" fmla="*/ 2159 h 3072"/>
                  <a:gd name="T2" fmla="*/ 350 w 896"/>
                  <a:gd name="T3" fmla="*/ 2180 h 3072"/>
                  <a:gd name="T4" fmla="*/ 298 w 896"/>
                  <a:gd name="T5" fmla="*/ 2218 h 3072"/>
                  <a:gd name="T6" fmla="*/ 260 w 896"/>
                  <a:gd name="T7" fmla="*/ 2271 h 3072"/>
                  <a:gd name="T8" fmla="*/ 239 w 896"/>
                  <a:gd name="T9" fmla="*/ 2334 h 3072"/>
                  <a:gd name="T10" fmla="*/ 239 w 896"/>
                  <a:gd name="T11" fmla="*/ 2402 h 3072"/>
                  <a:gd name="T12" fmla="*/ 260 w 896"/>
                  <a:gd name="T13" fmla="*/ 2465 h 3072"/>
                  <a:gd name="T14" fmla="*/ 298 w 896"/>
                  <a:gd name="T15" fmla="*/ 2518 h 3072"/>
                  <a:gd name="T16" fmla="*/ 350 w 896"/>
                  <a:gd name="T17" fmla="*/ 2556 h 3072"/>
                  <a:gd name="T18" fmla="*/ 413 w 896"/>
                  <a:gd name="T19" fmla="*/ 2577 h 3072"/>
                  <a:gd name="T20" fmla="*/ 483 w 896"/>
                  <a:gd name="T21" fmla="*/ 2577 h 3072"/>
                  <a:gd name="T22" fmla="*/ 546 w 896"/>
                  <a:gd name="T23" fmla="*/ 2556 h 3072"/>
                  <a:gd name="T24" fmla="*/ 598 w 896"/>
                  <a:gd name="T25" fmla="*/ 2518 h 3072"/>
                  <a:gd name="T26" fmla="*/ 636 w 896"/>
                  <a:gd name="T27" fmla="*/ 2465 h 3072"/>
                  <a:gd name="T28" fmla="*/ 657 w 896"/>
                  <a:gd name="T29" fmla="*/ 2402 h 3072"/>
                  <a:gd name="T30" fmla="*/ 657 w 896"/>
                  <a:gd name="T31" fmla="*/ 2334 h 3072"/>
                  <a:gd name="T32" fmla="*/ 636 w 896"/>
                  <a:gd name="T33" fmla="*/ 2271 h 3072"/>
                  <a:gd name="T34" fmla="*/ 598 w 896"/>
                  <a:gd name="T35" fmla="*/ 2218 h 3072"/>
                  <a:gd name="T36" fmla="*/ 546 w 896"/>
                  <a:gd name="T37" fmla="*/ 2180 h 3072"/>
                  <a:gd name="T38" fmla="*/ 483 w 896"/>
                  <a:gd name="T39" fmla="*/ 2159 h 3072"/>
                  <a:gd name="T40" fmla="*/ 128 w 896"/>
                  <a:gd name="T41" fmla="*/ 0 h 3072"/>
                  <a:gd name="T42" fmla="*/ 794 w 896"/>
                  <a:gd name="T43" fmla="*/ 2 h 3072"/>
                  <a:gd name="T44" fmla="*/ 840 w 896"/>
                  <a:gd name="T45" fmla="*/ 22 h 3072"/>
                  <a:gd name="T46" fmla="*/ 875 w 896"/>
                  <a:gd name="T47" fmla="*/ 56 h 3072"/>
                  <a:gd name="T48" fmla="*/ 894 w 896"/>
                  <a:gd name="T49" fmla="*/ 102 h 3072"/>
                  <a:gd name="T50" fmla="*/ 896 w 896"/>
                  <a:gd name="T51" fmla="*/ 2944 h 3072"/>
                  <a:gd name="T52" fmla="*/ 886 w 896"/>
                  <a:gd name="T53" fmla="*/ 2994 h 3072"/>
                  <a:gd name="T54" fmla="*/ 858 w 896"/>
                  <a:gd name="T55" fmla="*/ 3034 h 3072"/>
                  <a:gd name="T56" fmla="*/ 818 w 896"/>
                  <a:gd name="T57" fmla="*/ 3062 h 3072"/>
                  <a:gd name="T58" fmla="*/ 768 w 896"/>
                  <a:gd name="T59" fmla="*/ 3072 h 3072"/>
                  <a:gd name="T60" fmla="*/ 103 w 896"/>
                  <a:gd name="T61" fmla="*/ 3069 h 3072"/>
                  <a:gd name="T62" fmla="*/ 57 w 896"/>
                  <a:gd name="T63" fmla="*/ 3050 h 3072"/>
                  <a:gd name="T64" fmla="*/ 22 w 896"/>
                  <a:gd name="T65" fmla="*/ 3015 h 3072"/>
                  <a:gd name="T66" fmla="*/ 3 w 896"/>
                  <a:gd name="T67" fmla="*/ 2969 h 3072"/>
                  <a:gd name="T68" fmla="*/ 0 w 896"/>
                  <a:gd name="T69" fmla="*/ 129 h 3072"/>
                  <a:gd name="T70" fmla="*/ 10 w 896"/>
                  <a:gd name="T71" fmla="*/ 79 h 3072"/>
                  <a:gd name="T72" fmla="*/ 38 w 896"/>
                  <a:gd name="T73" fmla="*/ 38 h 3072"/>
                  <a:gd name="T74" fmla="*/ 78 w 896"/>
                  <a:gd name="T75" fmla="*/ 10 h 3072"/>
                  <a:gd name="T76" fmla="*/ 128 w 896"/>
                  <a:gd name="T77" fmla="*/ 0 h 3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6" h="3072">
                    <a:moveTo>
                      <a:pt x="448" y="2157"/>
                    </a:moveTo>
                    <a:lnTo>
                      <a:pt x="413" y="2159"/>
                    </a:lnTo>
                    <a:lnTo>
                      <a:pt x="381" y="2167"/>
                    </a:lnTo>
                    <a:lnTo>
                      <a:pt x="350" y="2180"/>
                    </a:lnTo>
                    <a:lnTo>
                      <a:pt x="323" y="2198"/>
                    </a:lnTo>
                    <a:lnTo>
                      <a:pt x="298" y="2218"/>
                    </a:lnTo>
                    <a:lnTo>
                      <a:pt x="277" y="2242"/>
                    </a:lnTo>
                    <a:lnTo>
                      <a:pt x="260" y="2271"/>
                    </a:lnTo>
                    <a:lnTo>
                      <a:pt x="247" y="2301"/>
                    </a:lnTo>
                    <a:lnTo>
                      <a:pt x="239" y="2334"/>
                    </a:lnTo>
                    <a:lnTo>
                      <a:pt x="236" y="2369"/>
                    </a:lnTo>
                    <a:lnTo>
                      <a:pt x="239" y="2402"/>
                    </a:lnTo>
                    <a:lnTo>
                      <a:pt x="247" y="2435"/>
                    </a:lnTo>
                    <a:lnTo>
                      <a:pt x="260" y="2465"/>
                    </a:lnTo>
                    <a:lnTo>
                      <a:pt x="277" y="2493"/>
                    </a:lnTo>
                    <a:lnTo>
                      <a:pt x="298" y="2518"/>
                    </a:lnTo>
                    <a:lnTo>
                      <a:pt x="323" y="2539"/>
                    </a:lnTo>
                    <a:lnTo>
                      <a:pt x="350" y="2556"/>
                    </a:lnTo>
                    <a:lnTo>
                      <a:pt x="381" y="2569"/>
                    </a:lnTo>
                    <a:lnTo>
                      <a:pt x="413" y="2577"/>
                    </a:lnTo>
                    <a:lnTo>
                      <a:pt x="448" y="2580"/>
                    </a:lnTo>
                    <a:lnTo>
                      <a:pt x="483" y="2577"/>
                    </a:lnTo>
                    <a:lnTo>
                      <a:pt x="515" y="2569"/>
                    </a:lnTo>
                    <a:lnTo>
                      <a:pt x="546" y="2556"/>
                    </a:lnTo>
                    <a:lnTo>
                      <a:pt x="573" y="2539"/>
                    </a:lnTo>
                    <a:lnTo>
                      <a:pt x="598" y="2518"/>
                    </a:lnTo>
                    <a:lnTo>
                      <a:pt x="619" y="2493"/>
                    </a:lnTo>
                    <a:lnTo>
                      <a:pt x="636" y="2465"/>
                    </a:lnTo>
                    <a:lnTo>
                      <a:pt x="650" y="2435"/>
                    </a:lnTo>
                    <a:lnTo>
                      <a:pt x="657" y="2402"/>
                    </a:lnTo>
                    <a:lnTo>
                      <a:pt x="660" y="2369"/>
                    </a:lnTo>
                    <a:lnTo>
                      <a:pt x="657" y="2334"/>
                    </a:lnTo>
                    <a:lnTo>
                      <a:pt x="650" y="2301"/>
                    </a:lnTo>
                    <a:lnTo>
                      <a:pt x="636" y="2271"/>
                    </a:lnTo>
                    <a:lnTo>
                      <a:pt x="619" y="2242"/>
                    </a:lnTo>
                    <a:lnTo>
                      <a:pt x="598" y="2218"/>
                    </a:lnTo>
                    <a:lnTo>
                      <a:pt x="573" y="2198"/>
                    </a:lnTo>
                    <a:lnTo>
                      <a:pt x="546" y="2180"/>
                    </a:lnTo>
                    <a:lnTo>
                      <a:pt x="515" y="2167"/>
                    </a:lnTo>
                    <a:lnTo>
                      <a:pt x="483" y="2159"/>
                    </a:lnTo>
                    <a:lnTo>
                      <a:pt x="448" y="2157"/>
                    </a:lnTo>
                    <a:close/>
                    <a:moveTo>
                      <a:pt x="128" y="0"/>
                    </a:moveTo>
                    <a:lnTo>
                      <a:pt x="768" y="0"/>
                    </a:lnTo>
                    <a:lnTo>
                      <a:pt x="794" y="2"/>
                    </a:lnTo>
                    <a:lnTo>
                      <a:pt x="818" y="10"/>
                    </a:lnTo>
                    <a:lnTo>
                      <a:pt x="840" y="22"/>
                    </a:lnTo>
                    <a:lnTo>
                      <a:pt x="858" y="38"/>
                    </a:lnTo>
                    <a:lnTo>
                      <a:pt x="875" y="56"/>
                    </a:lnTo>
                    <a:lnTo>
                      <a:pt x="886" y="79"/>
                    </a:lnTo>
                    <a:lnTo>
                      <a:pt x="894" y="102"/>
                    </a:lnTo>
                    <a:lnTo>
                      <a:pt x="896" y="129"/>
                    </a:lnTo>
                    <a:lnTo>
                      <a:pt x="896" y="2944"/>
                    </a:lnTo>
                    <a:lnTo>
                      <a:pt x="894" y="2969"/>
                    </a:lnTo>
                    <a:lnTo>
                      <a:pt x="886" y="2994"/>
                    </a:lnTo>
                    <a:lnTo>
                      <a:pt x="875" y="3015"/>
                    </a:lnTo>
                    <a:lnTo>
                      <a:pt x="858" y="3034"/>
                    </a:lnTo>
                    <a:lnTo>
                      <a:pt x="840" y="3050"/>
                    </a:lnTo>
                    <a:lnTo>
                      <a:pt x="818" y="3062"/>
                    </a:lnTo>
                    <a:lnTo>
                      <a:pt x="794" y="3069"/>
                    </a:lnTo>
                    <a:lnTo>
                      <a:pt x="768" y="3072"/>
                    </a:lnTo>
                    <a:lnTo>
                      <a:pt x="128" y="3072"/>
                    </a:lnTo>
                    <a:lnTo>
                      <a:pt x="103" y="3069"/>
                    </a:lnTo>
                    <a:lnTo>
                      <a:pt x="78" y="3062"/>
                    </a:lnTo>
                    <a:lnTo>
                      <a:pt x="57" y="3050"/>
                    </a:lnTo>
                    <a:lnTo>
                      <a:pt x="38" y="3034"/>
                    </a:lnTo>
                    <a:lnTo>
                      <a:pt x="22" y="3015"/>
                    </a:lnTo>
                    <a:lnTo>
                      <a:pt x="10" y="2994"/>
                    </a:lnTo>
                    <a:lnTo>
                      <a:pt x="3" y="2969"/>
                    </a:lnTo>
                    <a:lnTo>
                      <a:pt x="0" y="2944"/>
                    </a:lnTo>
                    <a:lnTo>
                      <a:pt x="0" y="129"/>
                    </a:lnTo>
                    <a:lnTo>
                      <a:pt x="3" y="102"/>
                    </a:lnTo>
                    <a:lnTo>
                      <a:pt x="10" y="79"/>
                    </a:lnTo>
                    <a:lnTo>
                      <a:pt x="22" y="56"/>
                    </a:lnTo>
                    <a:lnTo>
                      <a:pt x="38" y="38"/>
                    </a:lnTo>
                    <a:lnTo>
                      <a:pt x="57" y="22"/>
                    </a:lnTo>
                    <a:lnTo>
                      <a:pt x="78" y="10"/>
                    </a:lnTo>
                    <a:lnTo>
                      <a:pt x="103" y="2"/>
                    </a:lnTo>
                    <a:lnTo>
                      <a:pt x="1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99" name="Freeform 56"/>
              <p:cNvSpPr>
                <a:spLocks/>
              </p:cNvSpPr>
              <p:nvPr/>
            </p:nvSpPr>
            <p:spPr bwMode="auto">
              <a:xfrm>
                <a:off x="9282113" y="4740275"/>
                <a:ext cx="171450" cy="214313"/>
              </a:xfrm>
              <a:custGeom>
                <a:avLst/>
                <a:gdLst>
                  <a:gd name="T0" fmla="*/ 1792 w 2176"/>
                  <a:gd name="T1" fmla="*/ 0 h 2688"/>
                  <a:gd name="T2" fmla="*/ 1886 w 2176"/>
                  <a:gd name="T3" fmla="*/ 11 h 2688"/>
                  <a:gd name="T4" fmla="*/ 1973 w 2176"/>
                  <a:gd name="T5" fmla="*/ 45 h 2688"/>
                  <a:gd name="T6" fmla="*/ 2047 w 2176"/>
                  <a:gd name="T7" fmla="*/ 97 h 2688"/>
                  <a:gd name="T8" fmla="*/ 2107 w 2176"/>
                  <a:gd name="T9" fmla="*/ 164 h 2688"/>
                  <a:gd name="T10" fmla="*/ 2150 w 2176"/>
                  <a:gd name="T11" fmla="*/ 245 h 2688"/>
                  <a:gd name="T12" fmla="*/ 2173 w 2176"/>
                  <a:gd name="T13" fmla="*/ 335 h 2688"/>
                  <a:gd name="T14" fmla="*/ 2176 w 2176"/>
                  <a:gd name="T15" fmla="*/ 2048 h 2688"/>
                  <a:gd name="T16" fmla="*/ 2164 w 2176"/>
                  <a:gd name="T17" fmla="*/ 2143 h 2688"/>
                  <a:gd name="T18" fmla="*/ 2132 w 2176"/>
                  <a:gd name="T19" fmla="*/ 2228 h 2688"/>
                  <a:gd name="T20" fmla="*/ 2080 w 2176"/>
                  <a:gd name="T21" fmla="*/ 2303 h 2688"/>
                  <a:gd name="T22" fmla="*/ 2011 w 2176"/>
                  <a:gd name="T23" fmla="*/ 2363 h 2688"/>
                  <a:gd name="T24" fmla="*/ 1931 w 2176"/>
                  <a:gd name="T25" fmla="*/ 2406 h 2688"/>
                  <a:gd name="T26" fmla="*/ 1840 w 2176"/>
                  <a:gd name="T27" fmla="*/ 2429 h 2688"/>
                  <a:gd name="T28" fmla="*/ 1024 w 2176"/>
                  <a:gd name="T29" fmla="*/ 2432 h 2688"/>
                  <a:gd name="T30" fmla="*/ 1022 w 2176"/>
                  <a:gd name="T31" fmla="*/ 2586 h 2688"/>
                  <a:gd name="T32" fmla="*/ 1002 w 2176"/>
                  <a:gd name="T33" fmla="*/ 2632 h 2688"/>
                  <a:gd name="T34" fmla="*/ 968 w 2176"/>
                  <a:gd name="T35" fmla="*/ 2667 h 2688"/>
                  <a:gd name="T36" fmla="*/ 922 w 2176"/>
                  <a:gd name="T37" fmla="*/ 2685 h 2688"/>
                  <a:gd name="T38" fmla="*/ 384 w 2176"/>
                  <a:gd name="T39" fmla="*/ 2688 h 2688"/>
                  <a:gd name="T40" fmla="*/ 335 w 2176"/>
                  <a:gd name="T41" fmla="*/ 2678 h 2688"/>
                  <a:gd name="T42" fmla="*/ 294 w 2176"/>
                  <a:gd name="T43" fmla="*/ 2651 h 2688"/>
                  <a:gd name="T44" fmla="*/ 266 w 2176"/>
                  <a:gd name="T45" fmla="*/ 2610 h 2688"/>
                  <a:gd name="T46" fmla="*/ 256 w 2176"/>
                  <a:gd name="T47" fmla="*/ 2560 h 2688"/>
                  <a:gd name="T48" fmla="*/ 0 w 2176"/>
                  <a:gd name="T49" fmla="*/ 2432 h 2688"/>
                  <a:gd name="T50" fmla="*/ 1792 w 2176"/>
                  <a:gd name="T51" fmla="*/ 1920 h 2688"/>
                  <a:gd name="T52" fmla="*/ 1841 w 2176"/>
                  <a:gd name="T53" fmla="*/ 1910 h 2688"/>
                  <a:gd name="T54" fmla="*/ 1882 w 2176"/>
                  <a:gd name="T55" fmla="*/ 1883 h 2688"/>
                  <a:gd name="T56" fmla="*/ 1910 w 2176"/>
                  <a:gd name="T57" fmla="*/ 1842 h 2688"/>
                  <a:gd name="T58" fmla="*/ 1920 w 2176"/>
                  <a:gd name="T59" fmla="*/ 1792 h 2688"/>
                  <a:gd name="T60" fmla="*/ 1917 w 2176"/>
                  <a:gd name="T61" fmla="*/ 358 h 2688"/>
                  <a:gd name="T62" fmla="*/ 1897 w 2176"/>
                  <a:gd name="T63" fmla="*/ 313 h 2688"/>
                  <a:gd name="T64" fmla="*/ 1863 w 2176"/>
                  <a:gd name="T65" fmla="*/ 278 h 2688"/>
                  <a:gd name="T66" fmla="*/ 1817 w 2176"/>
                  <a:gd name="T67" fmla="*/ 259 h 2688"/>
                  <a:gd name="T68" fmla="*/ 0 w 2176"/>
                  <a:gd name="T69" fmla="*/ 256 h 2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76" h="2688">
                    <a:moveTo>
                      <a:pt x="0" y="0"/>
                    </a:moveTo>
                    <a:lnTo>
                      <a:pt x="1792" y="0"/>
                    </a:lnTo>
                    <a:lnTo>
                      <a:pt x="1840" y="3"/>
                    </a:lnTo>
                    <a:lnTo>
                      <a:pt x="1886" y="11"/>
                    </a:lnTo>
                    <a:lnTo>
                      <a:pt x="1931" y="26"/>
                    </a:lnTo>
                    <a:lnTo>
                      <a:pt x="1973" y="45"/>
                    </a:lnTo>
                    <a:lnTo>
                      <a:pt x="2011" y="68"/>
                    </a:lnTo>
                    <a:lnTo>
                      <a:pt x="2047" y="97"/>
                    </a:lnTo>
                    <a:lnTo>
                      <a:pt x="2080" y="129"/>
                    </a:lnTo>
                    <a:lnTo>
                      <a:pt x="2107" y="164"/>
                    </a:lnTo>
                    <a:lnTo>
                      <a:pt x="2132" y="203"/>
                    </a:lnTo>
                    <a:lnTo>
                      <a:pt x="2150" y="245"/>
                    </a:lnTo>
                    <a:lnTo>
                      <a:pt x="2164" y="289"/>
                    </a:lnTo>
                    <a:lnTo>
                      <a:pt x="2173" y="335"/>
                    </a:lnTo>
                    <a:lnTo>
                      <a:pt x="2176" y="384"/>
                    </a:lnTo>
                    <a:lnTo>
                      <a:pt x="2176" y="2048"/>
                    </a:lnTo>
                    <a:lnTo>
                      <a:pt x="2173" y="2097"/>
                    </a:lnTo>
                    <a:lnTo>
                      <a:pt x="2164" y="2143"/>
                    </a:lnTo>
                    <a:lnTo>
                      <a:pt x="2150" y="2186"/>
                    </a:lnTo>
                    <a:lnTo>
                      <a:pt x="2132" y="2228"/>
                    </a:lnTo>
                    <a:lnTo>
                      <a:pt x="2107" y="2268"/>
                    </a:lnTo>
                    <a:lnTo>
                      <a:pt x="2080" y="2303"/>
                    </a:lnTo>
                    <a:lnTo>
                      <a:pt x="2047" y="2335"/>
                    </a:lnTo>
                    <a:lnTo>
                      <a:pt x="2011" y="2363"/>
                    </a:lnTo>
                    <a:lnTo>
                      <a:pt x="1973" y="2387"/>
                    </a:lnTo>
                    <a:lnTo>
                      <a:pt x="1931" y="2406"/>
                    </a:lnTo>
                    <a:lnTo>
                      <a:pt x="1886" y="2420"/>
                    </a:lnTo>
                    <a:lnTo>
                      <a:pt x="1840" y="2429"/>
                    </a:lnTo>
                    <a:lnTo>
                      <a:pt x="1792" y="2432"/>
                    </a:lnTo>
                    <a:lnTo>
                      <a:pt x="1024" y="2432"/>
                    </a:lnTo>
                    <a:lnTo>
                      <a:pt x="1024" y="2560"/>
                    </a:lnTo>
                    <a:lnTo>
                      <a:pt x="1022" y="2586"/>
                    </a:lnTo>
                    <a:lnTo>
                      <a:pt x="1015" y="2610"/>
                    </a:lnTo>
                    <a:lnTo>
                      <a:pt x="1002" y="2632"/>
                    </a:lnTo>
                    <a:lnTo>
                      <a:pt x="987" y="2651"/>
                    </a:lnTo>
                    <a:lnTo>
                      <a:pt x="968" y="2667"/>
                    </a:lnTo>
                    <a:lnTo>
                      <a:pt x="945" y="2678"/>
                    </a:lnTo>
                    <a:lnTo>
                      <a:pt x="922" y="2685"/>
                    </a:lnTo>
                    <a:lnTo>
                      <a:pt x="897" y="2688"/>
                    </a:lnTo>
                    <a:lnTo>
                      <a:pt x="384" y="2688"/>
                    </a:lnTo>
                    <a:lnTo>
                      <a:pt x="359" y="2685"/>
                    </a:lnTo>
                    <a:lnTo>
                      <a:pt x="335" y="2678"/>
                    </a:lnTo>
                    <a:lnTo>
                      <a:pt x="313" y="2666"/>
                    </a:lnTo>
                    <a:lnTo>
                      <a:pt x="294" y="2651"/>
                    </a:lnTo>
                    <a:lnTo>
                      <a:pt x="279" y="2631"/>
                    </a:lnTo>
                    <a:lnTo>
                      <a:pt x="266" y="2610"/>
                    </a:lnTo>
                    <a:lnTo>
                      <a:pt x="259" y="2585"/>
                    </a:lnTo>
                    <a:lnTo>
                      <a:pt x="256" y="2560"/>
                    </a:lnTo>
                    <a:lnTo>
                      <a:pt x="256" y="2432"/>
                    </a:lnTo>
                    <a:lnTo>
                      <a:pt x="0" y="2432"/>
                    </a:lnTo>
                    <a:lnTo>
                      <a:pt x="0" y="1920"/>
                    </a:lnTo>
                    <a:lnTo>
                      <a:pt x="1792" y="1920"/>
                    </a:lnTo>
                    <a:lnTo>
                      <a:pt x="1817" y="1918"/>
                    </a:lnTo>
                    <a:lnTo>
                      <a:pt x="1841" y="1910"/>
                    </a:lnTo>
                    <a:lnTo>
                      <a:pt x="1863" y="1898"/>
                    </a:lnTo>
                    <a:lnTo>
                      <a:pt x="1882" y="1883"/>
                    </a:lnTo>
                    <a:lnTo>
                      <a:pt x="1897" y="1864"/>
                    </a:lnTo>
                    <a:lnTo>
                      <a:pt x="1910" y="1842"/>
                    </a:lnTo>
                    <a:lnTo>
                      <a:pt x="1917" y="1818"/>
                    </a:lnTo>
                    <a:lnTo>
                      <a:pt x="1920" y="1792"/>
                    </a:lnTo>
                    <a:lnTo>
                      <a:pt x="1920" y="384"/>
                    </a:lnTo>
                    <a:lnTo>
                      <a:pt x="1917" y="358"/>
                    </a:lnTo>
                    <a:lnTo>
                      <a:pt x="1910" y="334"/>
                    </a:lnTo>
                    <a:lnTo>
                      <a:pt x="1897" y="313"/>
                    </a:lnTo>
                    <a:lnTo>
                      <a:pt x="1882" y="294"/>
                    </a:lnTo>
                    <a:lnTo>
                      <a:pt x="1863" y="278"/>
                    </a:lnTo>
                    <a:lnTo>
                      <a:pt x="1841" y="266"/>
                    </a:lnTo>
                    <a:lnTo>
                      <a:pt x="1817" y="259"/>
                    </a:lnTo>
                    <a:lnTo>
                      <a:pt x="1792" y="256"/>
                    </a:lnTo>
                    <a:lnTo>
                      <a:pt x="0" y="25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sp>
          <p:nvSpPr>
            <p:cNvPr id="177" name="Content Placeholder 1"/>
            <p:cNvSpPr txBox="1">
              <a:spLocks/>
            </p:cNvSpPr>
            <p:nvPr/>
          </p:nvSpPr>
          <p:spPr bwMode="gray">
            <a:xfrm>
              <a:off x="6157806" y="3961816"/>
              <a:ext cx="293350" cy="215444"/>
            </a:xfrm>
            <a:prstGeom prst="rect">
              <a:avLst/>
            </a:prstGeom>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400" dirty="0">
                  <a:latin typeface="Calibri" panose="020F0502020204030204" pitchFamily="34" charset="0"/>
                  <a:cs typeface="Calibri" panose="020F0502020204030204" pitchFamily="34" charset="0"/>
                </a:rPr>
                <a:t>App</a:t>
              </a:r>
            </a:p>
          </p:txBody>
        </p:sp>
        <p:grpSp>
          <p:nvGrpSpPr>
            <p:cNvPr id="178" name="Group 177"/>
            <p:cNvGrpSpPr/>
            <p:nvPr/>
          </p:nvGrpSpPr>
          <p:grpSpPr>
            <a:xfrm>
              <a:off x="6085468" y="3432506"/>
              <a:ext cx="438027" cy="406364"/>
              <a:chOff x="9190038" y="4740275"/>
              <a:chExt cx="263525" cy="244476"/>
            </a:xfrm>
            <a:solidFill>
              <a:schemeClr val="tx1">
                <a:lumMod val="65000"/>
                <a:lumOff val="35000"/>
              </a:schemeClr>
            </a:solidFill>
          </p:grpSpPr>
          <p:sp>
            <p:nvSpPr>
              <p:cNvPr id="194" name="Freeform 54"/>
              <p:cNvSpPr>
                <a:spLocks/>
              </p:cNvSpPr>
              <p:nvPr/>
            </p:nvSpPr>
            <p:spPr bwMode="auto">
              <a:xfrm>
                <a:off x="9282113" y="4964113"/>
                <a:ext cx="101600" cy="20638"/>
              </a:xfrm>
              <a:custGeom>
                <a:avLst/>
                <a:gdLst>
                  <a:gd name="T0" fmla="*/ 128 w 1279"/>
                  <a:gd name="T1" fmla="*/ 0 h 255"/>
                  <a:gd name="T2" fmla="*/ 1152 w 1279"/>
                  <a:gd name="T3" fmla="*/ 0 h 255"/>
                  <a:gd name="T4" fmla="*/ 1178 w 1279"/>
                  <a:gd name="T5" fmla="*/ 2 h 255"/>
                  <a:gd name="T6" fmla="*/ 1202 w 1279"/>
                  <a:gd name="T7" fmla="*/ 10 h 255"/>
                  <a:gd name="T8" fmla="*/ 1223 w 1279"/>
                  <a:gd name="T9" fmla="*/ 21 h 255"/>
                  <a:gd name="T10" fmla="*/ 1243 w 1279"/>
                  <a:gd name="T11" fmla="*/ 37 h 255"/>
                  <a:gd name="T12" fmla="*/ 1258 w 1279"/>
                  <a:gd name="T13" fmla="*/ 56 h 255"/>
                  <a:gd name="T14" fmla="*/ 1270 w 1279"/>
                  <a:gd name="T15" fmla="*/ 77 h 255"/>
                  <a:gd name="T16" fmla="*/ 1277 w 1279"/>
                  <a:gd name="T17" fmla="*/ 101 h 255"/>
                  <a:gd name="T18" fmla="*/ 1279 w 1279"/>
                  <a:gd name="T19" fmla="*/ 127 h 255"/>
                  <a:gd name="T20" fmla="*/ 1279 w 1279"/>
                  <a:gd name="T21" fmla="*/ 255 h 255"/>
                  <a:gd name="T22" fmla="*/ 0 w 1279"/>
                  <a:gd name="T23" fmla="*/ 255 h 255"/>
                  <a:gd name="T24" fmla="*/ 0 w 1279"/>
                  <a:gd name="T25" fmla="*/ 127 h 255"/>
                  <a:gd name="T26" fmla="*/ 3 w 1279"/>
                  <a:gd name="T27" fmla="*/ 100 h 255"/>
                  <a:gd name="T28" fmla="*/ 10 w 1279"/>
                  <a:gd name="T29" fmla="*/ 77 h 255"/>
                  <a:gd name="T30" fmla="*/ 22 w 1279"/>
                  <a:gd name="T31" fmla="*/ 55 h 255"/>
                  <a:gd name="T32" fmla="*/ 37 w 1279"/>
                  <a:gd name="T33" fmla="*/ 36 h 255"/>
                  <a:gd name="T34" fmla="*/ 57 w 1279"/>
                  <a:gd name="T35" fmla="*/ 21 h 255"/>
                  <a:gd name="T36" fmla="*/ 78 w 1279"/>
                  <a:gd name="T37" fmla="*/ 9 h 255"/>
                  <a:gd name="T38" fmla="*/ 102 w 1279"/>
                  <a:gd name="T39" fmla="*/ 2 h 255"/>
                  <a:gd name="T40" fmla="*/ 128 w 1279"/>
                  <a:gd name="T4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9" h="255">
                    <a:moveTo>
                      <a:pt x="128" y="0"/>
                    </a:moveTo>
                    <a:lnTo>
                      <a:pt x="1152" y="0"/>
                    </a:lnTo>
                    <a:lnTo>
                      <a:pt x="1178" y="2"/>
                    </a:lnTo>
                    <a:lnTo>
                      <a:pt x="1202" y="10"/>
                    </a:lnTo>
                    <a:lnTo>
                      <a:pt x="1223" y="21"/>
                    </a:lnTo>
                    <a:lnTo>
                      <a:pt x="1243" y="37"/>
                    </a:lnTo>
                    <a:lnTo>
                      <a:pt x="1258" y="56"/>
                    </a:lnTo>
                    <a:lnTo>
                      <a:pt x="1270" y="77"/>
                    </a:lnTo>
                    <a:lnTo>
                      <a:pt x="1277" y="101"/>
                    </a:lnTo>
                    <a:lnTo>
                      <a:pt x="1279" y="127"/>
                    </a:lnTo>
                    <a:lnTo>
                      <a:pt x="1279" y="255"/>
                    </a:lnTo>
                    <a:lnTo>
                      <a:pt x="0" y="255"/>
                    </a:lnTo>
                    <a:lnTo>
                      <a:pt x="0" y="127"/>
                    </a:lnTo>
                    <a:lnTo>
                      <a:pt x="3" y="100"/>
                    </a:lnTo>
                    <a:lnTo>
                      <a:pt x="10" y="77"/>
                    </a:lnTo>
                    <a:lnTo>
                      <a:pt x="22" y="55"/>
                    </a:lnTo>
                    <a:lnTo>
                      <a:pt x="37" y="36"/>
                    </a:lnTo>
                    <a:lnTo>
                      <a:pt x="57" y="21"/>
                    </a:lnTo>
                    <a:lnTo>
                      <a:pt x="78" y="9"/>
                    </a:lnTo>
                    <a:lnTo>
                      <a:pt x="102" y="2"/>
                    </a:lnTo>
                    <a:lnTo>
                      <a:pt x="1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95" name="Freeform 55"/>
              <p:cNvSpPr>
                <a:spLocks noEditPoints="1"/>
              </p:cNvSpPr>
              <p:nvPr/>
            </p:nvSpPr>
            <p:spPr bwMode="auto">
              <a:xfrm>
                <a:off x="9190038" y="4740275"/>
                <a:ext cx="71438" cy="244475"/>
              </a:xfrm>
              <a:custGeom>
                <a:avLst/>
                <a:gdLst>
                  <a:gd name="T0" fmla="*/ 413 w 896"/>
                  <a:gd name="T1" fmla="*/ 2159 h 3072"/>
                  <a:gd name="T2" fmla="*/ 350 w 896"/>
                  <a:gd name="T3" fmla="*/ 2180 h 3072"/>
                  <a:gd name="T4" fmla="*/ 298 w 896"/>
                  <a:gd name="T5" fmla="*/ 2218 h 3072"/>
                  <a:gd name="T6" fmla="*/ 260 w 896"/>
                  <a:gd name="T7" fmla="*/ 2271 h 3072"/>
                  <a:gd name="T8" fmla="*/ 239 w 896"/>
                  <a:gd name="T9" fmla="*/ 2334 h 3072"/>
                  <a:gd name="T10" fmla="*/ 239 w 896"/>
                  <a:gd name="T11" fmla="*/ 2402 h 3072"/>
                  <a:gd name="T12" fmla="*/ 260 w 896"/>
                  <a:gd name="T13" fmla="*/ 2465 h 3072"/>
                  <a:gd name="T14" fmla="*/ 298 w 896"/>
                  <a:gd name="T15" fmla="*/ 2518 h 3072"/>
                  <a:gd name="T16" fmla="*/ 350 w 896"/>
                  <a:gd name="T17" fmla="*/ 2556 h 3072"/>
                  <a:gd name="T18" fmla="*/ 413 w 896"/>
                  <a:gd name="T19" fmla="*/ 2577 h 3072"/>
                  <a:gd name="T20" fmla="*/ 483 w 896"/>
                  <a:gd name="T21" fmla="*/ 2577 h 3072"/>
                  <a:gd name="T22" fmla="*/ 546 w 896"/>
                  <a:gd name="T23" fmla="*/ 2556 h 3072"/>
                  <a:gd name="T24" fmla="*/ 598 w 896"/>
                  <a:gd name="T25" fmla="*/ 2518 h 3072"/>
                  <a:gd name="T26" fmla="*/ 636 w 896"/>
                  <a:gd name="T27" fmla="*/ 2465 h 3072"/>
                  <a:gd name="T28" fmla="*/ 657 w 896"/>
                  <a:gd name="T29" fmla="*/ 2402 h 3072"/>
                  <a:gd name="T30" fmla="*/ 657 w 896"/>
                  <a:gd name="T31" fmla="*/ 2334 h 3072"/>
                  <a:gd name="T32" fmla="*/ 636 w 896"/>
                  <a:gd name="T33" fmla="*/ 2271 h 3072"/>
                  <a:gd name="T34" fmla="*/ 598 w 896"/>
                  <a:gd name="T35" fmla="*/ 2218 h 3072"/>
                  <a:gd name="T36" fmla="*/ 546 w 896"/>
                  <a:gd name="T37" fmla="*/ 2180 h 3072"/>
                  <a:gd name="T38" fmla="*/ 483 w 896"/>
                  <a:gd name="T39" fmla="*/ 2159 h 3072"/>
                  <a:gd name="T40" fmla="*/ 128 w 896"/>
                  <a:gd name="T41" fmla="*/ 0 h 3072"/>
                  <a:gd name="T42" fmla="*/ 794 w 896"/>
                  <a:gd name="T43" fmla="*/ 2 h 3072"/>
                  <a:gd name="T44" fmla="*/ 840 w 896"/>
                  <a:gd name="T45" fmla="*/ 22 h 3072"/>
                  <a:gd name="T46" fmla="*/ 875 w 896"/>
                  <a:gd name="T47" fmla="*/ 56 h 3072"/>
                  <a:gd name="T48" fmla="*/ 894 w 896"/>
                  <a:gd name="T49" fmla="*/ 102 h 3072"/>
                  <a:gd name="T50" fmla="*/ 896 w 896"/>
                  <a:gd name="T51" fmla="*/ 2944 h 3072"/>
                  <a:gd name="T52" fmla="*/ 886 w 896"/>
                  <a:gd name="T53" fmla="*/ 2994 h 3072"/>
                  <a:gd name="T54" fmla="*/ 858 w 896"/>
                  <a:gd name="T55" fmla="*/ 3034 h 3072"/>
                  <a:gd name="T56" fmla="*/ 818 w 896"/>
                  <a:gd name="T57" fmla="*/ 3062 h 3072"/>
                  <a:gd name="T58" fmla="*/ 768 w 896"/>
                  <a:gd name="T59" fmla="*/ 3072 h 3072"/>
                  <a:gd name="T60" fmla="*/ 103 w 896"/>
                  <a:gd name="T61" fmla="*/ 3069 h 3072"/>
                  <a:gd name="T62" fmla="*/ 57 w 896"/>
                  <a:gd name="T63" fmla="*/ 3050 h 3072"/>
                  <a:gd name="T64" fmla="*/ 22 w 896"/>
                  <a:gd name="T65" fmla="*/ 3015 h 3072"/>
                  <a:gd name="T66" fmla="*/ 3 w 896"/>
                  <a:gd name="T67" fmla="*/ 2969 h 3072"/>
                  <a:gd name="T68" fmla="*/ 0 w 896"/>
                  <a:gd name="T69" fmla="*/ 129 h 3072"/>
                  <a:gd name="T70" fmla="*/ 10 w 896"/>
                  <a:gd name="T71" fmla="*/ 79 h 3072"/>
                  <a:gd name="T72" fmla="*/ 38 w 896"/>
                  <a:gd name="T73" fmla="*/ 38 h 3072"/>
                  <a:gd name="T74" fmla="*/ 78 w 896"/>
                  <a:gd name="T75" fmla="*/ 10 h 3072"/>
                  <a:gd name="T76" fmla="*/ 128 w 896"/>
                  <a:gd name="T77" fmla="*/ 0 h 3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96" h="3072">
                    <a:moveTo>
                      <a:pt x="448" y="2157"/>
                    </a:moveTo>
                    <a:lnTo>
                      <a:pt x="413" y="2159"/>
                    </a:lnTo>
                    <a:lnTo>
                      <a:pt x="381" y="2167"/>
                    </a:lnTo>
                    <a:lnTo>
                      <a:pt x="350" y="2180"/>
                    </a:lnTo>
                    <a:lnTo>
                      <a:pt x="323" y="2198"/>
                    </a:lnTo>
                    <a:lnTo>
                      <a:pt x="298" y="2218"/>
                    </a:lnTo>
                    <a:lnTo>
                      <a:pt x="277" y="2242"/>
                    </a:lnTo>
                    <a:lnTo>
                      <a:pt x="260" y="2271"/>
                    </a:lnTo>
                    <a:lnTo>
                      <a:pt x="247" y="2301"/>
                    </a:lnTo>
                    <a:lnTo>
                      <a:pt x="239" y="2334"/>
                    </a:lnTo>
                    <a:lnTo>
                      <a:pt x="236" y="2369"/>
                    </a:lnTo>
                    <a:lnTo>
                      <a:pt x="239" y="2402"/>
                    </a:lnTo>
                    <a:lnTo>
                      <a:pt x="247" y="2435"/>
                    </a:lnTo>
                    <a:lnTo>
                      <a:pt x="260" y="2465"/>
                    </a:lnTo>
                    <a:lnTo>
                      <a:pt x="277" y="2493"/>
                    </a:lnTo>
                    <a:lnTo>
                      <a:pt x="298" y="2518"/>
                    </a:lnTo>
                    <a:lnTo>
                      <a:pt x="323" y="2539"/>
                    </a:lnTo>
                    <a:lnTo>
                      <a:pt x="350" y="2556"/>
                    </a:lnTo>
                    <a:lnTo>
                      <a:pt x="381" y="2569"/>
                    </a:lnTo>
                    <a:lnTo>
                      <a:pt x="413" y="2577"/>
                    </a:lnTo>
                    <a:lnTo>
                      <a:pt x="448" y="2580"/>
                    </a:lnTo>
                    <a:lnTo>
                      <a:pt x="483" y="2577"/>
                    </a:lnTo>
                    <a:lnTo>
                      <a:pt x="515" y="2569"/>
                    </a:lnTo>
                    <a:lnTo>
                      <a:pt x="546" y="2556"/>
                    </a:lnTo>
                    <a:lnTo>
                      <a:pt x="573" y="2539"/>
                    </a:lnTo>
                    <a:lnTo>
                      <a:pt x="598" y="2518"/>
                    </a:lnTo>
                    <a:lnTo>
                      <a:pt x="619" y="2493"/>
                    </a:lnTo>
                    <a:lnTo>
                      <a:pt x="636" y="2465"/>
                    </a:lnTo>
                    <a:lnTo>
                      <a:pt x="650" y="2435"/>
                    </a:lnTo>
                    <a:lnTo>
                      <a:pt x="657" y="2402"/>
                    </a:lnTo>
                    <a:lnTo>
                      <a:pt x="660" y="2369"/>
                    </a:lnTo>
                    <a:lnTo>
                      <a:pt x="657" y="2334"/>
                    </a:lnTo>
                    <a:lnTo>
                      <a:pt x="650" y="2301"/>
                    </a:lnTo>
                    <a:lnTo>
                      <a:pt x="636" y="2271"/>
                    </a:lnTo>
                    <a:lnTo>
                      <a:pt x="619" y="2242"/>
                    </a:lnTo>
                    <a:lnTo>
                      <a:pt x="598" y="2218"/>
                    </a:lnTo>
                    <a:lnTo>
                      <a:pt x="573" y="2198"/>
                    </a:lnTo>
                    <a:lnTo>
                      <a:pt x="546" y="2180"/>
                    </a:lnTo>
                    <a:lnTo>
                      <a:pt x="515" y="2167"/>
                    </a:lnTo>
                    <a:lnTo>
                      <a:pt x="483" y="2159"/>
                    </a:lnTo>
                    <a:lnTo>
                      <a:pt x="448" y="2157"/>
                    </a:lnTo>
                    <a:close/>
                    <a:moveTo>
                      <a:pt x="128" y="0"/>
                    </a:moveTo>
                    <a:lnTo>
                      <a:pt x="768" y="0"/>
                    </a:lnTo>
                    <a:lnTo>
                      <a:pt x="794" y="2"/>
                    </a:lnTo>
                    <a:lnTo>
                      <a:pt x="818" y="10"/>
                    </a:lnTo>
                    <a:lnTo>
                      <a:pt x="840" y="22"/>
                    </a:lnTo>
                    <a:lnTo>
                      <a:pt x="858" y="38"/>
                    </a:lnTo>
                    <a:lnTo>
                      <a:pt x="875" y="56"/>
                    </a:lnTo>
                    <a:lnTo>
                      <a:pt x="886" y="79"/>
                    </a:lnTo>
                    <a:lnTo>
                      <a:pt x="894" y="102"/>
                    </a:lnTo>
                    <a:lnTo>
                      <a:pt x="896" y="129"/>
                    </a:lnTo>
                    <a:lnTo>
                      <a:pt x="896" y="2944"/>
                    </a:lnTo>
                    <a:lnTo>
                      <a:pt x="894" y="2969"/>
                    </a:lnTo>
                    <a:lnTo>
                      <a:pt x="886" y="2994"/>
                    </a:lnTo>
                    <a:lnTo>
                      <a:pt x="875" y="3015"/>
                    </a:lnTo>
                    <a:lnTo>
                      <a:pt x="858" y="3034"/>
                    </a:lnTo>
                    <a:lnTo>
                      <a:pt x="840" y="3050"/>
                    </a:lnTo>
                    <a:lnTo>
                      <a:pt x="818" y="3062"/>
                    </a:lnTo>
                    <a:lnTo>
                      <a:pt x="794" y="3069"/>
                    </a:lnTo>
                    <a:lnTo>
                      <a:pt x="768" y="3072"/>
                    </a:lnTo>
                    <a:lnTo>
                      <a:pt x="128" y="3072"/>
                    </a:lnTo>
                    <a:lnTo>
                      <a:pt x="103" y="3069"/>
                    </a:lnTo>
                    <a:lnTo>
                      <a:pt x="78" y="3062"/>
                    </a:lnTo>
                    <a:lnTo>
                      <a:pt x="57" y="3050"/>
                    </a:lnTo>
                    <a:lnTo>
                      <a:pt x="38" y="3034"/>
                    </a:lnTo>
                    <a:lnTo>
                      <a:pt x="22" y="3015"/>
                    </a:lnTo>
                    <a:lnTo>
                      <a:pt x="10" y="2994"/>
                    </a:lnTo>
                    <a:lnTo>
                      <a:pt x="3" y="2969"/>
                    </a:lnTo>
                    <a:lnTo>
                      <a:pt x="0" y="2944"/>
                    </a:lnTo>
                    <a:lnTo>
                      <a:pt x="0" y="129"/>
                    </a:lnTo>
                    <a:lnTo>
                      <a:pt x="3" y="102"/>
                    </a:lnTo>
                    <a:lnTo>
                      <a:pt x="10" y="79"/>
                    </a:lnTo>
                    <a:lnTo>
                      <a:pt x="22" y="56"/>
                    </a:lnTo>
                    <a:lnTo>
                      <a:pt x="38" y="38"/>
                    </a:lnTo>
                    <a:lnTo>
                      <a:pt x="57" y="22"/>
                    </a:lnTo>
                    <a:lnTo>
                      <a:pt x="78" y="10"/>
                    </a:lnTo>
                    <a:lnTo>
                      <a:pt x="103" y="2"/>
                    </a:lnTo>
                    <a:lnTo>
                      <a:pt x="1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96" name="Freeform 56"/>
              <p:cNvSpPr>
                <a:spLocks/>
              </p:cNvSpPr>
              <p:nvPr/>
            </p:nvSpPr>
            <p:spPr bwMode="auto">
              <a:xfrm>
                <a:off x="9282113" y="4740275"/>
                <a:ext cx="171450" cy="214313"/>
              </a:xfrm>
              <a:custGeom>
                <a:avLst/>
                <a:gdLst>
                  <a:gd name="T0" fmla="*/ 1792 w 2176"/>
                  <a:gd name="T1" fmla="*/ 0 h 2688"/>
                  <a:gd name="T2" fmla="*/ 1886 w 2176"/>
                  <a:gd name="T3" fmla="*/ 11 h 2688"/>
                  <a:gd name="T4" fmla="*/ 1973 w 2176"/>
                  <a:gd name="T5" fmla="*/ 45 h 2688"/>
                  <a:gd name="T6" fmla="*/ 2047 w 2176"/>
                  <a:gd name="T7" fmla="*/ 97 h 2688"/>
                  <a:gd name="T8" fmla="*/ 2107 w 2176"/>
                  <a:gd name="T9" fmla="*/ 164 h 2688"/>
                  <a:gd name="T10" fmla="*/ 2150 w 2176"/>
                  <a:gd name="T11" fmla="*/ 245 h 2688"/>
                  <a:gd name="T12" fmla="*/ 2173 w 2176"/>
                  <a:gd name="T13" fmla="*/ 335 h 2688"/>
                  <a:gd name="T14" fmla="*/ 2176 w 2176"/>
                  <a:gd name="T15" fmla="*/ 2048 h 2688"/>
                  <a:gd name="T16" fmla="*/ 2164 w 2176"/>
                  <a:gd name="T17" fmla="*/ 2143 h 2688"/>
                  <a:gd name="T18" fmla="*/ 2132 w 2176"/>
                  <a:gd name="T19" fmla="*/ 2228 h 2688"/>
                  <a:gd name="T20" fmla="*/ 2080 w 2176"/>
                  <a:gd name="T21" fmla="*/ 2303 h 2688"/>
                  <a:gd name="T22" fmla="*/ 2011 w 2176"/>
                  <a:gd name="T23" fmla="*/ 2363 h 2688"/>
                  <a:gd name="T24" fmla="*/ 1931 w 2176"/>
                  <a:gd name="T25" fmla="*/ 2406 h 2688"/>
                  <a:gd name="T26" fmla="*/ 1840 w 2176"/>
                  <a:gd name="T27" fmla="*/ 2429 h 2688"/>
                  <a:gd name="T28" fmla="*/ 1024 w 2176"/>
                  <a:gd name="T29" fmla="*/ 2432 h 2688"/>
                  <a:gd name="T30" fmla="*/ 1022 w 2176"/>
                  <a:gd name="T31" fmla="*/ 2586 h 2688"/>
                  <a:gd name="T32" fmla="*/ 1002 w 2176"/>
                  <a:gd name="T33" fmla="*/ 2632 h 2688"/>
                  <a:gd name="T34" fmla="*/ 968 w 2176"/>
                  <a:gd name="T35" fmla="*/ 2667 h 2688"/>
                  <a:gd name="T36" fmla="*/ 922 w 2176"/>
                  <a:gd name="T37" fmla="*/ 2685 h 2688"/>
                  <a:gd name="T38" fmla="*/ 384 w 2176"/>
                  <a:gd name="T39" fmla="*/ 2688 h 2688"/>
                  <a:gd name="T40" fmla="*/ 335 w 2176"/>
                  <a:gd name="T41" fmla="*/ 2678 h 2688"/>
                  <a:gd name="T42" fmla="*/ 294 w 2176"/>
                  <a:gd name="T43" fmla="*/ 2651 h 2688"/>
                  <a:gd name="T44" fmla="*/ 266 w 2176"/>
                  <a:gd name="T45" fmla="*/ 2610 h 2688"/>
                  <a:gd name="T46" fmla="*/ 256 w 2176"/>
                  <a:gd name="T47" fmla="*/ 2560 h 2688"/>
                  <a:gd name="T48" fmla="*/ 0 w 2176"/>
                  <a:gd name="T49" fmla="*/ 2432 h 2688"/>
                  <a:gd name="T50" fmla="*/ 1792 w 2176"/>
                  <a:gd name="T51" fmla="*/ 1920 h 2688"/>
                  <a:gd name="T52" fmla="*/ 1841 w 2176"/>
                  <a:gd name="T53" fmla="*/ 1910 h 2688"/>
                  <a:gd name="T54" fmla="*/ 1882 w 2176"/>
                  <a:gd name="T55" fmla="*/ 1883 h 2688"/>
                  <a:gd name="T56" fmla="*/ 1910 w 2176"/>
                  <a:gd name="T57" fmla="*/ 1842 h 2688"/>
                  <a:gd name="T58" fmla="*/ 1920 w 2176"/>
                  <a:gd name="T59" fmla="*/ 1792 h 2688"/>
                  <a:gd name="T60" fmla="*/ 1917 w 2176"/>
                  <a:gd name="T61" fmla="*/ 358 h 2688"/>
                  <a:gd name="T62" fmla="*/ 1897 w 2176"/>
                  <a:gd name="T63" fmla="*/ 313 h 2688"/>
                  <a:gd name="T64" fmla="*/ 1863 w 2176"/>
                  <a:gd name="T65" fmla="*/ 278 h 2688"/>
                  <a:gd name="T66" fmla="*/ 1817 w 2176"/>
                  <a:gd name="T67" fmla="*/ 259 h 2688"/>
                  <a:gd name="T68" fmla="*/ 0 w 2176"/>
                  <a:gd name="T69" fmla="*/ 256 h 2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76" h="2688">
                    <a:moveTo>
                      <a:pt x="0" y="0"/>
                    </a:moveTo>
                    <a:lnTo>
                      <a:pt x="1792" y="0"/>
                    </a:lnTo>
                    <a:lnTo>
                      <a:pt x="1840" y="3"/>
                    </a:lnTo>
                    <a:lnTo>
                      <a:pt x="1886" y="11"/>
                    </a:lnTo>
                    <a:lnTo>
                      <a:pt x="1931" y="26"/>
                    </a:lnTo>
                    <a:lnTo>
                      <a:pt x="1973" y="45"/>
                    </a:lnTo>
                    <a:lnTo>
                      <a:pt x="2011" y="68"/>
                    </a:lnTo>
                    <a:lnTo>
                      <a:pt x="2047" y="97"/>
                    </a:lnTo>
                    <a:lnTo>
                      <a:pt x="2080" y="129"/>
                    </a:lnTo>
                    <a:lnTo>
                      <a:pt x="2107" y="164"/>
                    </a:lnTo>
                    <a:lnTo>
                      <a:pt x="2132" y="203"/>
                    </a:lnTo>
                    <a:lnTo>
                      <a:pt x="2150" y="245"/>
                    </a:lnTo>
                    <a:lnTo>
                      <a:pt x="2164" y="289"/>
                    </a:lnTo>
                    <a:lnTo>
                      <a:pt x="2173" y="335"/>
                    </a:lnTo>
                    <a:lnTo>
                      <a:pt x="2176" y="384"/>
                    </a:lnTo>
                    <a:lnTo>
                      <a:pt x="2176" y="2048"/>
                    </a:lnTo>
                    <a:lnTo>
                      <a:pt x="2173" y="2097"/>
                    </a:lnTo>
                    <a:lnTo>
                      <a:pt x="2164" y="2143"/>
                    </a:lnTo>
                    <a:lnTo>
                      <a:pt x="2150" y="2186"/>
                    </a:lnTo>
                    <a:lnTo>
                      <a:pt x="2132" y="2228"/>
                    </a:lnTo>
                    <a:lnTo>
                      <a:pt x="2107" y="2268"/>
                    </a:lnTo>
                    <a:lnTo>
                      <a:pt x="2080" y="2303"/>
                    </a:lnTo>
                    <a:lnTo>
                      <a:pt x="2047" y="2335"/>
                    </a:lnTo>
                    <a:lnTo>
                      <a:pt x="2011" y="2363"/>
                    </a:lnTo>
                    <a:lnTo>
                      <a:pt x="1973" y="2387"/>
                    </a:lnTo>
                    <a:lnTo>
                      <a:pt x="1931" y="2406"/>
                    </a:lnTo>
                    <a:lnTo>
                      <a:pt x="1886" y="2420"/>
                    </a:lnTo>
                    <a:lnTo>
                      <a:pt x="1840" y="2429"/>
                    </a:lnTo>
                    <a:lnTo>
                      <a:pt x="1792" y="2432"/>
                    </a:lnTo>
                    <a:lnTo>
                      <a:pt x="1024" y="2432"/>
                    </a:lnTo>
                    <a:lnTo>
                      <a:pt x="1024" y="2560"/>
                    </a:lnTo>
                    <a:lnTo>
                      <a:pt x="1022" y="2586"/>
                    </a:lnTo>
                    <a:lnTo>
                      <a:pt x="1015" y="2610"/>
                    </a:lnTo>
                    <a:lnTo>
                      <a:pt x="1002" y="2632"/>
                    </a:lnTo>
                    <a:lnTo>
                      <a:pt x="987" y="2651"/>
                    </a:lnTo>
                    <a:lnTo>
                      <a:pt x="968" y="2667"/>
                    </a:lnTo>
                    <a:lnTo>
                      <a:pt x="945" y="2678"/>
                    </a:lnTo>
                    <a:lnTo>
                      <a:pt x="922" y="2685"/>
                    </a:lnTo>
                    <a:lnTo>
                      <a:pt x="897" y="2688"/>
                    </a:lnTo>
                    <a:lnTo>
                      <a:pt x="384" y="2688"/>
                    </a:lnTo>
                    <a:lnTo>
                      <a:pt x="359" y="2685"/>
                    </a:lnTo>
                    <a:lnTo>
                      <a:pt x="335" y="2678"/>
                    </a:lnTo>
                    <a:lnTo>
                      <a:pt x="313" y="2666"/>
                    </a:lnTo>
                    <a:lnTo>
                      <a:pt x="294" y="2651"/>
                    </a:lnTo>
                    <a:lnTo>
                      <a:pt x="279" y="2631"/>
                    </a:lnTo>
                    <a:lnTo>
                      <a:pt x="266" y="2610"/>
                    </a:lnTo>
                    <a:lnTo>
                      <a:pt x="259" y="2585"/>
                    </a:lnTo>
                    <a:lnTo>
                      <a:pt x="256" y="2560"/>
                    </a:lnTo>
                    <a:lnTo>
                      <a:pt x="256" y="2432"/>
                    </a:lnTo>
                    <a:lnTo>
                      <a:pt x="0" y="2432"/>
                    </a:lnTo>
                    <a:lnTo>
                      <a:pt x="0" y="1920"/>
                    </a:lnTo>
                    <a:lnTo>
                      <a:pt x="1792" y="1920"/>
                    </a:lnTo>
                    <a:lnTo>
                      <a:pt x="1817" y="1918"/>
                    </a:lnTo>
                    <a:lnTo>
                      <a:pt x="1841" y="1910"/>
                    </a:lnTo>
                    <a:lnTo>
                      <a:pt x="1863" y="1898"/>
                    </a:lnTo>
                    <a:lnTo>
                      <a:pt x="1882" y="1883"/>
                    </a:lnTo>
                    <a:lnTo>
                      <a:pt x="1897" y="1864"/>
                    </a:lnTo>
                    <a:lnTo>
                      <a:pt x="1910" y="1842"/>
                    </a:lnTo>
                    <a:lnTo>
                      <a:pt x="1917" y="1818"/>
                    </a:lnTo>
                    <a:lnTo>
                      <a:pt x="1920" y="1792"/>
                    </a:lnTo>
                    <a:lnTo>
                      <a:pt x="1920" y="384"/>
                    </a:lnTo>
                    <a:lnTo>
                      <a:pt x="1917" y="358"/>
                    </a:lnTo>
                    <a:lnTo>
                      <a:pt x="1910" y="334"/>
                    </a:lnTo>
                    <a:lnTo>
                      <a:pt x="1897" y="313"/>
                    </a:lnTo>
                    <a:lnTo>
                      <a:pt x="1882" y="294"/>
                    </a:lnTo>
                    <a:lnTo>
                      <a:pt x="1863" y="278"/>
                    </a:lnTo>
                    <a:lnTo>
                      <a:pt x="1841" y="266"/>
                    </a:lnTo>
                    <a:lnTo>
                      <a:pt x="1817" y="259"/>
                    </a:lnTo>
                    <a:lnTo>
                      <a:pt x="1792" y="256"/>
                    </a:lnTo>
                    <a:lnTo>
                      <a:pt x="0" y="25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sp>
          <p:nvSpPr>
            <p:cNvPr id="179" name="Content Placeholder 1"/>
            <p:cNvSpPr txBox="1">
              <a:spLocks/>
            </p:cNvSpPr>
            <p:nvPr/>
          </p:nvSpPr>
          <p:spPr bwMode="gray">
            <a:xfrm>
              <a:off x="6754879" y="3961816"/>
              <a:ext cx="208390" cy="215444"/>
            </a:xfrm>
            <a:prstGeom prst="rect">
              <a:avLst/>
            </a:prstGeom>
          </p:spPr>
          <p:txBody>
            <a:bodyPr wrap="none" lIns="0" tIns="0" rIns="0" bIns="0">
              <a:spAutoFit/>
            </a:bodyPr>
            <a:lstStyle>
              <a:lvl1pPr marL="228600" indent="-228600" algn="l" defTabSz="457200" rtl="0" eaLnBrk="1" fontAlgn="base" hangingPunct="1">
                <a:spcBef>
                  <a:spcPts val="2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57200" indent="-228600" algn="l" defTabSz="457200" rtl="0" eaLnBrk="1" fontAlgn="base" hangingPunct="1">
                <a:spcBef>
                  <a:spcPts val="2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5800" indent="-228600" algn="l" defTabSz="457200" rtl="0" eaLnBrk="1" fontAlgn="base" hangingPunct="1">
                <a:spcBef>
                  <a:spcPts val="2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8600" algn="l" defTabSz="457200" rtl="0" eaLnBrk="1" fontAlgn="base" hangingPunct="1">
                <a:spcBef>
                  <a:spcPts val="2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43000" indent="-228600" algn="l" defTabSz="457200" rtl="0" eaLnBrk="1" fontAlgn="base" hangingPunct="1">
                <a:spcBef>
                  <a:spcPts val="2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400" dirty="0">
                  <a:latin typeface="Calibri" panose="020F0502020204030204" pitchFamily="34" charset="0"/>
                  <a:cs typeface="Calibri" panose="020F0502020204030204" pitchFamily="34" charset="0"/>
                </a:rPr>
                <a:t>DB</a:t>
              </a:r>
            </a:p>
          </p:txBody>
        </p:sp>
        <p:grpSp>
          <p:nvGrpSpPr>
            <p:cNvPr id="180" name="Group 179"/>
            <p:cNvGrpSpPr/>
            <p:nvPr/>
          </p:nvGrpSpPr>
          <p:grpSpPr>
            <a:xfrm>
              <a:off x="6742393" y="3402562"/>
              <a:ext cx="233363" cy="401637"/>
              <a:chOff x="2641600" y="3975101"/>
              <a:chExt cx="233363" cy="401637"/>
            </a:xfrm>
            <a:solidFill>
              <a:schemeClr val="tx1">
                <a:lumMod val="65000"/>
                <a:lumOff val="35000"/>
              </a:schemeClr>
            </a:solidFill>
          </p:grpSpPr>
          <p:sp>
            <p:nvSpPr>
              <p:cNvPr id="190" name="Freeform 46"/>
              <p:cNvSpPr>
                <a:spLocks/>
              </p:cNvSpPr>
              <p:nvPr/>
            </p:nvSpPr>
            <p:spPr bwMode="auto">
              <a:xfrm>
                <a:off x="2641600" y="3975101"/>
                <a:ext cx="233363" cy="69850"/>
              </a:xfrm>
              <a:custGeom>
                <a:avLst/>
                <a:gdLst>
                  <a:gd name="T0" fmla="*/ 977 w 1910"/>
                  <a:gd name="T1" fmla="*/ 0 h 580"/>
                  <a:gd name="T2" fmla="*/ 1035 w 1910"/>
                  <a:gd name="T3" fmla="*/ 1 h 580"/>
                  <a:gd name="T4" fmla="*/ 1104 w 1910"/>
                  <a:gd name="T5" fmla="*/ 3 h 580"/>
                  <a:gd name="T6" fmla="*/ 1184 w 1910"/>
                  <a:gd name="T7" fmla="*/ 7 h 580"/>
                  <a:gd name="T8" fmla="*/ 1272 w 1910"/>
                  <a:gd name="T9" fmla="*/ 12 h 580"/>
                  <a:gd name="T10" fmla="*/ 1364 w 1910"/>
                  <a:gd name="T11" fmla="*/ 20 h 580"/>
                  <a:gd name="T12" fmla="*/ 1457 w 1910"/>
                  <a:gd name="T13" fmla="*/ 31 h 580"/>
                  <a:gd name="T14" fmla="*/ 1549 w 1910"/>
                  <a:gd name="T15" fmla="*/ 47 h 580"/>
                  <a:gd name="T16" fmla="*/ 1637 w 1910"/>
                  <a:gd name="T17" fmla="*/ 68 h 580"/>
                  <a:gd name="T18" fmla="*/ 1717 w 1910"/>
                  <a:gd name="T19" fmla="*/ 93 h 580"/>
                  <a:gd name="T20" fmla="*/ 1787 w 1910"/>
                  <a:gd name="T21" fmla="*/ 124 h 580"/>
                  <a:gd name="T22" fmla="*/ 1844 w 1910"/>
                  <a:gd name="T23" fmla="*/ 163 h 580"/>
                  <a:gd name="T24" fmla="*/ 1885 w 1910"/>
                  <a:gd name="T25" fmla="*/ 207 h 580"/>
                  <a:gd name="T26" fmla="*/ 1907 w 1910"/>
                  <a:gd name="T27" fmla="*/ 260 h 580"/>
                  <a:gd name="T28" fmla="*/ 1907 w 1910"/>
                  <a:gd name="T29" fmla="*/ 319 h 580"/>
                  <a:gd name="T30" fmla="*/ 1885 w 1910"/>
                  <a:gd name="T31" fmla="*/ 371 h 580"/>
                  <a:gd name="T32" fmla="*/ 1844 w 1910"/>
                  <a:gd name="T33" fmla="*/ 416 h 580"/>
                  <a:gd name="T34" fmla="*/ 1787 w 1910"/>
                  <a:gd name="T35" fmla="*/ 454 h 580"/>
                  <a:gd name="T36" fmla="*/ 1717 w 1910"/>
                  <a:gd name="T37" fmla="*/ 486 h 580"/>
                  <a:gd name="T38" fmla="*/ 1637 w 1910"/>
                  <a:gd name="T39" fmla="*/ 512 h 580"/>
                  <a:gd name="T40" fmla="*/ 1549 w 1910"/>
                  <a:gd name="T41" fmla="*/ 533 h 580"/>
                  <a:gd name="T42" fmla="*/ 1457 w 1910"/>
                  <a:gd name="T43" fmla="*/ 548 h 580"/>
                  <a:gd name="T44" fmla="*/ 1364 w 1910"/>
                  <a:gd name="T45" fmla="*/ 561 h 580"/>
                  <a:gd name="T46" fmla="*/ 1272 w 1910"/>
                  <a:gd name="T47" fmla="*/ 569 h 580"/>
                  <a:gd name="T48" fmla="*/ 1184 w 1910"/>
                  <a:gd name="T49" fmla="*/ 574 h 580"/>
                  <a:gd name="T50" fmla="*/ 1104 w 1910"/>
                  <a:gd name="T51" fmla="*/ 577 h 580"/>
                  <a:gd name="T52" fmla="*/ 1034 w 1910"/>
                  <a:gd name="T53" fmla="*/ 580 h 580"/>
                  <a:gd name="T54" fmla="*/ 977 w 1910"/>
                  <a:gd name="T55" fmla="*/ 580 h 580"/>
                  <a:gd name="T56" fmla="*/ 933 w 1910"/>
                  <a:gd name="T57" fmla="*/ 579 h 580"/>
                  <a:gd name="T58" fmla="*/ 875 w 1910"/>
                  <a:gd name="T59" fmla="*/ 577 h 580"/>
                  <a:gd name="T60" fmla="*/ 806 w 1910"/>
                  <a:gd name="T61" fmla="*/ 576 h 580"/>
                  <a:gd name="T62" fmla="*/ 726 w 1910"/>
                  <a:gd name="T63" fmla="*/ 572 h 580"/>
                  <a:gd name="T64" fmla="*/ 638 w 1910"/>
                  <a:gd name="T65" fmla="*/ 567 h 580"/>
                  <a:gd name="T66" fmla="*/ 546 w 1910"/>
                  <a:gd name="T67" fmla="*/ 559 h 580"/>
                  <a:gd name="T68" fmla="*/ 453 w 1910"/>
                  <a:gd name="T69" fmla="*/ 547 h 580"/>
                  <a:gd name="T70" fmla="*/ 360 w 1910"/>
                  <a:gd name="T71" fmla="*/ 532 h 580"/>
                  <a:gd name="T72" fmla="*/ 273 w 1910"/>
                  <a:gd name="T73" fmla="*/ 511 h 580"/>
                  <a:gd name="T74" fmla="*/ 193 w 1910"/>
                  <a:gd name="T75" fmla="*/ 486 h 580"/>
                  <a:gd name="T76" fmla="*/ 122 w 1910"/>
                  <a:gd name="T77" fmla="*/ 455 h 580"/>
                  <a:gd name="T78" fmla="*/ 66 w 1910"/>
                  <a:gd name="T79" fmla="*/ 416 h 580"/>
                  <a:gd name="T80" fmla="*/ 25 w 1910"/>
                  <a:gd name="T81" fmla="*/ 372 h 580"/>
                  <a:gd name="T82" fmla="*/ 3 w 1910"/>
                  <a:gd name="T83" fmla="*/ 319 h 580"/>
                  <a:gd name="T84" fmla="*/ 3 w 1910"/>
                  <a:gd name="T85" fmla="*/ 260 h 580"/>
                  <a:gd name="T86" fmla="*/ 25 w 1910"/>
                  <a:gd name="T87" fmla="*/ 207 h 580"/>
                  <a:gd name="T88" fmla="*/ 66 w 1910"/>
                  <a:gd name="T89" fmla="*/ 163 h 580"/>
                  <a:gd name="T90" fmla="*/ 122 w 1910"/>
                  <a:gd name="T91" fmla="*/ 124 h 580"/>
                  <a:gd name="T92" fmla="*/ 193 w 1910"/>
                  <a:gd name="T93" fmla="*/ 93 h 580"/>
                  <a:gd name="T94" fmla="*/ 273 w 1910"/>
                  <a:gd name="T95" fmla="*/ 68 h 580"/>
                  <a:gd name="T96" fmla="*/ 360 w 1910"/>
                  <a:gd name="T97" fmla="*/ 47 h 580"/>
                  <a:gd name="T98" fmla="*/ 453 w 1910"/>
                  <a:gd name="T99" fmla="*/ 31 h 580"/>
                  <a:gd name="T100" fmla="*/ 546 w 1910"/>
                  <a:gd name="T101" fmla="*/ 20 h 580"/>
                  <a:gd name="T102" fmla="*/ 638 w 1910"/>
                  <a:gd name="T103" fmla="*/ 12 h 580"/>
                  <a:gd name="T104" fmla="*/ 726 w 1910"/>
                  <a:gd name="T105" fmla="*/ 7 h 580"/>
                  <a:gd name="T106" fmla="*/ 806 w 1910"/>
                  <a:gd name="T107" fmla="*/ 3 h 580"/>
                  <a:gd name="T108" fmla="*/ 875 w 1910"/>
                  <a:gd name="T109" fmla="*/ 1 h 580"/>
                  <a:gd name="T110" fmla="*/ 933 w 1910"/>
                  <a:gd name="T111" fmla="*/ 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10" h="580">
                    <a:moveTo>
                      <a:pt x="956" y="0"/>
                    </a:moveTo>
                    <a:lnTo>
                      <a:pt x="977" y="0"/>
                    </a:lnTo>
                    <a:lnTo>
                      <a:pt x="1004" y="0"/>
                    </a:lnTo>
                    <a:lnTo>
                      <a:pt x="1035" y="1"/>
                    </a:lnTo>
                    <a:lnTo>
                      <a:pt x="1067" y="2"/>
                    </a:lnTo>
                    <a:lnTo>
                      <a:pt x="1104" y="3"/>
                    </a:lnTo>
                    <a:lnTo>
                      <a:pt x="1143" y="4"/>
                    </a:lnTo>
                    <a:lnTo>
                      <a:pt x="1184" y="7"/>
                    </a:lnTo>
                    <a:lnTo>
                      <a:pt x="1227" y="9"/>
                    </a:lnTo>
                    <a:lnTo>
                      <a:pt x="1272" y="12"/>
                    </a:lnTo>
                    <a:lnTo>
                      <a:pt x="1318" y="16"/>
                    </a:lnTo>
                    <a:lnTo>
                      <a:pt x="1364" y="20"/>
                    </a:lnTo>
                    <a:lnTo>
                      <a:pt x="1410" y="25"/>
                    </a:lnTo>
                    <a:lnTo>
                      <a:pt x="1457" y="31"/>
                    </a:lnTo>
                    <a:lnTo>
                      <a:pt x="1504" y="39"/>
                    </a:lnTo>
                    <a:lnTo>
                      <a:pt x="1549" y="47"/>
                    </a:lnTo>
                    <a:lnTo>
                      <a:pt x="1594" y="56"/>
                    </a:lnTo>
                    <a:lnTo>
                      <a:pt x="1637" y="68"/>
                    </a:lnTo>
                    <a:lnTo>
                      <a:pt x="1678" y="79"/>
                    </a:lnTo>
                    <a:lnTo>
                      <a:pt x="1717" y="93"/>
                    </a:lnTo>
                    <a:lnTo>
                      <a:pt x="1754" y="108"/>
                    </a:lnTo>
                    <a:lnTo>
                      <a:pt x="1787" y="124"/>
                    </a:lnTo>
                    <a:lnTo>
                      <a:pt x="1818" y="143"/>
                    </a:lnTo>
                    <a:lnTo>
                      <a:pt x="1844" y="163"/>
                    </a:lnTo>
                    <a:lnTo>
                      <a:pt x="1867" y="183"/>
                    </a:lnTo>
                    <a:lnTo>
                      <a:pt x="1885" y="207"/>
                    </a:lnTo>
                    <a:lnTo>
                      <a:pt x="1899" y="232"/>
                    </a:lnTo>
                    <a:lnTo>
                      <a:pt x="1907" y="260"/>
                    </a:lnTo>
                    <a:lnTo>
                      <a:pt x="1910" y="289"/>
                    </a:lnTo>
                    <a:lnTo>
                      <a:pt x="1907" y="319"/>
                    </a:lnTo>
                    <a:lnTo>
                      <a:pt x="1899" y="346"/>
                    </a:lnTo>
                    <a:lnTo>
                      <a:pt x="1885" y="371"/>
                    </a:lnTo>
                    <a:lnTo>
                      <a:pt x="1867" y="394"/>
                    </a:lnTo>
                    <a:lnTo>
                      <a:pt x="1844" y="416"/>
                    </a:lnTo>
                    <a:lnTo>
                      <a:pt x="1818" y="436"/>
                    </a:lnTo>
                    <a:lnTo>
                      <a:pt x="1787" y="454"/>
                    </a:lnTo>
                    <a:lnTo>
                      <a:pt x="1754" y="470"/>
                    </a:lnTo>
                    <a:lnTo>
                      <a:pt x="1717" y="486"/>
                    </a:lnTo>
                    <a:lnTo>
                      <a:pt x="1678" y="499"/>
                    </a:lnTo>
                    <a:lnTo>
                      <a:pt x="1637" y="512"/>
                    </a:lnTo>
                    <a:lnTo>
                      <a:pt x="1594" y="522"/>
                    </a:lnTo>
                    <a:lnTo>
                      <a:pt x="1549" y="533"/>
                    </a:lnTo>
                    <a:lnTo>
                      <a:pt x="1504" y="541"/>
                    </a:lnTo>
                    <a:lnTo>
                      <a:pt x="1457" y="548"/>
                    </a:lnTo>
                    <a:lnTo>
                      <a:pt x="1410" y="555"/>
                    </a:lnTo>
                    <a:lnTo>
                      <a:pt x="1364" y="561"/>
                    </a:lnTo>
                    <a:lnTo>
                      <a:pt x="1317" y="565"/>
                    </a:lnTo>
                    <a:lnTo>
                      <a:pt x="1272" y="569"/>
                    </a:lnTo>
                    <a:lnTo>
                      <a:pt x="1227" y="572"/>
                    </a:lnTo>
                    <a:lnTo>
                      <a:pt x="1184" y="574"/>
                    </a:lnTo>
                    <a:lnTo>
                      <a:pt x="1143" y="576"/>
                    </a:lnTo>
                    <a:lnTo>
                      <a:pt x="1104" y="577"/>
                    </a:lnTo>
                    <a:lnTo>
                      <a:pt x="1067" y="579"/>
                    </a:lnTo>
                    <a:lnTo>
                      <a:pt x="1034" y="580"/>
                    </a:lnTo>
                    <a:lnTo>
                      <a:pt x="1004" y="580"/>
                    </a:lnTo>
                    <a:lnTo>
                      <a:pt x="977" y="580"/>
                    </a:lnTo>
                    <a:lnTo>
                      <a:pt x="956" y="579"/>
                    </a:lnTo>
                    <a:lnTo>
                      <a:pt x="933" y="579"/>
                    </a:lnTo>
                    <a:lnTo>
                      <a:pt x="906" y="579"/>
                    </a:lnTo>
                    <a:lnTo>
                      <a:pt x="875" y="577"/>
                    </a:lnTo>
                    <a:lnTo>
                      <a:pt x="843" y="577"/>
                    </a:lnTo>
                    <a:lnTo>
                      <a:pt x="806" y="576"/>
                    </a:lnTo>
                    <a:lnTo>
                      <a:pt x="767" y="574"/>
                    </a:lnTo>
                    <a:lnTo>
                      <a:pt x="726" y="572"/>
                    </a:lnTo>
                    <a:lnTo>
                      <a:pt x="683" y="570"/>
                    </a:lnTo>
                    <a:lnTo>
                      <a:pt x="638" y="567"/>
                    </a:lnTo>
                    <a:lnTo>
                      <a:pt x="592" y="563"/>
                    </a:lnTo>
                    <a:lnTo>
                      <a:pt x="546" y="559"/>
                    </a:lnTo>
                    <a:lnTo>
                      <a:pt x="500" y="554"/>
                    </a:lnTo>
                    <a:lnTo>
                      <a:pt x="453" y="547"/>
                    </a:lnTo>
                    <a:lnTo>
                      <a:pt x="406" y="540"/>
                    </a:lnTo>
                    <a:lnTo>
                      <a:pt x="360" y="532"/>
                    </a:lnTo>
                    <a:lnTo>
                      <a:pt x="316" y="522"/>
                    </a:lnTo>
                    <a:lnTo>
                      <a:pt x="273" y="511"/>
                    </a:lnTo>
                    <a:lnTo>
                      <a:pt x="232" y="499"/>
                    </a:lnTo>
                    <a:lnTo>
                      <a:pt x="193" y="486"/>
                    </a:lnTo>
                    <a:lnTo>
                      <a:pt x="156" y="471"/>
                    </a:lnTo>
                    <a:lnTo>
                      <a:pt x="122" y="455"/>
                    </a:lnTo>
                    <a:lnTo>
                      <a:pt x="92" y="436"/>
                    </a:lnTo>
                    <a:lnTo>
                      <a:pt x="66" y="416"/>
                    </a:lnTo>
                    <a:lnTo>
                      <a:pt x="43" y="395"/>
                    </a:lnTo>
                    <a:lnTo>
                      <a:pt x="25" y="372"/>
                    </a:lnTo>
                    <a:lnTo>
                      <a:pt x="11" y="347"/>
                    </a:lnTo>
                    <a:lnTo>
                      <a:pt x="3" y="319"/>
                    </a:lnTo>
                    <a:lnTo>
                      <a:pt x="0" y="289"/>
                    </a:lnTo>
                    <a:lnTo>
                      <a:pt x="3" y="260"/>
                    </a:lnTo>
                    <a:lnTo>
                      <a:pt x="11" y="232"/>
                    </a:lnTo>
                    <a:lnTo>
                      <a:pt x="25" y="207"/>
                    </a:lnTo>
                    <a:lnTo>
                      <a:pt x="43" y="183"/>
                    </a:lnTo>
                    <a:lnTo>
                      <a:pt x="66" y="163"/>
                    </a:lnTo>
                    <a:lnTo>
                      <a:pt x="92" y="143"/>
                    </a:lnTo>
                    <a:lnTo>
                      <a:pt x="122" y="124"/>
                    </a:lnTo>
                    <a:lnTo>
                      <a:pt x="156" y="108"/>
                    </a:lnTo>
                    <a:lnTo>
                      <a:pt x="193" y="93"/>
                    </a:lnTo>
                    <a:lnTo>
                      <a:pt x="232" y="79"/>
                    </a:lnTo>
                    <a:lnTo>
                      <a:pt x="273" y="68"/>
                    </a:lnTo>
                    <a:lnTo>
                      <a:pt x="316" y="56"/>
                    </a:lnTo>
                    <a:lnTo>
                      <a:pt x="360" y="47"/>
                    </a:lnTo>
                    <a:lnTo>
                      <a:pt x="406" y="39"/>
                    </a:lnTo>
                    <a:lnTo>
                      <a:pt x="453" y="31"/>
                    </a:lnTo>
                    <a:lnTo>
                      <a:pt x="500" y="25"/>
                    </a:lnTo>
                    <a:lnTo>
                      <a:pt x="546" y="20"/>
                    </a:lnTo>
                    <a:lnTo>
                      <a:pt x="592" y="16"/>
                    </a:lnTo>
                    <a:lnTo>
                      <a:pt x="638" y="12"/>
                    </a:lnTo>
                    <a:lnTo>
                      <a:pt x="683" y="9"/>
                    </a:lnTo>
                    <a:lnTo>
                      <a:pt x="726" y="7"/>
                    </a:lnTo>
                    <a:lnTo>
                      <a:pt x="767" y="4"/>
                    </a:lnTo>
                    <a:lnTo>
                      <a:pt x="806" y="3"/>
                    </a:lnTo>
                    <a:lnTo>
                      <a:pt x="843" y="2"/>
                    </a:lnTo>
                    <a:lnTo>
                      <a:pt x="875" y="1"/>
                    </a:lnTo>
                    <a:lnTo>
                      <a:pt x="906" y="0"/>
                    </a:lnTo>
                    <a:lnTo>
                      <a:pt x="933" y="0"/>
                    </a:lnTo>
                    <a:lnTo>
                      <a:pt x="9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91" name="Freeform 47"/>
              <p:cNvSpPr>
                <a:spLocks/>
              </p:cNvSpPr>
              <p:nvPr/>
            </p:nvSpPr>
            <p:spPr bwMode="auto">
              <a:xfrm>
                <a:off x="2641600" y="4035426"/>
                <a:ext cx="233363" cy="120650"/>
              </a:xfrm>
              <a:custGeom>
                <a:avLst/>
                <a:gdLst>
                  <a:gd name="T0" fmla="*/ 1910 w 1910"/>
                  <a:gd name="T1" fmla="*/ 795 h 985"/>
                  <a:gd name="T2" fmla="*/ 1908 w 1910"/>
                  <a:gd name="T3" fmla="*/ 796 h 985"/>
                  <a:gd name="T4" fmla="*/ 1904 w 1910"/>
                  <a:gd name="T5" fmla="*/ 799 h 985"/>
                  <a:gd name="T6" fmla="*/ 1901 w 1910"/>
                  <a:gd name="T7" fmla="*/ 802 h 985"/>
                  <a:gd name="T8" fmla="*/ 1899 w 1910"/>
                  <a:gd name="T9" fmla="*/ 803 h 985"/>
                  <a:gd name="T10" fmla="*/ 1817 w 1910"/>
                  <a:gd name="T11" fmla="*/ 853 h 985"/>
                  <a:gd name="T12" fmla="*/ 1718 w 1910"/>
                  <a:gd name="T13" fmla="*/ 894 h 985"/>
                  <a:gd name="T14" fmla="*/ 1607 w 1910"/>
                  <a:gd name="T15" fmla="*/ 925 h 985"/>
                  <a:gd name="T16" fmla="*/ 1490 w 1910"/>
                  <a:gd name="T17" fmla="*/ 948 h 985"/>
                  <a:gd name="T18" fmla="*/ 1372 w 1910"/>
                  <a:gd name="T19" fmla="*/ 965 h 985"/>
                  <a:gd name="T20" fmla="*/ 1257 w 1910"/>
                  <a:gd name="T21" fmla="*/ 975 h 985"/>
                  <a:gd name="T22" fmla="*/ 1151 w 1910"/>
                  <a:gd name="T23" fmla="*/ 982 h 985"/>
                  <a:gd name="T24" fmla="*/ 1057 w 1910"/>
                  <a:gd name="T25" fmla="*/ 984 h 985"/>
                  <a:gd name="T26" fmla="*/ 982 w 1910"/>
                  <a:gd name="T27" fmla="*/ 985 h 985"/>
                  <a:gd name="T28" fmla="*/ 927 w 1910"/>
                  <a:gd name="T29" fmla="*/ 984 h 985"/>
                  <a:gd name="T30" fmla="*/ 856 w 1910"/>
                  <a:gd name="T31" fmla="*/ 983 h 985"/>
                  <a:gd name="T32" fmla="*/ 769 w 1910"/>
                  <a:gd name="T33" fmla="*/ 980 h 985"/>
                  <a:gd name="T34" fmla="*/ 669 w 1910"/>
                  <a:gd name="T35" fmla="*/ 975 h 985"/>
                  <a:gd name="T36" fmla="*/ 560 w 1910"/>
                  <a:gd name="T37" fmla="*/ 966 h 985"/>
                  <a:gd name="T38" fmla="*/ 449 w 1910"/>
                  <a:gd name="T39" fmla="*/ 952 h 985"/>
                  <a:gd name="T40" fmla="*/ 337 w 1910"/>
                  <a:gd name="T41" fmla="*/ 932 h 985"/>
                  <a:gd name="T42" fmla="*/ 229 w 1910"/>
                  <a:gd name="T43" fmla="*/ 906 h 985"/>
                  <a:gd name="T44" fmla="*/ 129 w 1910"/>
                  <a:gd name="T45" fmla="*/ 872 h 985"/>
                  <a:gd name="T46" fmla="*/ 44 w 1910"/>
                  <a:gd name="T47" fmla="*/ 828 h 985"/>
                  <a:gd name="T48" fmla="*/ 2 w 1910"/>
                  <a:gd name="T49" fmla="*/ 803 h 985"/>
                  <a:gd name="T50" fmla="*/ 0 w 1910"/>
                  <a:gd name="T51" fmla="*/ 798 h 985"/>
                  <a:gd name="T52" fmla="*/ 36 w 1910"/>
                  <a:gd name="T53" fmla="*/ 27 h 985"/>
                  <a:gd name="T54" fmla="*/ 121 w 1910"/>
                  <a:gd name="T55" fmla="*/ 71 h 985"/>
                  <a:gd name="T56" fmla="*/ 220 w 1910"/>
                  <a:gd name="T57" fmla="*/ 107 h 985"/>
                  <a:gd name="T58" fmla="*/ 328 w 1910"/>
                  <a:gd name="T59" fmla="*/ 134 h 985"/>
                  <a:gd name="T60" fmla="*/ 441 w 1910"/>
                  <a:gd name="T61" fmla="*/ 153 h 985"/>
                  <a:gd name="T62" fmla="*/ 555 w 1910"/>
                  <a:gd name="T63" fmla="*/ 168 h 985"/>
                  <a:gd name="T64" fmla="*/ 665 w 1910"/>
                  <a:gd name="T65" fmla="*/ 177 h 985"/>
                  <a:gd name="T66" fmla="*/ 767 w 1910"/>
                  <a:gd name="T67" fmla="*/ 183 h 985"/>
                  <a:gd name="T68" fmla="*/ 855 w 1910"/>
                  <a:gd name="T69" fmla="*/ 186 h 985"/>
                  <a:gd name="T70" fmla="*/ 926 w 1910"/>
                  <a:gd name="T71" fmla="*/ 187 h 985"/>
                  <a:gd name="T72" fmla="*/ 981 w 1910"/>
                  <a:gd name="T73" fmla="*/ 188 h 985"/>
                  <a:gd name="T74" fmla="*/ 1052 w 1910"/>
                  <a:gd name="T75" fmla="*/ 188 h 985"/>
                  <a:gd name="T76" fmla="*/ 1141 w 1910"/>
                  <a:gd name="T77" fmla="*/ 185 h 985"/>
                  <a:gd name="T78" fmla="*/ 1242 w 1910"/>
                  <a:gd name="T79" fmla="*/ 179 h 985"/>
                  <a:gd name="T80" fmla="*/ 1352 w 1910"/>
                  <a:gd name="T81" fmla="*/ 170 h 985"/>
                  <a:gd name="T82" fmla="*/ 1466 w 1910"/>
                  <a:gd name="T83" fmla="*/ 154 h 985"/>
                  <a:gd name="T84" fmla="*/ 1578 w 1910"/>
                  <a:gd name="T85" fmla="*/ 134 h 985"/>
                  <a:gd name="T86" fmla="*/ 1687 w 1910"/>
                  <a:gd name="T87" fmla="*/ 107 h 985"/>
                  <a:gd name="T88" fmla="*/ 1786 w 1910"/>
                  <a:gd name="T89" fmla="*/ 70 h 985"/>
                  <a:gd name="T90" fmla="*/ 1871 w 1910"/>
                  <a:gd name="T91" fmla="*/ 26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10" h="985">
                    <a:moveTo>
                      <a:pt x="1908" y="0"/>
                    </a:moveTo>
                    <a:lnTo>
                      <a:pt x="1910" y="795"/>
                    </a:lnTo>
                    <a:lnTo>
                      <a:pt x="1909" y="795"/>
                    </a:lnTo>
                    <a:lnTo>
                      <a:pt x="1908" y="796"/>
                    </a:lnTo>
                    <a:lnTo>
                      <a:pt x="1906" y="797"/>
                    </a:lnTo>
                    <a:lnTo>
                      <a:pt x="1904" y="799"/>
                    </a:lnTo>
                    <a:lnTo>
                      <a:pt x="1903" y="800"/>
                    </a:lnTo>
                    <a:lnTo>
                      <a:pt x="1901" y="802"/>
                    </a:lnTo>
                    <a:lnTo>
                      <a:pt x="1900" y="803"/>
                    </a:lnTo>
                    <a:lnTo>
                      <a:pt x="1899" y="803"/>
                    </a:lnTo>
                    <a:lnTo>
                      <a:pt x="1861" y="829"/>
                    </a:lnTo>
                    <a:lnTo>
                      <a:pt x="1817" y="853"/>
                    </a:lnTo>
                    <a:lnTo>
                      <a:pt x="1769" y="875"/>
                    </a:lnTo>
                    <a:lnTo>
                      <a:pt x="1718" y="894"/>
                    </a:lnTo>
                    <a:lnTo>
                      <a:pt x="1664" y="911"/>
                    </a:lnTo>
                    <a:lnTo>
                      <a:pt x="1607" y="925"/>
                    </a:lnTo>
                    <a:lnTo>
                      <a:pt x="1550" y="938"/>
                    </a:lnTo>
                    <a:lnTo>
                      <a:pt x="1490" y="948"/>
                    </a:lnTo>
                    <a:lnTo>
                      <a:pt x="1431" y="957"/>
                    </a:lnTo>
                    <a:lnTo>
                      <a:pt x="1372" y="965"/>
                    </a:lnTo>
                    <a:lnTo>
                      <a:pt x="1314" y="971"/>
                    </a:lnTo>
                    <a:lnTo>
                      <a:pt x="1257" y="975"/>
                    </a:lnTo>
                    <a:lnTo>
                      <a:pt x="1202" y="979"/>
                    </a:lnTo>
                    <a:lnTo>
                      <a:pt x="1151" y="982"/>
                    </a:lnTo>
                    <a:lnTo>
                      <a:pt x="1102" y="983"/>
                    </a:lnTo>
                    <a:lnTo>
                      <a:pt x="1057" y="984"/>
                    </a:lnTo>
                    <a:lnTo>
                      <a:pt x="1017" y="985"/>
                    </a:lnTo>
                    <a:lnTo>
                      <a:pt x="982" y="985"/>
                    </a:lnTo>
                    <a:lnTo>
                      <a:pt x="953" y="984"/>
                    </a:lnTo>
                    <a:lnTo>
                      <a:pt x="927" y="984"/>
                    </a:lnTo>
                    <a:lnTo>
                      <a:pt x="894" y="983"/>
                    </a:lnTo>
                    <a:lnTo>
                      <a:pt x="856" y="983"/>
                    </a:lnTo>
                    <a:lnTo>
                      <a:pt x="815" y="982"/>
                    </a:lnTo>
                    <a:lnTo>
                      <a:pt x="769" y="980"/>
                    </a:lnTo>
                    <a:lnTo>
                      <a:pt x="720" y="978"/>
                    </a:lnTo>
                    <a:lnTo>
                      <a:pt x="669" y="975"/>
                    </a:lnTo>
                    <a:lnTo>
                      <a:pt x="616" y="971"/>
                    </a:lnTo>
                    <a:lnTo>
                      <a:pt x="560" y="966"/>
                    </a:lnTo>
                    <a:lnTo>
                      <a:pt x="505" y="959"/>
                    </a:lnTo>
                    <a:lnTo>
                      <a:pt x="449" y="952"/>
                    </a:lnTo>
                    <a:lnTo>
                      <a:pt x="392" y="943"/>
                    </a:lnTo>
                    <a:lnTo>
                      <a:pt x="337" y="932"/>
                    </a:lnTo>
                    <a:lnTo>
                      <a:pt x="281" y="920"/>
                    </a:lnTo>
                    <a:lnTo>
                      <a:pt x="229" y="906"/>
                    </a:lnTo>
                    <a:lnTo>
                      <a:pt x="178" y="890"/>
                    </a:lnTo>
                    <a:lnTo>
                      <a:pt x="129" y="872"/>
                    </a:lnTo>
                    <a:lnTo>
                      <a:pt x="85" y="851"/>
                    </a:lnTo>
                    <a:lnTo>
                      <a:pt x="44" y="828"/>
                    </a:lnTo>
                    <a:lnTo>
                      <a:pt x="7" y="803"/>
                    </a:lnTo>
                    <a:lnTo>
                      <a:pt x="2" y="803"/>
                    </a:lnTo>
                    <a:lnTo>
                      <a:pt x="1" y="39"/>
                    </a:lnTo>
                    <a:lnTo>
                      <a:pt x="0" y="798"/>
                    </a:lnTo>
                    <a:lnTo>
                      <a:pt x="0" y="1"/>
                    </a:lnTo>
                    <a:lnTo>
                      <a:pt x="36" y="27"/>
                    </a:lnTo>
                    <a:lnTo>
                      <a:pt x="77" y="50"/>
                    </a:lnTo>
                    <a:lnTo>
                      <a:pt x="121" y="71"/>
                    </a:lnTo>
                    <a:lnTo>
                      <a:pt x="169" y="90"/>
                    </a:lnTo>
                    <a:lnTo>
                      <a:pt x="220" y="107"/>
                    </a:lnTo>
                    <a:lnTo>
                      <a:pt x="273" y="121"/>
                    </a:lnTo>
                    <a:lnTo>
                      <a:pt x="328" y="134"/>
                    </a:lnTo>
                    <a:lnTo>
                      <a:pt x="385" y="144"/>
                    </a:lnTo>
                    <a:lnTo>
                      <a:pt x="441" y="153"/>
                    </a:lnTo>
                    <a:lnTo>
                      <a:pt x="499" y="162"/>
                    </a:lnTo>
                    <a:lnTo>
                      <a:pt x="555" y="168"/>
                    </a:lnTo>
                    <a:lnTo>
                      <a:pt x="611" y="173"/>
                    </a:lnTo>
                    <a:lnTo>
                      <a:pt x="665" y="177"/>
                    </a:lnTo>
                    <a:lnTo>
                      <a:pt x="717" y="180"/>
                    </a:lnTo>
                    <a:lnTo>
                      <a:pt x="767" y="183"/>
                    </a:lnTo>
                    <a:lnTo>
                      <a:pt x="813" y="185"/>
                    </a:lnTo>
                    <a:lnTo>
                      <a:pt x="855" y="186"/>
                    </a:lnTo>
                    <a:lnTo>
                      <a:pt x="893" y="187"/>
                    </a:lnTo>
                    <a:lnTo>
                      <a:pt x="926" y="187"/>
                    </a:lnTo>
                    <a:lnTo>
                      <a:pt x="953" y="188"/>
                    </a:lnTo>
                    <a:lnTo>
                      <a:pt x="981" y="188"/>
                    </a:lnTo>
                    <a:lnTo>
                      <a:pt x="1014" y="188"/>
                    </a:lnTo>
                    <a:lnTo>
                      <a:pt x="1052" y="188"/>
                    </a:lnTo>
                    <a:lnTo>
                      <a:pt x="1095" y="187"/>
                    </a:lnTo>
                    <a:lnTo>
                      <a:pt x="1141" y="185"/>
                    </a:lnTo>
                    <a:lnTo>
                      <a:pt x="1191" y="183"/>
                    </a:lnTo>
                    <a:lnTo>
                      <a:pt x="1242" y="179"/>
                    </a:lnTo>
                    <a:lnTo>
                      <a:pt x="1296" y="175"/>
                    </a:lnTo>
                    <a:lnTo>
                      <a:pt x="1352" y="170"/>
                    </a:lnTo>
                    <a:lnTo>
                      <a:pt x="1408" y="163"/>
                    </a:lnTo>
                    <a:lnTo>
                      <a:pt x="1466" y="154"/>
                    </a:lnTo>
                    <a:lnTo>
                      <a:pt x="1523" y="145"/>
                    </a:lnTo>
                    <a:lnTo>
                      <a:pt x="1578" y="134"/>
                    </a:lnTo>
                    <a:lnTo>
                      <a:pt x="1634" y="121"/>
                    </a:lnTo>
                    <a:lnTo>
                      <a:pt x="1687" y="107"/>
                    </a:lnTo>
                    <a:lnTo>
                      <a:pt x="1739" y="89"/>
                    </a:lnTo>
                    <a:lnTo>
                      <a:pt x="1786" y="70"/>
                    </a:lnTo>
                    <a:lnTo>
                      <a:pt x="1831" y="49"/>
                    </a:lnTo>
                    <a:lnTo>
                      <a:pt x="1871" y="26"/>
                    </a:lnTo>
                    <a:lnTo>
                      <a:pt x="19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92" name="Freeform 48"/>
              <p:cNvSpPr>
                <a:spLocks/>
              </p:cNvSpPr>
              <p:nvPr/>
            </p:nvSpPr>
            <p:spPr bwMode="auto">
              <a:xfrm>
                <a:off x="2641600" y="4146551"/>
                <a:ext cx="233363" cy="120650"/>
              </a:xfrm>
              <a:custGeom>
                <a:avLst/>
                <a:gdLst>
                  <a:gd name="T0" fmla="*/ 1910 w 1910"/>
                  <a:gd name="T1" fmla="*/ 795 h 986"/>
                  <a:gd name="T2" fmla="*/ 1908 w 1910"/>
                  <a:gd name="T3" fmla="*/ 796 h 986"/>
                  <a:gd name="T4" fmla="*/ 1904 w 1910"/>
                  <a:gd name="T5" fmla="*/ 799 h 986"/>
                  <a:gd name="T6" fmla="*/ 1901 w 1910"/>
                  <a:gd name="T7" fmla="*/ 803 h 986"/>
                  <a:gd name="T8" fmla="*/ 1899 w 1910"/>
                  <a:gd name="T9" fmla="*/ 805 h 986"/>
                  <a:gd name="T10" fmla="*/ 1817 w 1910"/>
                  <a:gd name="T11" fmla="*/ 855 h 986"/>
                  <a:gd name="T12" fmla="*/ 1718 w 1910"/>
                  <a:gd name="T13" fmla="*/ 894 h 986"/>
                  <a:gd name="T14" fmla="*/ 1607 w 1910"/>
                  <a:gd name="T15" fmla="*/ 925 h 986"/>
                  <a:gd name="T16" fmla="*/ 1490 w 1910"/>
                  <a:gd name="T17" fmla="*/ 949 h 986"/>
                  <a:gd name="T18" fmla="*/ 1372 w 1910"/>
                  <a:gd name="T19" fmla="*/ 965 h 986"/>
                  <a:gd name="T20" fmla="*/ 1257 w 1910"/>
                  <a:gd name="T21" fmla="*/ 976 h 986"/>
                  <a:gd name="T22" fmla="*/ 1151 w 1910"/>
                  <a:gd name="T23" fmla="*/ 983 h 986"/>
                  <a:gd name="T24" fmla="*/ 1057 w 1910"/>
                  <a:gd name="T25" fmla="*/ 985 h 986"/>
                  <a:gd name="T26" fmla="*/ 982 w 1910"/>
                  <a:gd name="T27" fmla="*/ 986 h 986"/>
                  <a:gd name="T28" fmla="*/ 927 w 1910"/>
                  <a:gd name="T29" fmla="*/ 985 h 986"/>
                  <a:gd name="T30" fmla="*/ 856 w 1910"/>
                  <a:gd name="T31" fmla="*/ 984 h 986"/>
                  <a:gd name="T32" fmla="*/ 769 w 1910"/>
                  <a:gd name="T33" fmla="*/ 980 h 986"/>
                  <a:gd name="T34" fmla="*/ 669 w 1910"/>
                  <a:gd name="T35" fmla="*/ 975 h 986"/>
                  <a:gd name="T36" fmla="*/ 560 w 1910"/>
                  <a:gd name="T37" fmla="*/ 966 h 986"/>
                  <a:gd name="T38" fmla="*/ 449 w 1910"/>
                  <a:gd name="T39" fmla="*/ 952 h 986"/>
                  <a:gd name="T40" fmla="*/ 337 w 1910"/>
                  <a:gd name="T41" fmla="*/ 933 h 986"/>
                  <a:gd name="T42" fmla="*/ 229 w 1910"/>
                  <a:gd name="T43" fmla="*/ 907 h 986"/>
                  <a:gd name="T44" fmla="*/ 129 w 1910"/>
                  <a:gd name="T45" fmla="*/ 872 h 986"/>
                  <a:gd name="T46" fmla="*/ 44 w 1910"/>
                  <a:gd name="T47" fmla="*/ 830 h 986"/>
                  <a:gd name="T48" fmla="*/ 2 w 1910"/>
                  <a:gd name="T49" fmla="*/ 805 h 986"/>
                  <a:gd name="T50" fmla="*/ 0 w 1910"/>
                  <a:gd name="T51" fmla="*/ 798 h 986"/>
                  <a:gd name="T52" fmla="*/ 36 w 1910"/>
                  <a:gd name="T53" fmla="*/ 27 h 986"/>
                  <a:gd name="T54" fmla="*/ 121 w 1910"/>
                  <a:gd name="T55" fmla="*/ 71 h 986"/>
                  <a:gd name="T56" fmla="*/ 220 w 1910"/>
                  <a:gd name="T57" fmla="*/ 107 h 986"/>
                  <a:gd name="T58" fmla="*/ 328 w 1910"/>
                  <a:gd name="T59" fmla="*/ 134 h 986"/>
                  <a:gd name="T60" fmla="*/ 441 w 1910"/>
                  <a:gd name="T61" fmla="*/ 154 h 986"/>
                  <a:gd name="T62" fmla="*/ 555 w 1910"/>
                  <a:gd name="T63" fmla="*/ 168 h 986"/>
                  <a:gd name="T64" fmla="*/ 665 w 1910"/>
                  <a:gd name="T65" fmla="*/ 178 h 986"/>
                  <a:gd name="T66" fmla="*/ 767 w 1910"/>
                  <a:gd name="T67" fmla="*/ 183 h 986"/>
                  <a:gd name="T68" fmla="*/ 855 w 1910"/>
                  <a:gd name="T69" fmla="*/ 186 h 986"/>
                  <a:gd name="T70" fmla="*/ 926 w 1910"/>
                  <a:gd name="T71" fmla="*/ 188 h 986"/>
                  <a:gd name="T72" fmla="*/ 981 w 1910"/>
                  <a:gd name="T73" fmla="*/ 188 h 986"/>
                  <a:gd name="T74" fmla="*/ 1052 w 1910"/>
                  <a:gd name="T75" fmla="*/ 188 h 986"/>
                  <a:gd name="T76" fmla="*/ 1141 w 1910"/>
                  <a:gd name="T77" fmla="*/ 185 h 986"/>
                  <a:gd name="T78" fmla="*/ 1242 w 1910"/>
                  <a:gd name="T79" fmla="*/ 180 h 986"/>
                  <a:gd name="T80" fmla="*/ 1352 w 1910"/>
                  <a:gd name="T81" fmla="*/ 170 h 986"/>
                  <a:gd name="T82" fmla="*/ 1466 w 1910"/>
                  <a:gd name="T83" fmla="*/ 156 h 986"/>
                  <a:gd name="T84" fmla="*/ 1578 w 1910"/>
                  <a:gd name="T85" fmla="*/ 135 h 986"/>
                  <a:gd name="T86" fmla="*/ 1687 w 1910"/>
                  <a:gd name="T87" fmla="*/ 107 h 986"/>
                  <a:gd name="T88" fmla="*/ 1786 w 1910"/>
                  <a:gd name="T89" fmla="*/ 70 h 986"/>
                  <a:gd name="T90" fmla="*/ 1871 w 1910"/>
                  <a:gd name="T91" fmla="*/ 2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10" h="986">
                    <a:moveTo>
                      <a:pt x="1908" y="0"/>
                    </a:moveTo>
                    <a:lnTo>
                      <a:pt x="1910" y="795"/>
                    </a:lnTo>
                    <a:lnTo>
                      <a:pt x="1909" y="795"/>
                    </a:lnTo>
                    <a:lnTo>
                      <a:pt x="1908" y="796"/>
                    </a:lnTo>
                    <a:lnTo>
                      <a:pt x="1906" y="798"/>
                    </a:lnTo>
                    <a:lnTo>
                      <a:pt x="1904" y="799"/>
                    </a:lnTo>
                    <a:lnTo>
                      <a:pt x="1903" y="802"/>
                    </a:lnTo>
                    <a:lnTo>
                      <a:pt x="1901" y="803"/>
                    </a:lnTo>
                    <a:lnTo>
                      <a:pt x="1900" y="804"/>
                    </a:lnTo>
                    <a:lnTo>
                      <a:pt x="1899" y="805"/>
                    </a:lnTo>
                    <a:lnTo>
                      <a:pt x="1861" y="831"/>
                    </a:lnTo>
                    <a:lnTo>
                      <a:pt x="1817" y="855"/>
                    </a:lnTo>
                    <a:lnTo>
                      <a:pt x="1769" y="875"/>
                    </a:lnTo>
                    <a:lnTo>
                      <a:pt x="1718" y="894"/>
                    </a:lnTo>
                    <a:lnTo>
                      <a:pt x="1664" y="911"/>
                    </a:lnTo>
                    <a:lnTo>
                      <a:pt x="1607" y="925"/>
                    </a:lnTo>
                    <a:lnTo>
                      <a:pt x="1550" y="938"/>
                    </a:lnTo>
                    <a:lnTo>
                      <a:pt x="1490" y="949"/>
                    </a:lnTo>
                    <a:lnTo>
                      <a:pt x="1431" y="958"/>
                    </a:lnTo>
                    <a:lnTo>
                      <a:pt x="1372" y="965"/>
                    </a:lnTo>
                    <a:lnTo>
                      <a:pt x="1314" y="971"/>
                    </a:lnTo>
                    <a:lnTo>
                      <a:pt x="1257" y="976"/>
                    </a:lnTo>
                    <a:lnTo>
                      <a:pt x="1202" y="979"/>
                    </a:lnTo>
                    <a:lnTo>
                      <a:pt x="1151" y="983"/>
                    </a:lnTo>
                    <a:lnTo>
                      <a:pt x="1102" y="984"/>
                    </a:lnTo>
                    <a:lnTo>
                      <a:pt x="1057" y="985"/>
                    </a:lnTo>
                    <a:lnTo>
                      <a:pt x="1017" y="986"/>
                    </a:lnTo>
                    <a:lnTo>
                      <a:pt x="982" y="986"/>
                    </a:lnTo>
                    <a:lnTo>
                      <a:pt x="953" y="985"/>
                    </a:lnTo>
                    <a:lnTo>
                      <a:pt x="927" y="985"/>
                    </a:lnTo>
                    <a:lnTo>
                      <a:pt x="894" y="985"/>
                    </a:lnTo>
                    <a:lnTo>
                      <a:pt x="856" y="984"/>
                    </a:lnTo>
                    <a:lnTo>
                      <a:pt x="815" y="983"/>
                    </a:lnTo>
                    <a:lnTo>
                      <a:pt x="769" y="980"/>
                    </a:lnTo>
                    <a:lnTo>
                      <a:pt x="720" y="978"/>
                    </a:lnTo>
                    <a:lnTo>
                      <a:pt x="669" y="975"/>
                    </a:lnTo>
                    <a:lnTo>
                      <a:pt x="616" y="971"/>
                    </a:lnTo>
                    <a:lnTo>
                      <a:pt x="560" y="966"/>
                    </a:lnTo>
                    <a:lnTo>
                      <a:pt x="505" y="960"/>
                    </a:lnTo>
                    <a:lnTo>
                      <a:pt x="449" y="952"/>
                    </a:lnTo>
                    <a:lnTo>
                      <a:pt x="392" y="943"/>
                    </a:lnTo>
                    <a:lnTo>
                      <a:pt x="337" y="933"/>
                    </a:lnTo>
                    <a:lnTo>
                      <a:pt x="281" y="920"/>
                    </a:lnTo>
                    <a:lnTo>
                      <a:pt x="229" y="907"/>
                    </a:lnTo>
                    <a:lnTo>
                      <a:pt x="178" y="891"/>
                    </a:lnTo>
                    <a:lnTo>
                      <a:pt x="129" y="872"/>
                    </a:lnTo>
                    <a:lnTo>
                      <a:pt x="85" y="853"/>
                    </a:lnTo>
                    <a:lnTo>
                      <a:pt x="44" y="830"/>
                    </a:lnTo>
                    <a:lnTo>
                      <a:pt x="7" y="805"/>
                    </a:lnTo>
                    <a:lnTo>
                      <a:pt x="2" y="805"/>
                    </a:lnTo>
                    <a:lnTo>
                      <a:pt x="1" y="39"/>
                    </a:lnTo>
                    <a:lnTo>
                      <a:pt x="0" y="798"/>
                    </a:lnTo>
                    <a:lnTo>
                      <a:pt x="0" y="1"/>
                    </a:lnTo>
                    <a:lnTo>
                      <a:pt x="36" y="27"/>
                    </a:lnTo>
                    <a:lnTo>
                      <a:pt x="77" y="51"/>
                    </a:lnTo>
                    <a:lnTo>
                      <a:pt x="121" y="71"/>
                    </a:lnTo>
                    <a:lnTo>
                      <a:pt x="169" y="90"/>
                    </a:lnTo>
                    <a:lnTo>
                      <a:pt x="220" y="107"/>
                    </a:lnTo>
                    <a:lnTo>
                      <a:pt x="273" y="121"/>
                    </a:lnTo>
                    <a:lnTo>
                      <a:pt x="328" y="134"/>
                    </a:lnTo>
                    <a:lnTo>
                      <a:pt x="385" y="144"/>
                    </a:lnTo>
                    <a:lnTo>
                      <a:pt x="441" y="154"/>
                    </a:lnTo>
                    <a:lnTo>
                      <a:pt x="499" y="162"/>
                    </a:lnTo>
                    <a:lnTo>
                      <a:pt x="555" y="168"/>
                    </a:lnTo>
                    <a:lnTo>
                      <a:pt x="611" y="173"/>
                    </a:lnTo>
                    <a:lnTo>
                      <a:pt x="665" y="178"/>
                    </a:lnTo>
                    <a:lnTo>
                      <a:pt x="717" y="181"/>
                    </a:lnTo>
                    <a:lnTo>
                      <a:pt x="767" y="183"/>
                    </a:lnTo>
                    <a:lnTo>
                      <a:pt x="813" y="185"/>
                    </a:lnTo>
                    <a:lnTo>
                      <a:pt x="855" y="186"/>
                    </a:lnTo>
                    <a:lnTo>
                      <a:pt x="893" y="187"/>
                    </a:lnTo>
                    <a:lnTo>
                      <a:pt x="926" y="188"/>
                    </a:lnTo>
                    <a:lnTo>
                      <a:pt x="953" y="188"/>
                    </a:lnTo>
                    <a:lnTo>
                      <a:pt x="981" y="188"/>
                    </a:lnTo>
                    <a:lnTo>
                      <a:pt x="1014" y="188"/>
                    </a:lnTo>
                    <a:lnTo>
                      <a:pt x="1052" y="188"/>
                    </a:lnTo>
                    <a:lnTo>
                      <a:pt x="1095" y="187"/>
                    </a:lnTo>
                    <a:lnTo>
                      <a:pt x="1141" y="185"/>
                    </a:lnTo>
                    <a:lnTo>
                      <a:pt x="1191" y="183"/>
                    </a:lnTo>
                    <a:lnTo>
                      <a:pt x="1242" y="180"/>
                    </a:lnTo>
                    <a:lnTo>
                      <a:pt x="1296" y="175"/>
                    </a:lnTo>
                    <a:lnTo>
                      <a:pt x="1352" y="170"/>
                    </a:lnTo>
                    <a:lnTo>
                      <a:pt x="1408" y="163"/>
                    </a:lnTo>
                    <a:lnTo>
                      <a:pt x="1466" y="156"/>
                    </a:lnTo>
                    <a:lnTo>
                      <a:pt x="1523" y="145"/>
                    </a:lnTo>
                    <a:lnTo>
                      <a:pt x="1578" y="135"/>
                    </a:lnTo>
                    <a:lnTo>
                      <a:pt x="1634" y="121"/>
                    </a:lnTo>
                    <a:lnTo>
                      <a:pt x="1687" y="107"/>
                    </a:lnTo>
                    <a:lnTo>
                      <a:pt x="1739" y="90"/>
                    </a:lnTo>
                    <a:lnTo>
                      <a:pt x="1786" y="70"/>
                    </a:lnTo>
                    <a:lnTo>
                      <a:pt x="1831" y="50"/>
                    </a:lnTo>
                    <a:lnTo>
                      <a:pt x="1871" y="26"/>
                    </a:lnTo>
                    <a:lnTo>
                      <a:pt x="19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93" name="Freeform 49"/>
              <p:cNvSpPr>
                <a:spLocks/>
              </p:cNvSpPr>
              <p:nvPr/>
            </p:nvSpPr>
            <p:spPr bwMode="auto">
              <a:xfrm>
                <a:off x="2641600" y="4256088"/>
                <a:ext cx="233363" cy="120650"/>
              </a:xfrm>
              <a:custGeom>
                <a:avLst/>
                <a:gdLst>
                  <a:gd name="T0" fmla="*/ 1910 w 1910"/>
                  <a:gd name="T1" fmla="*/ 796 h 986"/>
                  <a:gd name="T2" fmla="*/ 1908 w 1910"/>
                  <a:gd name="T3" fmla="*/ 797 h 986"/>
                  <a:gd name="T4" fmla="*/ 1904 w 1910"/>
                  <a:gd name="T5" fmla="*/ 800 h 986"/>
                  <a:gd name="T6" fmla="*/ 1901 w 1910"/>
                  <a:gd name="T7" fmla="*/ 803 h 986"/>
                  <a:gd name="T8" fmla="*/ 1899 w 1910"/>
                  <a:gd name="T9" fmla="*/ 805 h 986"/>
                  <a:gd name="T10" fmla="*/ 1817 w 1910"/>
                  <a:gd name="T11" fmla="*/ 855 h 986"/>
                  <a:gd name="T12" fmla="*/ 1718 w 1910"/>
                  <a:gd name="T13" fmla="*/ 894 h 986"/>
                  <a:gd name="T14" fmla="*/ 1607 w 1910"/>
                  <a:gd name="T15" fmla="*/ 926 h 986"/>
                  <a:gd name="T16" fmla="*/ 1490 w 1910"/>
                  <a:gd name="T17" fmla="*/ 950 h 986"/>
                  <a:gd name="T18" fmla="*/ 1372 w 1910"/>
                  <a:gd name="T19" fmla="*/ 965 h 986"/>
                  <a:gd name="T20" fmla="*/ 1257 w 1910"/>
                  <a:gd name="T21" fmla="*/ 977 h 986"/>
                  <a:gd name="T22" fmla="*/ 1151 w 1910"/>
                  <a:gd name="T23" fmla="*/ 983 h 986"/>
                  <a:gd name="T24" fmla="*/ 1057 w 1910"/>
                  <a:gd name="T25" fmla="*/ 986 h 986"/>
                  <a:gd name="T26" fmla="*/ 982 w 1910"/>
                  <a:gd name="T27" fmla="*/ 986 h 986"/>
                  <a:gd name="T28" fmla="*/ 927 w 1910"/>
                  <a:gd name="T29" fmla="*/ 985 h 986"/>
                  <a:gd name="T30" fmla="*/ 856 w 1910"/>
                  <a:gd name="T31" fmla="*/ 984 h 986"/>
                  <a:gd name="T32" fmla="*/ 769 w 1910"/>
                  <a:gd name="T33" fmla="*/ 981 h 986"/>
                  <a:gd name="T34" fmla="*/ 669 w 1910"/>
                  <a:gd name="T35" fmla="*/ 976 h 986"/>
                  <a:gd name="T36" fmla="*/ 560 w 1910"/>
                  <a:gd name="T37" fmla="*/ 966 h 986"/>
                  <a:gd name="T38" fmla="*/ 449 w 1910"/>
                  <a:gd name="T39" fmla="*/ 953 h 986"/>
                  <a:gd name="T40" fmla="*/ 337 w 1910"/>
                  <a:gd name="T41" fmla="*/ 933 h 986"/>
                  <a:gd name="T42" fmla="*/ 229 w 1910"/>
                  <a:gd name="T43" fmla="*/ 907 h 986"/>
                  <a:gd name="T44" fmla="*/ 129 w 1910"/>
                  <a:gd name="T45" fmla="*/ 873 h 986"/>
                  <a:gd name="T46" fmla="*/ 44 w 1910"/>
                  <a:gd name="T47" fmla="*/ 830 h 986"/>
                  <a:gd name="T48" fmla="*/ 2 w 1910"/>
                  <a:gd name="T49" fmla="*/ 805 h 986"/>
                  <a:gd name="T50" fmla="*/ 0 w 1910"/>
                  <a:gd name="T51" fmla="*/ 799 h 986"/>
                  <a:gd name="T52" fmla="*/ 36 w 1910"/>
                  <a:gd name="T53" fmla="*/ 27 h 986"/>
                  <a:gd name="T54" fmla="*/ 121 w 1910"/>
                  <a:gd name="T55" fmla="*/ 72 h 986"/>
                  <a:gd name="T56" fmla="*/ 220 w 1910"/>
                  <a:gd name="T57" fmla="*/ 107 h 986"/>
                  <a:gd name="T58" fmla="*/ 328 w 1910"/>
                  <a:gd name="T59" fmla="*/ 134 h 986"/>
                  <a:gd name="T60" fmla="*/ 441 w 1910"/>
                  <a:gd name="T61" fmla="*/ 154 h 986"/>
                  <a:gd name="T62" fmla="*/ 555 w 1910"/>
                  <a:gd name="T63" fmla="*/ 169 h 986"/>
                  <a:gd name="T64" fmla="*/ 665 w 1910"/>
                  <a:gd name="T65" fmla="*/ 178 h 986"/>
                  <a:gd name="T66" fmla="*/ 767 w 1910"/>
                  <a:gd name="T67" fmla="*/ 184 h 986"/>
                  <a:gd name="T68" fmla="*/ 855 w 1910"/>
                  <a:gd name="T69" fmla="*/ 186 h 986"/>
                  <a:gd name="T70" fmla="*/ 926 w 1910"/>
                  <a:gd name="T71" fmla="*/ 188 h 986"/>
                  <a:gd name="T72" fmla="*/ 981 w 1910"/>
                  <a:gd name="T73" fmla="*/ 188 h 986"/>
                  <a:gd name="T74" fmla="*/ 1052 w 1910"/>
                  <a:gd name="T75" fmla="*/ 188 h 986"/>
                  <a:gd name="T76" fmla="*/ 1141 w 1910"/>
                  <a:gd name="T77" fmla="*/ 186 h 986"/>
                  <a:gd name="T78" fmla="*/ 1242 w 1910"/>
                  <a:gd name="T79" fmla="*/ 180 h 986"/>
                  <a:gd name="T80" fmla="*/ 1352 w 1910"/>
                  <a:gd name="T81" fmla="*/ 171 h 986"/>
                  <a:gd name="T82" fmla="*/ 1466 w 1910"/>
                  <a:gd name="T83" fmla="*/ 156 h 986"/>
                  <a:gd name="T84" fmla="*/ 1578 w 1910"/>
                  <a:gd name="T85" fmla="*/ 135 h 986"/>
                  <a:gd name="T86" fmla="*/ 1687 w 1910"/>
                  <a:gd name="T87" fmla="*/ 107 h 986"/>
                  <a:gd name="T88" fmla="*/ 1786 w 1910"/>
                  <a:gd name="T89" fmla="*/ 72 h 986"/>
                  <a:gd name="T90" fmla="*/ 1871 w 1910"/>
                  <a:gd name="T91" fmla="*/ 27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10" h="986">
                    <a:moveTo>
                      <a:pt x="1908" y="0"/>
                    </a:moveTo>
                    <a:lnTo>
                      <a:pt x="1910" y="796"/>
                    </a:lnTo>
                    <a:lnTo>
                      <a:pt x="1909" y="796"/>
                    </a:lnTo>
                    <a:lnTo>
                      <a:pt x="1908" y="797"/>
                    </a:lnTo>
                    <a:lnTo>
                      <a:pt x="1906" y="799"/>
                    </a:lnTo>
                    <a:lnTo>
                      <a:pt x="1904" y="800"/>
                    </a:lnTo>
                    <a:lnTo>
                      <a:pt x="1903" y="802"/>
                    </a:lnTo>
                    <a:lnTo>
                      <a:pt x="1901" y="803"/>
                    </a:lnTo>
                    <a:lnTo>
                      <a:pt x="1900" y="804"/>
                    </a:lnTo>
                    <a:lnTo>
                      <a:pt x="1899" y="805"/>
                    </a:lnTo>
                    <a:lnTo>
                      <a:pt x="1861" y="831"/>
                    </a:lnTo>
                    <a:lnTo>
                      <a:pt x="1817" y="855"/>
                    </a:lnTo>
                    <a:lnTo>
                      <a:pt x="1769" y="876"/>
                    </a:lnTo>
                    <a:lnTo>
                      <a:pt x="1718" y="894"/>
                    </a:lnTo>
                    <a:lnTo>
                      <a:pt x="1664" y="911"/>
                    </a:lnTo>
                    <a:lnTo>
                      <a:pt x="1607" y="926"/>
                    </a:lnTo>
                    <a:lnTo>
                      <a:pt x="1550" y="938"/>
                    </a:lnTo>
                    <a:lnTo>
                      <a:pt x="1490" y="950"/>
                    </a:lnTo>
                    <a:lnTo>
                      <a:pt x="1431" y="958"/>
                    </a:lnTo>
                    <a:lnTo>
                      <a:pt x="1372" y="965"/>
                    </a:lnTo>
                    <a:lnTo>
                      <a:pt x="1314" y="971"/>
                    </a:lnTo>
                    <a:lnTo>
                      <a:pt x="1257" y="977"/>
                    </a:lnTo>
                    <a:lnTo>
                      <a:pt x="1202" y="980"/>
                    </a:lnTo>
                    <a:lnTo>
                      <a:pt x="1151" y="983"/>
                    </a:lnTo>
                    <a:lnTo>
                      <a:pt x="1102" y="985"/>
                    </a:lnTo>
                    <a:lnTo>
                      <a:pt x="1057" y="986"/>
                    </a:lnTo>
                    <a:lnTo>
                      <a:pt x="1017" y="986"/>
                    </a:lnTo>
                    <a:lnTo>
                      <a:pt x="982" y="986"/>
                    </a:lnTo>
                    <a:lnTo>
                      <a:pt x="953" y="986"/>
                    </a:lnTo>
                    <a:lnTo>
                      <a:pt x="927" y="985"/>
                    </a:lnTo>
                    <a:lnTo>
                      <a:pt x="894" y="985"/>
                    </a:lnTo>
                    <a:lnTo>
                      <a:pt x="856" y="984"/>
                    </a:lnTo>
                    <a:lnTo>
                      <a:pt x="815" y="983"/>
                    </a:lnTo>
                    <a:lnTo>
                      <a:pt x="769" y="981"/>
                    </a:lnTo>
                    <a:lnTo>
                      <a:pt x="720" y="979"/>
                    </a:lnTo>
                    <a:lnTo>
                      <a:pt x="669" y="976"/>
                    </a:lnTo>
                    <a:lnTo>
                      <a:pt x="616" y="971"/>
                    </a:lnTo>
                    <a:lnTo>
                      <a:pt x="560" y="966"/>
                    </a:lnTo>
                    <a:lnTo>
                      <a:pt x="505" y="960"/>
                    </a:lnTo>
                    <a:lnTo>
                      <a:pt x="449" y="953"/>
                    </a:lnTo>
                    <a:lnTo>
                      <a:pt x="392" y="943"/>
                    </a:lnTo>
                    <a:lnTo>
                      <a:pt x="337" y="933"/>
                    </a:lnTo>
                    <a:lnTo>
                      <a:pt x="281" y="920"/>
                    </a:lnTo>
                    <a:lnTo>
                      <a:pt x="229" y="907"/>
                    </a:lnTo>
                    <a:lnTo>
                      <a:pt x="178" y="890"/>
                    </a:lnTo>
                    <a:lnTo>
                      <a:pt x="129" y="873"/>
                    </a:lnTo>
                    <a:lnTo>
                      <a:pt x="85" y="853"/>
                    </a:lnTo>
                    <a:lnTo>
                      <a:pt x="44" y="830"/>
                    </a:lnTo>
                    <a:lnTo>
                      <a:pt x="7" y="805"/>
                    </a:lnTo>
                    <a:lnTo>
                      <a:pt x="2" y="805"/>
                    </a:lnTo>
                    <a:lnTo>
                      <a:pt x="1" y="41"/>
                    </a:lnTo>
                    <a:lnTo>
                      <a:pt x="0" y="799"/>
                    </a:lnTo>
                    <a:lnTo>
                      <a:pt x="0" y="1"/>
                    </a:lnTo>
                    <a:lnTo>
                      <a:pt x="36" y="27"/>
                    </a:lnTo>
                    <a:lnTo>
                      <a:pt x="77" y="51"/>
                    </a:lnTo>
                    <a:lnTo>
                      <a:pt x="121" y="72"/>
                    </a:lnTo>
                    <a:lnTo>
                      <a:pt x="169" y="91"/>
                    </a:lnTo>
                    <a:lnTo>
                      <a:pt x="220" y="107"/>
                    </a:lnTo>
                    <a:lnTo>
                      <a:pt x="273" y="122"/>
                    </a:lnTo>
                    <a:lnTo>
                      <a:pt x="328" y="134"/>
                    </a:lnTo>
                    <a:lnTo>
                      <a:pt x="385" y="145"/>
                    </a:lnTo>
                    <a:lnTo>
                      <a:pt x="441" y="154"/>
                    </a:lnTo>
                    <a:lnTo>
                      <a:pt x="499" y="162"/>
                    </a:lnTo>
                    <a:lnTo>
                      <a:pt x="555" y="169"/>
                    </a:lnTo>
                    <a:lnTo>
                      <a:pt x="611" y="174"/>
                    </a:lnTo>
                    <a:lnTo>
                      <a:pt x="665" y="178"/>
                    </a:lnTo>
                    <a:lnTo>
                      <a:pt x="717" y="181"/>
                    </a:lnTo>
                    <a:lnTo>
                      <a:pt x="767" y="184"/>
                    </a:lnTo>
                    <a:lnTo>
                      <a:pt x="813" y="185"/>
                    </a:lnTo>
                    <a:lnTo>
                      <a:pt x="855" y="186"/>
                    </a:lnTo>
                    <a:lnTo>
                      <a:pt x="893" y="187"/>
                    </a:lnTo>
                    <a:lnTo>
                      <a:pt x="926" y="188"/>
                    </a:lnTo>
                    <a:lnTo>
                      <a:pt x="953" y="188"/>
                    </a:lnTo>
                    <a:lnTo>
                      <a:pt x="981" y="188"/>
                    </a:lnTo>
                    <a:lnTo>
                      <a:pt x="1014" y="188"/>
                    </a:lnTo>
                    <a:lnTo>
                      <a:pt x="1052" y="188"/>
                    </a:lnTo>
                    <a:lnTo>
                      <a:pt x="1095" y="187"/>
                    </a:lnTo>
                    <a:lnTo>
                      <a:pt x="1141" y="186"/>
                    </a:lnTo>
                    <a:lnTo>
                      <a:pt x="1191" y="183"/>
                    </a:lnTo>
                    <a:lnTo>
                      <a:pt x="1242" y="180"/>
                    </a:lnTo>
                    <a:lnTo>
                      <a:pt x="1296" y="176"/>
                    </a:lnTo>
                    <a:lnTo>
                      <a:pt x="1352" y="171"/>
                    </a:lnTo>
                    <a:lnTo>
                      <a:pt x="1408" y="164"/>
                    </a:lnTo>
                    <a:lnTo>
                      <a:pt x="1466" y="156"/>
                    </a:lnTo>
                    <a:lnTo>
                      <a:pt x="1523" y="147"/>
                    </a:lnTo>
                    <a:lnTo>
                      <a:pt x="1578" y="135"/>
                    </a:lnTo>
                    <a:lnTo>
                      <a:pt x="1634" y="122"/>
                    </a:lnTo>
                    <a:lnTo>
                      <a:pt x="1687" y="107"/>
                    </a:lnTo>
                    <a:lnTo>
                      <a:pt x="1739" y="91"/>
                    </a:lnTo>
                    <a:lnTo>
                      <a:pt x="1786" y="72"/>
                    </a:lnTo>
                    <a:lnTo>
                      <a:pt x="1831" y="50"/>
                    </a:lnTo>
                    <a:lnTo>
                      <a:pt x="1871" y="27"/>
                    </a:lnTo>
                    <a:lnTo>
                      <a:pt x="19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sp>
          <p:nvSpPr>
            <p:cNvPr id="181" name="Freeform 34"/>
            <p:cNvSpPr>
              <a:spLocks noEditPoints="1"/>
            </p:cNvSpPr>
            <p:nvPr/>
          </p:nvSpPr>
          <p:spPr bwMode="auto">
            <a:xfrm>
              <a:off x="6178966" y="4178817"/>
              <a:ext cx="251030" cy="206581"/>
            </a:xfrm>
            <a:custGeom>
              <a:avLst/>
              <a:gdLst>
                <a:gd name="T0" fmla="*/ 311 w 3447"/>
                <a:gd name="T1" fmla="*/ 1796 h 2834"/>
                <a:gd name="T2" fmla="*/ 964 w 3447"/>
                <a:gd name="T3" fmla="*/ 1557 h 2834"/>
                <a:gd name="T4" fmla="*/ 3001 w 3447"/>
                <a:gd name="T5" fmla="*/ 1258 h 2834"/>
                <a:gd name="T6" fmla="*/ 2990 w 3447"/>
                <a:gd name="T7" fmla="*/ 1327 h 2834"/>
                <a:gd name="T8" fmla="*/ 2941 w 3447"/>
                <a:gd name="T9" fmla="*/ 1380 h 2834"/>
                <a:gd name="T10" fmla="*/ 2871 w 3447"/>
                <a:gd name="T11" fmla="*/ 1394 h 2834"/>
                <a:gd name="T12" fmla="*/ 2806 w 3447"/>
                <a:gd name="T13" fmla="*/ 1370 h 2834"/>
                <a:gd name="T14" fmla="*/ 2986 w 3447"/>
                <a:gd name="T15" fmla="*/ 1211 h 2834"/>
                <a:gd name="T16" fmla="*/ 2752 w 3447"/>
                <a:gd name="T17" fmla="*/ 1295 h 2834"/>
                <a:gd name="T18" fmla="*/ 243 w 3447"/>
                <a:gd name="T19" fmla="*/ 493 h 2834"/>
                <a:gd name="T20" fmla="*/ 745 w 3447"/>
                <a:gd name="T21" fmla="*/ 1657 h 2834"/>
                <a:gd name="T22" fmla="*/ 1464 w 3447"/>
                <a:gd name="T23" fmla="*/ 571 h 2834"/>
                <a:gd name="T24" fmla="*/ 2784 w 3447"/>
                <a:gd name="T25" fmla="*/ 1657 h 2834"/>
                <a:gd name="T26" fmla="*/ 2734 w 3447"/>
                <a:gd name="T27" fmla="*/ 1788 h 2834"/>
                <a:gd name="T28" fmla="*/ 1511 w 3447"/>
                <a:gd name="T29" fmla="*/ 1221 h 2834"/>
                <a:gd name="T30" fmla="*/ 3447 w 3447"/>
                <a:gd name="T31" fmla="*/ 2592 h 2834"/>
                <a:gd name="T32" fmla="*/ 243 w 3447"/>
                <a:gd name="T33" fmla="*/ 2834 h 2834"/>
                <a:gd name="T34" fmla="*/ 0 w 3447"/>
                <a:gd name="T35" fmla="*/ 2522 h 2834"/>
                <a:gd name="T36" fmla="*/ 2448 w 3447"/>
                <a:gd name="T37" fmla="*/ 82 h 2834"/>
                <a:gd name="T38" fmla="*/ 2311 w 3447"/>
                <a:gd name="T39" fmla="*/ 99 h 2834"/>
                <a:gd name="T40" fmla="*/ 2184 w 3447"/>
                <a:gd name="T41" fmla="*/ 163 h 2834"/>
                <a:gd name="T42" fmla="*/ 2089 w 3447"/>
                <a:gd name="T43" fmla="*/ 264 h 2834"/>
                <a:gd name="T44" fmla="*/ 2032 w 3447"/>
                <a:gd name="T45" fmla="*/ 387 h 2834"/>
                <a:gd name="T46" fmla="*/ 2020 w 3447"/>
                <a:gd name="T47" fmla="*/ 521 h 2834"/>
                <a:gd name="T48" fmla="*/ 2051 w 3447"/>
                <a:gd name="T49" fmla="*/ 656 h 2834"/>
                <a:gd name="T50" fmla="*/ 2130 w 3447"/>
                <a:gd name="T51" fmla="*/ 776 h 2834"/>
                <a:gd name="T52" fmla="*/ 2240 w 3447"/>
                <a:gd name="T53" fmla="*/ 858 h 2834"/>
                <a:gd name="T54" fmla="*/ 2368 w 3447"/>
                <a:gd name="T55" fmla="*/ 900 h 2834"/>
                <a:gd name="T56" fmla="*/ 2504 w 3447"/>
                <a:gd name="T57" fmla="*/ 899 h 2834"/>
                <a:gd name="T58" fmla="*/ 2635 w 3447"/>
                <a:gd name="T59" fmla="*/ 850 h 2834"/>
                <a:gd name="T60" fmla="*/ 2744 w 3447"/>
                <a:gd name="T61" fmla="*/ 760 h 2834"/>
                <a:gd name="T62" fmla="*/ 2813 w 3447"/>
                <a:gd name="T63" fmla="*/ 643 h 2834"/>
                <a:gd name="T64" fmla="*/ 2840 w 3447"/>
                <a:gd name="T65" fmla="*/ 511 h 2834"/>
                <a:gd name="T66" fmla="*/ 2824 w 3447"/>
                <a:gd name="T67" fmla="*/ 375 h 2834"/>
                <a:gd name="T68" fmla="*/ 2760 w 3447"/>
                <a:gd name="T69" fmla="*/ 247 h 2834"/>
                <a:gd name="T70" fmla="*/ 2659 w 3447"/>
                <a:gd name="T71" fmla="*/ 152 h 2834"/>
                <a:gd name="T72" fmla="*/ 2537 w 3447"/>
                <a:gd name="T73" fmla="*/ 95 h 2834"/>
                <a:gd name="T74" fmla="*/ 2417 w 3447"/>
                <a:gd name="T75" fmla="*/ 0 h 2834"/>
                <a:gd name="T76" fmla="*/ 2558 w 3447"/>
                <a:gd name="T77" fmla="*/ 17 h 2834"/>
                <a:gd name="T78" fmla="*/ 2688 w 3447"/>
                <a:gd name="T79" fmla="*/ 73 h 2834"/>
                <a:gd name="T80" fmla="*/ 2798 w 3447"/>
                <a:gd name="T81" fmla="*/ 165 h 2834"/>
                <a:gd name="T82" fmla="*/ 2880 w 3447"/>
                <a:gd name="T83" fmla="*/ 291 h 2834"/>
                <a:gd name="T84" fmla="*/ 2919 w 3447"/>
                <a:gd name="T85" fmla="*/ 432 h 2834"/>
                <a:gd name="T86" fmla="*/ 2916 w 3447"/>
                <a:gd name="T87" fmla="*/ 574 h 2834"/>
                <a:gd name="T88" fmla="*/ 2873 w 3447"/>
                <a:gd name="T89" fmla="*/ 710 h 2834"/>
                <a:gd name="T90" fmla="*/ 2792 w 3447"/>
                <a:gd name="T91" fmla="*/ 828 h 2834"/>
                <a:gd name="T92" fmla="*/ 2676 w 3447"/>
                <a:gd name="T93" fmla="*/ 921 h 2834"/>
                <a:gd name="T94" fmla="*/ 2539 w 3447"/>
                <a:gd name="T95" fmla="*/ 975 h 2834"/>
                <a:gd name="T96" fmla="*/ 2396 w 3447"/>
                <a:gd name="T97" fmla="*/ 985 h 2834"/>
                <a:gd name="T98" fmla="*/ 2257 w 3447"/>
                <a:gd name="T99" fmla="*/ 955 h 2834"/>
                <a:gd name="T100" fmla="*/ 2132 w 3447"/>
                <a:gd name="T101" fmla="*/ 887 h 2834"/>
                <a:gd name="T102" fmla="*/ 2030 w 3447"/>
                <a:gd name="T103" fmla="*/ 782 h 2834"/>
                <a:gd name="T104" fmla="*/ 1961 w 3447"/>
                <a:gd name="T105" fmla="*/ 649 h 2834"/>
                <a:gd name="T106" fmla="*/ 1937 w 3447"/>
                <a:gd name="T107" fmla="*/ 507 h 2834"/>
                <a:gd name="T108" fmla="*/ 1954 w 3447"/>
                <a:gd name="T109" fmla="*/ 366 h 2834"/>
                <a:gd name="T110" fmla="*/ 2010 w 3447"/>
                <a:gd name="T111" fmla="*/ 235 h 2834"/>
                <a:gd name="T112" fmla="*/ 2102 w 3447"/>
                <a:gd name="T113" fmla="*/ 124 h 2834"/>
                <a:gd name="T114" fmla="*/ 2228 w 3447"/>
                <a:gd name="T115" fmla="*/ 43 h 2834"/>
                <a:gd name="T116" fmla="*/ 2369 w 3447"/>
                <a:gd name="T117" fmla="*/ 4 h 2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7" h="2834">
                  <a:moveTo>
                    <a:pt x="964" y="1557"/>
                  </a:moveTo>
                  <a:lnTo>
                    <a:pt x="824" y="1796"/>
                  </a:lnTo>
                  <a:lnTo>
                    <a:pt x="311" y="1796"/>
                  </a:lnTo>
                  <a:lnTo>
                    <a:pt x="311" y="2523"/>
                  </a:lnTo>
                  <a:lnTo>
                    <a:pt x="1303" y="2523"/>
                  </a:lnTo>
                  <a:lnTo>
                    <a:pt x="964" y="1557"/>
                  </a:lnTo>
                  <a:close/>
                  <a:moveTo>
                    <a:pt x="2986" y="1211"/>
                  </a:moveTo>
                  <a:lnTo>
                    <a:pt x="2996" y="1234"/>
                  </a:lnTo>
                  <a:lnTo>
                    <a:pt x="3001" y="1258"/>
                  </a:lnTo>
                  <a:lnTo>
                    <a:pt x="3001" y="1281"/>
                  </a:lnTo>
                  <a:lnTo>
                    <a:pt x="2998" y="1304"/>
                  </a:lnTo>
                  <a:lnTo>
                    <a:pt x="2990" y="1327"/>
                  </a:lnTo>
                  <a:lnTo>
                    <a:pt x="2977" y="1347"/>
                  </a:lnTo>
                  <a:lnTo>
                    <a:pt x="2961" y="1365"/>
                  </a:lnTo>
                  <a:lnTo>
                    <a:pt x="2941" y="1380"/>
                  </a:lnTo>
                  <a:lnTo>
                    <a:pt x="2919" y="1389"/>
                  </a:lnTo>
                  <a:lnTo>
                    <a:pt x="2894" y="1394"/>
                  </a:lnTo>
                  <a:lnTo>
                    <a:pt x="2871" y="1394"/>
                  </a:lnTo>
                  <a:lnTo>
                    <a:pt x="2848" y="1391"/>
                  </a:lnTo>
                  <a:lnTo>
                    <a:pt x="2826" y="1383"/>
                  </a:lnTo>
                  <a:lnTo>
                    <a:pt x="2806" y="1370"/>
                  </a:lnTo>
                  <a:lnTo>
                    <a:pt x="2789" y="1354"/>
                  </a:lnTo>
                  <a:lnTo>
                    <a:pt x="2774" y="1334"/>
                  </a:lnTo>
                  <a:lnTo>
                    <a:pt x="2986" y="1211"/>
                  </a:lnTo>
                  <a:close/>
                  <a:moveTo>
                    <a:pt x="2800" y="890"/>
                  </a:moveTo>
                  <a:lnTo>
                    <a:pt x="2963" y="1173"/>
                  </a:lnTo>
                  <a:lnTo>
                    <a:pt x="2752" y="1295"/>
                  </a:lnTo>
                  <a:lnTo>
                    <a:pt x="2588" y="1013"/>
                  </a:lnTo>
                  <a:lnTo>
                    <a:pt x="2800" y="890"/>
                  </a:lnTo>
                  <a:close/>
                  <a:moveTo>
                    <a:pt x="243" y="493"/>
                  </a:moveTo>
                  <a:lnTo>
                    <a:pt x="311" y="493"/>
                  </a:lnTo>
                  <a:lnTo>
                    <a:pt x="311" y="1657"/>
                  </a:lnTo>
                  <a:lnTo>
                    <a:pt x="745" y="1657"/>
                  </a:lnTo>
                  <a:lnTo>
                    <a:pt x="996" y="1228"/>
                  </a:lnTo>
                  <a:lnTo>
                    <a:pt x="1262" y="1990"/>
                  </a:lnTo>
                  <a:lnTo>
                    <a:pt x="1464" y="571"/>
                  </a:lnTo>
                  <a:lnTo>
                    <a:pt x="1848" y="1870"/>
                  </a:lnTo>
                  <a:lnTo>
                    <a:pt x="2216" y="1348"/>
                  </a:lnTo>
                  <a:lnTo>
                    <a:pt x="2784" y="1657"/>
                  </a:lnTo>
                  <a:lnTo>
                    <a:pt x="3447" y="1657"/>
                  </a:lnTo>
                  <a:lnTo>
                    <a:pt x="3447" y="1796"/>
                  </a:lnTo>
                  <a:lnTo>
                    <a:pt x="2734" y="1788"/>
                  </a:lnTo>
                  <a:lnTo>
                    <a:pt x="2258" y="1529"/>
                  </a:lnTo>
                  <a:lnTo>
                    <a:pt x="1796" y="2183"/>
                  </a:lnTo>
                  <a:lnTo>
                    <a:pt x="1511" y="1221"/>
                  </a:lnTo>
                  <a:lnTo>
                    <a:pt x="1327" y="2523"/>
                  </a:lnTo>
                  <a:lnTo>
                    <a:pt x="3447" y="2523"/>
                  </a:lnTo>
                  <a:lnTo>
                    <a:pt x="3447" y="2592"/>
                  </a:lnTo>
                  <a:lnTo>
                    <a:pt x="311" y="2592"/>
                  </a:lnTo>
                  <a:lnTo>
                    <a:pt x="311" y="2834"/>
                  </a:lnTo>
                  <a:lnTo>
                    <a:pt x="243" y="2834"/>
                  </a:lnTo>
                  <a:lnTo>
                    <a:pt x="243" y="2592"/>
                  </a:lnTo>
                  <a:lnTo>
                    <a:pt x="0" y="2592"/>
                  </a:lnTo>
                  <a:lnTo>
                    <a:pt x="0" y="2522"/>
                  </a:lnTo>
                  <a:lnTo>
                    <a:pt x="243" y="2522"/>
                  </a:lnTo>
                  <a:lnTo>
                    <a:pt x="243" y="493"/>
                  </a:lnTo>
                  <a:close/>
                  <a:moveTo>
                    <a:pt x="2448" y="82"/>
                  </a:moveTo>
                  <a:lnTo>
                    <a:pt x="2402" y="83"/>
                  </a:lnTo>
                  <a:lnTo>
                    <a:pt x="2356" y="88"/>
                  </a:lnTo>
                  <a:lnTo>
                    <a:pt x="2311" y="99"/>
                  </a:lnTo>
                  <a:lnTo>
                    <a:pt x="2268" y="116"/>
                  </a:lnTo>
                  <a:lnTo>
                    <a:pt x="2224" y="137"/>
                  </a:lnTo>
                  <a:lnTo>
                    <a:pt x="2184" y="163"/>
                  </a:lnTo>
                  <a:lnTo>
                    <a:pt x="2148" y="193"/>
                  </a:lnTo>
                  <a:lnTo>
                    <a:pt x="2116" y="227"/>
                  </a:lnTo>
                  <a:lnTo>
                    <a:pt x="2089" y="264"/>
                  </a:lnTo>
                  <a:lnTo>
                    <a:pt x="2065" y="302"/>
                  </a:lnTo>
                  <a:lnTo>
                    <a:pt x="2046" y="343"/>
                  </a:lnTo>
                  <a:lnTo>
                    <a:pt x="2032" y="387"/>
                  </a:lnTo>
                  <a:lnTo>
                    <a:pt x="2023" y="431"/>
                  </a:lnTo>
                  <a:lnTo>
                    <a:pt x="2019" y="476"/>
                  </a:lnTo>
                  <a:lnTo>
                    <a:pt x="2020" y="521"/>
                  </a:lnTo>
                  <a:lnTo>
                    <a:pt x="2025" y="567"/>
                  </a:lnTo>
                  <a:lnTo>
                    <a:pt x="2036" y="612"/>
                  </a:lnTo>
                  <a:lnTo>
                    <a:pt x="2051" y="656"/>
                  </a:lnTo>
                  <a:lnTo>
                    <a:pt x="2074" y="699"/>
                  </a:lnTo>
                  <a:lnTo>
                    <a:pt x="2100" y="740"/>
                  </a:lnTo>
                  <a:lnTo>
                    <a:pt x="2130" y="776"/>
                  </a:lnTo>
                  <a:lnTo>
                    <a:pt x="2164" y="807"/>
                  </a:lnTo>
                  <a:lnTo>
                    <a:pt x="2201" y="835"/>
                  </a:lnTo>
                  <a:lnTo>
                    <a:pt x="2240" y="858"/>
                  </a:lnTo>
                  <a:lnTo>
                    <a:pt x="2280" y="876"/>
                  </a:lnTo>
                  <a:lnTo>
                    <a:pt x="2324" y="891"/>
                  </a:lnTo>
                  <a:lnTo>
                    <a:pt x="2368" y="900"/>
                  </a:lnTo>
                  <a:lnTo>
                    <a:pt x="2413" y="905"/>
                  </a:lnTo>
                  <a:lnTo>
                    <a:pt x="2458" y="904"/>
                  </a:lnTo>
                  <a:lnTo>
                    <a:pt x="2504" y="899"/>
                  </a:lnTo>
                  <a:lnTo>
                    <a:pt x="2548" y="888"/>
                  </a:lnTo>
                  <a:lnTo>
                    <a:pt x="2593" y="871"/>
                  </a:lnTo>
                  <a:lnTo>
                    <a:pt x="2635" y="850"/>
                  </a:lnTo>
                  <a:lnTo>
                    <a:pt x="2675" y="823"/>
                  </a:lnTo>
                  <a:lnTo>
                    <a:pt x="2711" y="794"/>
                  </a:lnTo>
                  <a:lnTo>
                    <a:pt x="2744" y="760"/>
                  </a:lnTo>
                  <a:lnTo>
                    <a:pt x="2772" y="723"/>
                  </a:lnTo>
                  <a:lnTo>
                    <a:pt x="2794" y="685"/>
                  </a:lnTo>
                  <a:lnTo>
                    <a:pt x="2813" y="643"/>
                  </a:lnTo>
                  <a:lnTo>
                    <a:pt x="2827" y="600"/>
                  </a:lnTo>
                  <a:lnTo>
                    <a:pt x="2836" y="555"/>
                  </a:lnTo>
                  <a:lnTo>
                    <a:pt x="2840" y="511"/>
                  </a:lnTo>
                  <a:lnTo>
                    <a:pt x="2840" y="465"/>
                  </a:lnTo>
                  <a:lnTo>
                    <a:pt x="2835" y="420"/>
                  </a:lnTo>
                  <a:lnTo>
                    <a:pt x="2824" y="375"/>
                  </a:lnTo>
                  <a:lnTo>
                    <a:pt x="2808" y="331"/>
                  </a:lnTo>
                  <a:lnTo>
                    <a:pt x="2786" y="287"/>
                  </a:lnTo>
                  <a:lnTo>
                    <a:pt x="2760" y="247"/>
                  </a:lnTo>
                  <a:lnTo>
                    <a:pt x="2729" y="211"/>
                  </a:lnTo>
                  <a:lnTo>
                    <a:pt x="2696" y="179"/>
                  </a:lnTo>
                  <a:lnTo>
                    <a:pt x="2659" y="152"/>
                  </a:lnTo>
                  <a:lnTo>
                    <a:pt x="2620" y="128"/>
                  </a:lnTo>
                  <a:lnTo>
                    <a:pt x="2579" y="110"/>
                  </a:lnTo>
                  <a:lnTo>
                    <a:pt x="2537" y="95"/>
                  </a:lnTo>
                  <a:lnTo>
                    <a:pt x="2492" y="87"/>
                  </a:lnTo>
                  <a:lnTo>
                    <a:pt x="2448" y="82"/>
                  </a:lnTo>
                  <a:close/>
                  <a:moveTo>
                    <a:pt x="2417" y="0"/>
                  </a:moveTo>
                  <a:lnTo>
                    <a:pt x="2465" y="1"/>
                  </a:lnTo>
                  <a:lnTo>
                    <a:pt x="2511" y="7"/>
                  </a:lnTo>
                  <a:lnTo>
                    <a:pt x="2558" y="17"/>
                  </a:lnTo>
                  <a:lnTo>
                    <a:pt x="2602" y="32"/>
                  </a:lnTo>
                  <a:lnTo>
                    <a:pt x="2646" y="50"/>
                  </a:lnTo>
                  <a:lnTo>
                    <a:pt x="2688" y="73"/>
                  </a:lnTo>
                  <a:lnTo>
                    <a:pt x="2727" y="100"/>
                  </a:lnTo>
                  <a:lnTo>
                    <a:pt x="2764" y="130"/>
                  </a:lnTo>
                  <a:lnTo>
                    <a:pt x="2798" y="165"/>
                  </a:lnTo>
                  <a:lnTo>
                    <a:pt x="2830" y="205"/>
                  </a:lnTo>
                  <a:lnTo>
                    <a:pt x="2857" y="247"/>
                  </a:lnTo>
                  <a:lnTo>
                    <a:pt x="2880" y="291"/>
                  </a:lnTo>
                  <a:lnTo>
                    <a:pt x="2898" y="338"/>
                  </a:lnTo>
                  <a:lnTo>
                    <a:pt x="2911" y="385"/>
                  </a:lnTo>
                  <a:lnTo>
                    <a:pt x="2919" y="432"/>
                  </a:lnTo>
                  <a:lnTo>
                    <a:pt x="2923" y="480"/>
                  </a:lnTo>
                  <a:lnTo>
                    <a:pt x="2922" y="528"/>
                  </a:lnTo>
                  <a:lnTo>
                    <a:pt x="2916" y="574"/>
                  </a:lnTo>
                  <a:lnTo>
                    <a:pt x="2906" y="621"/>
                  </a:lnTo>
                  <a:lnTo>
                    <a:pt x="2891" y="667"/>
                  </a:lnTo>
                  <a:lnTo>
                    <a:pt x="2873" y="710"/>
                  </a:lnTo>
                  <a:lnTo>
                    <a:pt x="2850" y="751"/>
                  </a:lnTo>
                  <a:lnTo>
                    <a:pt x="2824" y="791"/>
                  </a:lnTo>
                  <a:lnTo>
                    <a:pt x="2792" y="828"/>
                  </a:lnTo>
                  <a:lnTo>
                    <a:pt x="2758" y="863"/>
                  </a:lnTo>
                  <a:lnTo>
                    <a:pt x="2719" y="893"/>
                  </a:lnTo>
                  <a:lnTo>
                    <a:pt x="2676" y="921"/>
                  </a:lnTo>
                  <a:lnTo>
                    <a:pt x="2632" y="943"/>
                  </a:lnTo>
                  <a:lnTo>
                    <a:pt x="2585" y="961"/>
                  </a:lnTo>
                  <a:lnTo>
                    <a:pt x="2539" y="975"/>
                  </a:lnTo>
                  <a:lnTo>
                    <a:pt x="2491" y="983"/>
                  </a:lnTo>
                  <a:lnTo>
                    <a:pt x="2443" y="987"/>
                  </a:lnTo>
                  <a:lnTo>
                    <a:pt x="2396" y="985"/>
                  </a:lnTo>
                  <a:lnTo>
                    <a:pt x="2348" y="980"/>
                  </a:lnTo>
                  <a:lnTo>
                    <a:pt x="2302" y="970"/>
                  </a:lnTo>
                  <a:lnTo>
                    <a:pt x="2257" y="955"/>
                  </a:lnTo>
                  <a:lnTo>
                    <a:pt x="2214" y="937"/>
                  </a:lnTo>
                  <a:lnTo>
                    <a:pt x="2172" y="913"/>
                  </a:lnTo>
                  <a:lnTo>
                    <a:pt x="2132" y="887"/>
                  </a:lnTo>
                  <a:lnTo>
                    <a:pt x="2095" y="855"/>
                  </a:lnTo>
                  <a:lnTo>
                    <a:pt x="2061" y="821"/>
                  </a:lnTo>
                  <a:lnTo>
                    <a:pt x="2030" y="782"/>
                  </a:lnTo>
                  <a:lnTo>
                    <a:pt x="2003" y="740"/>
                  </a:lnTo>
                  <a:lnTo>
                    <a:pt x="1979" y="695"/>
                  </a:lnTo>
                  <a:lnTo>
                    <a:pt x="1961" y="649"/>
                  </a:lnTo>
                  <a:lnTo>
                    <a:pt x="1949" y="602"/>
                  </a:lnTo>
                  <a:lnTo>
                    <a:pt x="1940" y="554"/>
                  </a:lnTo>
                  <a:lnTo>
                    <a:pt x="1937" y="507"/>
                  </a:lnTo>
                  <a:lnTo>
                    <a:pt x="1938" y="459"/>
                  </a:lnTo>
                  <a:lnTo>
                    <a:pt x="1943" y="412"/>
                  </a:lnTo>
                  <a:lnTo>
                    <a:pt x="1954" y="366"/>
                  </a:lnTo>
                  <a:lnTo>
                    <a:pt x="1968" y="320"/>
                  </a:lnTo>
                  <a:lnTo>
                    <a:pt x="1987" y="277"/>
                  </a:lnTo>
                  <a:lnTo>
                    <a:pt x="2010" y="235"/>
                  </a:lnTo>
                  <a:lnTo>
                    <a:pt x="2037" y="195"/>
                  </a:lnTo>
                  <a:lnTo>
                    <a:pt x="2067" y="159"/>
                  </a:lnTo>
                  <a:lnTo>
                    <a:pt x="2102" y="124"/>
                  </a:lnTo>
                  <a:lnTo>
                    <a:pt x="2140" y="93"/>
                  </a:lnTo>
                  <a:lnTo>
                    <a:pt x="2183" y="66"/>
                  </a:lnTo>
                  <a:lnTo>
                    <a:pt x="2228" y="43"/>
                  </a:lnTo>
                  <a:lnTo>
                    <a:pt x="2274" y="25"/>
                  </a:lnTo>
                  <a:lnTo>
                    <a:pt x="2322" y="12"/>
                  </a:lnTo>
                  <a:lnTo>
                    <a:pt x="2369" y="4"/>
                  </a:lnTo>
                  <a:lnTo>
                    <a:pt x="2417"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nvGrpSpPr>
            <p:cNvPr id="182" name="Group 181"/>
            <p:cNvGrpSpPr/>
            <p:nvPr/>
          </p:nvGrpSpPr>
          <p:grpSpPr>
            <a:xfrm>
              <a:off x="6730344" y="4187151"/>
              <a:ext cx="270070" cy="211505"/>
              <a:chOff x="12790488" y="2682875"/>
              <a:chExt cx="1149350" cy="900113"/>
            </a:xfrm>
            <a:solidFill>
              <a:schemeClr val="accent4"/>
            </a:solidFill>
          </p:grpSpPr>
          <p:sp>
            <p:nvSpPr>
              <p:cNvPr id="184" name="Freeform 39"/>
              <p:cNvSpPr>
                <a:spLocks/>
              </p:cNvSpPr>
              <p:nvPr/>
            </p:nvSpPr>
            <p:spPr bwMode="auto">
              <a:xfrm>
                <a:off x="12987338" y="3479800"/>
                <a:ext cx="757238" cy="103188"/>
              </a:xfrm>
              <a:custGeom>
                <a:avLst/>
                <a:gdLst>
                  <a:gd name="T0" fmla="*/ 164 w 2387"/>
                  <a:gd name="T1" fmla="*/ 0 h 324"/>
                  <a:gd name="T2" fmla="*/ 2221 w 2387"/>
                  <a:gd name="T3" fmla="*/ 0 h 324"/>
                  <a:gd name="T4" fmla="*/ 2255 w 2387"/>
                  <a:gd name="T5" fmla="*/ 3 h 324"/>
                  <a:gd name="T6" fmla="*/ 2286 w 2387"/>
                  <a:gd name="T7" fmla="*/ 13 h 324"/>
                  <a:gd name="T8" fmla="*/ 2313 w 2387"/>
                  <a:gd name="T9" fmla="*/ 28 h 324"/>
                  <a:gd name="T10" fmla="*/ 2338 w 2387"/>
                  <a:gd name="T11" fmla="*/ 48 h 324"/>
                  <a:gd name="T12" fmla="*/ 2358 w 2387"/>
                  <a:gd name="T13" fmla="*/ 72 h 324"/>
                  <a:gd name="T14" fmla="*/ 2373 w 2387"/>
                  <a:gd name="T15" fmla="*/ 99 h 324"/>
                  <a:gd name="T16" fmla="*/ 2383 w 2387"/>
                  <a:gd name="T17" fmla="*/ 130 h 324"/>
                  <a:gd name="T18" fmla="*/ 2387 w 2387"/>
                  <a:gd name="T19" fmla="*/ 162 h 324"/>
                  <a:gd name="T20" fmla="*/ 2383 w 2387"/>
                  <a:gd name="T21" fmla="*/ 195 h 324"/>
                  <a:gd name="T22" fmla="*/ 2373 w 2387"/>
                  <a:gd name="T23" fmla="*/ 226 h 324"/>
                  <a:gd name="T24" fmla="*/ 2358 w 2387"/>
                  <a:gd name="T25" fmla="*/ 253 h 324"/>
                  <a:gd name="T26" fmla="*/ 2338 w 2387"/>
                  <a:gd name="T27" fmla="*/ 277 h 324"/>
                  <a:gd name="T28" fmla="*/ 2313 w 2387"/>
                  <a:gd name="T29" fmla="*/ 297 h 324"/>
                  <a:gd name="T30" fmla="*/ 2286 w 2387"/>
                  <a:gd name="T31" fmla="*/ 312 h 324"/>
                  <a:gd name="T32" fmla="*/ 2255 w 2387"/>
                  <a:gd name="T33" fmla="*/ 321 h 324"/>
                  <a:gd name="T34" fmla="*/ 2221 w 2387"/>
                  <a:gd name="T35" fmla="*/ 324 h 324"/>
                  <a:gd name="T36" fmla="*/ 164 w 2387"/>
                  <a:gd name="T37" fmla="*/ 324 h 324"/>
                  <a:gd name="T38" fmla="*/ 131 w 2387"/>
                  <a:gd name="T39" fmla="*/ 321 h 324"/>
                  <a:gd name="T40" fmla="*/ 100 w 2387"/>
                  <a:gd name="T41" fmla="*/ 312 h 324"/>
                  <a:gd name="T42" fmla="*/ 72 w 2387"/>
                  <a:gd name="T43" fmla="*/ 297 h 324"/>
                  <a:gd name="T44" fmla="*/ 47 w 2387"/>
                  <a:gd name="T45" fmla="*/ 277 h 324"/>
                  <a:gd name="T46" fmla="*/ 27 w 2387"/>
                  <a:gd name="T47" fmla="*/ 253 h 324"/>
                  <a:gd name="T48" fmla="*/ 12 w 2387"/>
                  <a:gd name="T49" fmla="*/ 226 h 324"/>
                  <a:gd name="T50" fmla="*/ 3 w 2387"/>
                  <a:gd name="T51" fmla="*/ 195 h 324"/>
                  <a:gd name="T52" fmla="*/ 0 w 2387"/>
                  <a:gd name="T53" fmla="*/ 162 h 324"/>
                  <a:gd name="T54" fmla="*/ 3 w 2387"/>
                  <a:gd name="T55" fmla="*/ 130 h 324"/>
                  <a:gd name="T56" fmla="*/ 12 w 2387"/>
                  <a:gd name="T57" fmla="*/ 99 h 324"/>
                  <a:gd name="T58" fmla="*/ 27 w 2387"/>
                  <a:gd name="T59" fmla="*/ 72 h 324"/>
                  <a:gd name="T60" fmla="*/ 47 w 2387"/>
                  <a:gd name="T61" fmla="*/ 48 h 324"/>
                  <a:gd name="T62" fmla="*/ 72 w 2387"/>
                  <a:gd name="T63" fmla="*/ 28 h 324"/>
                  <a:gd name="T64" fmla="*/ 100 w 2387"/>
                  <a:gd name="T65" fmla="*/ 13 h 324"/>
                  <a:gd name="T66" fmla="*/ 131 w 2387"/>
                  <a:gd name="T67" fmla="*/ 3 h 324"/>
                  <a:gd name="T68" fmla="*/ 164 w 2387"/>
                  <a:gd name="T69"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87" h="324">
                    <a:moveTo>
                      <a:pt x="164" y="0"/>
                    </a:moveTo>
                    <a:lnTo>
                      <a:pt x="2221" y="0"/>
                    </a:lnTo>
                    <a:lnTo>
                      <a:pt x="2255" y="3"/>
                    </a:lnTo>
                    <a:lnTo>
                      <a:pt x="2286" y="13"/>
                    </a:lnTo>
                    <a:lnTo>
                      <a:pt x="2313" y="28"/>
                    </a:lnTo>
                    <a:lnTo>
                      <a:pt x="2338" y="48"/>
                    </a:lnTo>
                    <a:lnTo>
                      <a:pt x="2358" y="72"/>
                    </a:lnTo>
                    <a:lnTo>
                      <a:pt x="2373" y="99"/>
                    </a:lnTo>
                    <a:lnTo>
                      <a:pt x="2383" y="130"/>
                    </a:lnTo>
                    <a:lnTo>
                      <a:pt x="2387" y="162"/>
                    </a:lnTo>
                    <a:lnTo>
                      <a:pt x="2383" y="195"/>
                    </a:lnTo>
                    <a:lnTo>
                      <a:pt x="2373" y="226"/>
                    </a:lnTo>
                    <a:lnTo>
                      <a:pt x="2358" y="253"/>
                    </a:lnTo>
                    <a:lnTo>
                      <a:pt x="2338" y="277"/>
                    </a:lnTo>
                    <a:lnTo>
                      <a:pt x="2313" y="297"/>
                    </a:lnTo>
                    <a:lnTo>
                      <a:pt x="2286" y="312"/>
                    </a:lnTo>
                    <a:lnTo>
                      <a:pt x="2255" y="321"/>
                    </a:lnTo>
                    <a:lnTo>
                      <a:pt x="2221" y="324"/>
                    </a:lnTo>
                    <a:lnTo>
                      <a:pt x="164" y="324"/>
                    </a:lnTo>
                    <a:lnTo>
                      <a:pt x="131" y="321"/>
                    </a:lnTo>
                    <a:lnTo>
                      <a:pt x="100" y="312"/>
                    </a:lnTo>
                    <a:lnTo>
                      <a:pt x="72" y="297"/>
                    </a:lnTo>
                    <a:lnTo>
                      <a:pt x="47" y="277"/>
                    </a:lnTo>
                    <a:lnTo>
                      <a:pt x="27" y="253"/>
                    </a:lnTo>
                    <a:lnTo>
                      <a:pt x="12" y="226"/>
                    </a:lnTo>
                    <a:lnTo>
                      <a:pt x="3" y="195"/>
                    </a:lnTo>
                    <a:lnTo>
                      <a:pt x="0" y="162"/>
                    </a:lnTo>
                    <a:lnTo>
                      <a:pt x="3" y="130"/>
                    </a:lnTo>
                    <a:lnTo>
                      <a:pt x="12" y="99"/>
                    </a:lnTo>
                    <a:lnTo>
                      <a:pt x="27" y="72"/>
                    </a:lnTo>
                    <a:lnTo>
                      <a:pt x="47" y="48"/>
                    </a:lnTo>
                    <a:lnTo>
                      <a:pt x="72" y="28"/>
                    </a:lnTo>
                    <a:lnTo>
                      <a:pt x="100" y="13"/>
                    </a:lnTo>
                    <a:lnTo>
                      <a:pt x="131" y="3"/>
                    </a:lnTo>
                    <a:lnTo>
                      <a:pt x="1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85" name="Freeform 40"/>
              <p:cNvSpPr>
                <a:spLocks/>
              </p:cNvSpPr>
              <p:nvPr/>
            </p:nvSpPr>
            <p:spPr bwMode="auto">
              <a:xfrm>
                <a:off x="12973051" y="3055938"/>
                <a:ext cx="79375" cy="204788"/>
              </a:xfrm>
              <a:custGeom>
                <a:avLst/>
                <a:gdLst>
                  <a:gd name="T0" fmla="*/ 124 w 247"/>
                  <a:gd name="T1" fmla="*/ 0 h 647"/>
                  <a:gd name="T2" fmla="*/ 152 w 247"/>
                  <a:gd name="T3" fmla="*/ 3 h 647"/>
                  <a:gd name="T4" fmla="*/ 178 w 247"/>
                  <a:gd name="T5" fmla="*/ 12 h 647"/>
                  <a:gd name="T6" fmla="*/ 201 w 247"/>
                  <a:gd name="T7" fmla="*/ 26 h 647"/>
                  <a:gd name="T8" fmla="*/ 220 w 247"/>
                  <a:gd name="T9" fmla="*/ 46 h 647"/>
                  <a:gd name="T10" fmla="*/ 235 w 247"/>
                  <a:gd name="T11" fmla="*/ 68 h 647"/>
                  <a:gd name="T12" fmla="*/ 244 w 247"/>
                  <a:gd name="T13" fmla="*/ 94 h 647"/>
                  <a:gd name="T14" fmla="*/ 247 w 247"/>
                  <a:gd name="T15" fmla="*/ 121 h 647"/>
                  <a:gd name="T16" fmla="*/ 247 w 247"/>
                  <a:gd name="T17" fmla="*/ 526 h 647"/>
                  <a:gd name="T18" fmla="*/ 244 w 247"/>
                  <a:gd name="T19" fmla="*/ 555 h 647"/>
                  <a:gd name="T20" fmla="*/ 235 w 247"/>
                  <a:gd name="T21" fmla="*/ 580 h 647"/>
                  <a:gd name="T22" fmla="*/ 220 w 247"/>
                  <a:gd name="T23" fmla="*/ 603 h 647"/>
                  <a:gd name="T24" fmla="*/ 201 w 247"/>
                  <a:gd name="T25" fmla="*/ 621 h 647"/>
                  <a:gd name="T26" fmla="*/ 178 w 247"/>
                  <a:gd name="T27" fmla="*/ 635 h 647"/>
                  <a:gd name="T28" fmla="*/ 152 w 247"/>
                  <a:gd name="T29" fmla="*/ 645 h 647"/>
                  <a:gd name="T30" fmla="*/ 124 w 247"/>
                  <a:gd name="T31" fmla="*/ 647 h 647"/>
                  <a:gd name="T32" fmla="*/ 95 w 247"/>
                  <a:gd name="T33" fmla="*/ 645 h 647"/>
                  <a:gd name="T34" fmla="*/ 69 w 247"/>
                  <a:gd name="T35" fmla="*/ 635 h 647"/>
                  <a:gd name="T36" fmla="*/ 46 w 247"/>
                  <a:gd name="T37" fmla="*/ 621 h 647"/>
                  <a:gd name="T38" fmla="*/ 27 w 247"/>
                  <a:gd name="T39" fmla="*/ 603 h 647"/>
                  <a:gd name="T40" fmla="*/ 13 w 247"/>
                  <a:gd name="T41" fmla="*/ 580 h 647"/>
                  <a:gd name="T42" fmla="*/ 3 w 247"/>
                  <a:gd name="T43" fmla="*/ 555 h 647"/>
                  <a:gd name="T44" fmla="*/ 0 w 247"/>
                  <a:gd name="T45" fmla="*/ 526 h 647"/>
                  <a:gd name="T46" fmla="*/ 0 w 247"/>
                  <a:gd name="T47" fmla="*/ 121 h 647"/>
                  <a:gd name="T48" fmla="*/ 3 w 247"/>
                  <a:gd name="T49" fmla="*/ 94 h 647"/>
                  <a:gd name="T50" fmla="*/ 13 w 247"/>
                  <a:gd name="T51" fmla="*/ 68 h 647"/>
                  <a:gd name="T52" fmla="*/ 27 w 247"/>
                  <a:gd name="T53" fmla="*/ 46 h 647"/>
                  <a:gd name="T54" fmla="*/ 46 w 247"/>
                  <a:gd name="T55" fmla="*/ 26 h 647"/>
                  <a:gd name="T56" fmla="*/ 69 w 247"/>
                  <a:gd name="T57" fmla="*/ 12 h 647"/>
                  <a:gd name="T58" fmla="*/ 95 w 247"/>
                  <a:gd name="T59" fmla="*/ 3 h 647"/>
                  <a:gd name="T60" fmla="*/ 124 w 247"/>
                  <a:gd name="T61" fmla="*/ 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7" h="647">
                    <a:moveTo>
                      <a:pt x="124" y="0"/>
                    </a:moveTo>
                    <a:lnTo>
                      <a:pt x="152" y="3"/>
                    </a:lnTo>
                    <a:lnTo>
                      <a:pt x="178" y="12"/>
                    </a:lnTo>
                    <a:lnTo>
                      <a:pt x="201" y="26"/>
                    </a:lnTo>
                    <a:lnTo>
                      <a:pt x="220" y="46"/>
                    </a:lnTo>
                    <a:lnTo>
                      <a:pt x="235" y="68"/>
                    </a:lnTo>
                    <a:lnTo>
                      <a:pt x="244" y="94"/>
                    </a:lnTo>
                    <a:lnTo>
                      <a:pt x="247" y="121"/>
                    </a:lnTo>
                    <a:lnTo>
                      <a:pt x="247" y="526"/>
                    </a:lnTo>
                    <a:lnTo>
                      <a:pt x="244" y="555"/>
                    </a:lnTo>
                    <a:lnTo>
                      <a:pt x="235" y="580"/>
                    </a:lnTo>
                    <a:lnTo>
                      <a:pt x="220" y="603"/>
                    </a:lnTo>
                    <a:lnTo>
                      <a:pt x="201" y="621"/>
                    </a:lnTo>
                    <a:lnTo>
                      <a:pt x="178" y="635"/>
                    </a:lnTo>
                    <a:lnTo>
                      <a:pt x="152" y="645"/>
                    </a:lnTo>
                    <a:lnTo>
                      <a:pt x="124" y="647"/>
                    </a:lnTo>
                    <a:lnTo>
                      <a:pt x="95" y="645"/>
                    </a:lnTo>
                    <a:lnTo>
                      <a:pt x="69" y="635"/>
                    </a:lnTo>
                    <a:lnTo>
                      <a:pt x="46" y="621"/>
                    </a:lnTo>
                    <a:lnTo>
                      <a:pt x="27" y="603"/>
                    </a:lnTo>
                    <a:lnTo>
                      <a:pt x="13" y="580"/>
                    </a:lnTo>
                    <a:lnTo>
                      <a:pt x="3" y="555"/>
                    </a:lnTo>
                    <a:lnTo>
                      <a:pt x="0" y="526"/>
                    </a:lnTo>
                    <a:lnTo>
                      <a:pt x="0" y="121"/>
                    </a:lnTo>
                    <a:lnTo>
                      <a:pt x="3" y="94"/>
                    </a:lnTo>
                    <a:lnTo>
                      <a:pt x="13" y="68"/>
                    </a:lnTo>
                    <a:lnTo>
                      <a:pt x="27" y="46"/>
                    </a:lnTo>
                    <a:lnTo>
                      <a:pt x="46" y="26"/>
                    </a:lnTo>
                    <a:lnTo>
                      <a:pt x="69" y="12"/>
                    </a:lnTo>
                    <a:lnTo>
                      <a:pt x="95" y="3"/>
                    </a:lnTo>
                    <a:lnTo>
                      <a:pt x="1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86" name="Freeform 41"/>
              <p:cNvSpPr>
                <a:spLocks/>
              </p:cNvSpPr>
              <p:nvPr/>
            </p:nvSpPr>
            <p:spPr bwMode="auto">
              <a:xfrm>
                <a:off x="13103226" y="3003550"/>
                <a:ext cx="79375" cy="257175"/>
              </a:xfrm>
              <a:custGeom>
                <a:avLst/>
                <a:gdLst>
                  <a:gd name="T0" fmla="*/ 124 w 247"/>
                  <a:gd name="T1" fmla="*/ 0 h 810"/>
                  <a:gd name="T2" fmla="*/ 152 w 247"/>
                  <a:gd name="T3" fmla="*/ 3 h 810"/>
                  <a:gd name="T4" fmla="*/ 179 w 247"/>
                  <a:gd name="T5" fmla="*/ 13 h 810"/>
                  <a:gd name="T6" fmla="*/ 201 w 247"/>
                  <a:gd name="T7" fmla="*/ 27 h 810"/>
                  <a:gd name="T8" fmla="*/ 221 w 247"/>
                  <a:gd name="T9" fmla="*/ 46 h 810"/>
                  <a:gd name="T10" fmla="*/ 235 w 247"/>
                  <a:gd name="T11" fmla="*/ 69 h 810"/>
                  <a:gd name="T12" fmla="*/ 244 w 247"/>
                  <a:gd name="T13" fmla="*/ 94 h 810"/>
                  <a:gd name="T14" fmla="*/ 247 w 247"/>
                  <a:gd name="T15" fmla="*/ 122 h 810"/>
                  <a:gd name="T16" fmla="*/ 247 w 247"/>
                  <a:gd name="T17" fmla="*/ 689 h 810"/>
                  <a:gd name="T18" fmla="*/ 244 w 247"/>
                  <a:gd name="T19" fmla="*/ 718 h 810"/>
                  <a:gd name="T20" fmla="*/ 235 w 247"/>
                  <a:gd name="T21" fmla="*/ 743 h 810"/>
                  <a:gd name="T22" fmla="*/ 221 w 247"/>
                  <a:gd name="T23" fmla="*/ 766 h 810"/>
                  <a:gd name="T24" fmla="*/ 201 w 247"/>
                  <a:gd name="T25" fmla="*/ 784 h 810"/>
                  <a:gd name="T26" fmla="*/ 179 w 247"/>
                  <a:gd name="T27" fmla="*/ 798 h 810"/>
                  <a:gd name="T28" fmla="*/ 152 w 247"/>
                  <a:gd name="T29" fmla="*/ 808 h 810"/>
                  <a:gd name="T30" fmla="*/ 124 w 247"/>
                  <a:gd name="T31" fmla="*/ 810 h 810"/>
                  <a:gd name="T32" fmla="*/ 95 w 247"/>
                  <a:gd name="T33" fmla="*/ 808 h 810"/>
                  <a:gd name="T34" fmla="*/ 70 w 247"/>
                  <a:gd name="T35" fmla="*/ 798 h 810"/>
                  <a:gd name="T36" fmla="*/ 47 w 247"/>
                  <a:gd name="T37" fmla="*/ 784 h 810"/>
                  <a:gd name="T38" fmla="*/ 28 w 247"/>
                  <a:gd name="T39" fmla="*/ 766 h 810"/>
                  <a:gd name="T40" fmla="*/ 13 w 247"/>
                  <a:gd name="T41" fmla="*/ 743 h 810"/>
                  <a:gd name="T42" fmla="*/ 3 w 247"/>
                  <a:gd name="T43" fmla="*/ 718 h 810"/>
                  <a:gd name="T44" fmla="*/ 0 w 247"/>
                  <a:gd name="T45" fmla="*/ 689 h 810"/>
                  <a:gd name="T46" fmla="*/ 0 w 247"/>
                  <a:gd name="T47" fmla="*/ 122 h 810"/>
                  <a:gd name="T48" fmla="*/ 3 w 247"/>
                  <a:gd name="T49" fmla="*/ 94 h 810"/>
                  <a:gd name="T50" fmla="*/ 13 w 247"/>
                  <a:gd name="T51" fmla="*/ 69 h 810"/>
                  <a:gd name="T52" fmla="*/ 28 w 247"/>
                  <a:gd name="T53" fmla="*/ 46 h 810"/>
                  <a:gd name="T54" fmla="*/ 47 w 247"/>
                  <a:gd name="T55" fmla="*/ 27 h 810"/>
                  <a:gd name="T56" fmla="*/ 70 w 247"/>
                  <a:gd name="T57" fmla="*/ 13 h 810"/>
                  <a:gd name="T58" fmla="*/ 95 w 247"/>
                  <a:gd name="T59" fmla="*/ 3 h 810"/>
                  <a:gd name="T60" fmla="*/ 124 w 247"/>
                  <a:gd name="T61" fmla="*/ 0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7" h="810">
                    <a:moveTo>
                      <a:pt x="124" y="0"/>
                    </a:moveTo>
                    <a:lnTo>
                      <a:pt x="152" y="3"/>
                    </a:lnTo>
                    <a:lnTo>
                      <a:pt x="179" y="13"/>
                    </a:lnTo>
                    <a:lnTo>
                      <a:pt x="201" y="27"/>
                    </a:lnTo>
                    <a:lnTo>
                      <a:pt x="221" y="46"/>
                    </a:lnTo>
                    <a:lnTo>
                      <a:pt x="235" y="69"/>
                    </a:lnTo>
                    <a:lnTo>
                      <a:pt x="244" y="94"/>
                    </a:lnTo>
                    <a:lnTo>
                      <a:pt x="247" y="122"/>
                    </a:lnTo>
                    <a:lnTo>
                      <a:pt x="247" y="689"/>
                    </a:lnTo>
                    <a:lnTo>
                      <a:pt x="244" y="718"/>
                    </a:lnTo>
                    <a:lnTo>
                      <a:pt x="235" y="743"/>
                    </a:lnTo>
                    <a:lnTo>
                      <a:pt x="221" y="766"/>
                    </a:lnTo>
                    <a:lnTo>
                      <a:pt x="201" y="784"/>
                    </a:lnTo>
                    <a:lnTo>
                      <a:pt x="179" y="798"/>
                    </a:lnTo>
                    <a:lnTo>
                      <a:pt x="152" y="808"/>
                    </a:lnTo>
                    <a:lnTo>
                      <a:pt x="124" y="810"/>
                    </a:lnTo>
                    <a:lnTo>
                      <a:pt x="95" y="808"/>
                    </a:lnTo>
                    <a:lnTo>
                      <a:pt x="70" y="798"/>
                    </a:lnTo>
                    <a:lnTo>
                      <a:pt x="47" y="784"/>
                    </a:lnTo>
                    <a:lnTo>
                      <a:pt x="28" y="766"/>
                    </a:lnTo>
                    <a:lnTo>
                      <a:pt x="13" y="743"/>
                    </a:lnTo>
                    <a:lnTo>
                      <a:pt x="3" y="718"/>
                    </a:lnTo>
                    <a:lnTo>
                      <a:pt x="0" y="689"/>
                    </a:lnTo>
                    <a:lnTo>
                      <a:pt x="0" y="122"/>
                    </a:lnTo>
                    <a:lnTo>
                      <a:pt x="3" y="94"/>
                    </a:lnTo>
                    <a:lnTo>
                      <a:pt x="13" y="69"/>
                    </a:lnTo>
                    <a:lnTo>
                      <a:pt x="28" y="46"/>
                    </a:lnTo>
                    <a:lnTo>
                      <a:pt x="47" y="27"/>
                    </a:lnTo>
                    <a:lnTo>
                      <a:pt x="70" y="13"/>
                    </a:lnTo>
                    <a:lnTo>
                      <a:pt x="95" y="3"/>
                    </a:lnTo>
                    <a:lnTo>
                      <a:pt x="1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87" name="Freeform 42"/>
              <p:cNvSpPr>
                <a:spLocks/>
              </p:cNvSpPr>
              <p:nvPr/>
            </p:nvSpPr>
            <p:spPr bwMode="auto">
              <a:xfrm>
                <a:off x="13234988" y="2952750"/>
                <a:ext cx="77788" cy="307975"/>
              </a:xfrm>
              <a:custGeom>
                <a:avLst/>
                <a:gdLst>
                  <a:gd name="T0" fmla="*/ 123 w 246"/>
                  <a:gd name="T1" fmla="*/ 0 h 971"/>
                  <a:gd name="T2" fmla="*/ 151 w 246"/>
                  <a:gd name="T3" fmla="*/ 3 h 971"/>
                  <a:gd name="T4" fmla="*/ 177 w 246"/>
                  <a:gd name="T5" fmla="*/ 12 h 971"/>
                  <a:gd name="T6" fmla="*/ 199 w 246"/>
                  <a:gd name="T7" fmla="*/ 26 h 971"/>
                  <a:gd name="T8" fmla="*/ 219 w 246"/>
                  <a:gd name="T9" fmla="*/ 45 h 971"/>
                  <a:gd name="T10" fmla="*/ 234 w 246"/>
                  <a:gd name="T11" fmla="*/ 67 h 971"/>
                  <a:gd name="T12" fmla="*/ 243 w 246"/>
                  <a:gd name="T13" fmla="*/ 93 h 971"/>
                  <a:gd name="T14" fmla="*/ 246 w 246"/>
                  <a:gd name="T15" fmla="*/ 121 h 971"/>
                  <a:gd name="T16" fmla="*/ 246 w 246"/>
                  <a:gd name="T17" fmla="*/ 850 h 971"/>
                  <a:gd name="T18" fmla="*/ 243 w 246"/>
                  <a:gd name="T19" fmla="*/ 879 h 971"/>
                  <a:gd name="T20" fmla="*/ 234 w 246"/>
                  <a:gd name="T21" fmla="*/ 904 h 971"/>
                  <a:gd name="T22" fmla="*/ 219 w 246"/>
                  <a:gd name="T23" fmla="*/ 927 h 971"/>
                  <a:gd name="T24" fmla="*/ 199 w 246"/>
                  <a:gd name="T25" fmla="*/ 945 h 971"/>
                  <a:gd name="T26" fmla="*/ 177 w 246"/>
                  <a:gd name="T27" fmla="*/ 959 h 971"/>
                  <a:gd name="T28" fmla="*/ 151 w 246"/>
                  <a:gd name="T29" fmla="*/ 969 h 971"/>
                  <a:gd name="T30" fmla="*/ 123 w 246"/>
                  <a:gd name="T31" fmla="*/ 971 h 971"/>
                  <a:gd name="T32" fmla="*/ 94 w 246"/>
                  <a:gd name="T33" fmla="*/ 969 h 971"/>
                  <a:gd name="T34" fmla="*/ 68 w 246"/>
                  <a:gd name="T35" fmla="*/ 959 h 971"/>
                  <a:gd name="T36" fmla="*/ 45 w 246"/>
                  <a:gd name="T37" fmla="*/ 945 h 971"/>
                  <a:gd name="T38" fmla="*/ 26 w 246"/>
                  <a:gd name="T39" fmla="*/ 927 h 971"/>
                  <a:gd name="T40" fmla="*/ 12 w 246"/>
                  <a:gd name="T41" fmla="*/ 904 h 971"/>
                  <a:gd name="T42" fmla="*/ 3 w 246"/>
                  <a:gd name="T43" fmla="*/ 879 h 971"/>
                  <a:gd name="T44" fmla="*/ 0 w 246"/>
                  <a:gd name="T45" fmla="*/ 850 h 971"/>
                  <a:gd name="T46" fmla="*/ 0 w 246"/>
                  <a:gd name="T47" fmla="*/ 121 h 971"/>
                  <a:gd name="T48" fmla="*/ 3 w 246"/>
                  <a:gd name="T49" fmla="*/ 93 h 971"/>
                  <a:gd name="T50" fmla="*/ 12 w 246"/>
                  <a:gd name="T51" fmla="*/ 67 h 971"/>
                  <a:gd name="T52" fmla="*/ 26 w 246"/>
                  <a:gd name="T53" fmla="*/ 45 h 971"/>
                  <a:gd name="T54" fmla="*/ 45 w 246"/>
                  <a:gd name="T55" fmla="*/ 26 h 971"/>
                  <a:gd name="T56" fmla="*/ 68 w 246"/>
                  <a:gd name="T57" fmla="*/ 12 h 971"/>
                  <a:gd name="T58" fmla="*/ 94 w 246"/>
                  <a:gd name="T59" fmla="*/ 3 h 971"/>
                  <a:gd name="T60" fmla="*/ 123 w 246"/>
                  <a:gd name="T61" fmla="*/ 0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6" h="971">
                    <a:moveTo>
                      <a:pt x="123" y="0"/>
                    </a:moveTo>
                    <a:lnTo>
                      <a:pt x="151" y="3"/>
                    </a:lnTo>
                    <a:lnTo>
                      <a:pt x="177" y="12"/>
                    </a:lnTo>
                    <a:lnTo>
                      <a:pt x="199" y="26"/>
                    </a:lnTo>
                    <a:lnTo>
                      <a:pt x="219" y="45"/>
                    </a:lnTo>
                    <a:lnTo>
                      <a:pt x="234" y="67"/>
                    </a:lnTo>
                    <a:lnTo>
                      <a:pt x="243" y="93"/>
                    </a:lnTo>
                    <a:lnTo>
                      <a:pt x="246" y="121"/>
                    </a:lnTo>
                    <a:lnTo>
                      <a:pt x="246" y="850"/>
                    </a:lnTo>
                    <a:lnTo>
                      <a:pt x="243" y="879"/>
                    </a:lnTo>
                    <a:lnTo>
                      <a:pt x="234" y="904"/>
                    </a:lnTo>
                    <a:lnTo>
                      <a:pt x="219" y="927"/>
                    </a:lnTo>
                    <a:lnTo>
                      <a:pt x="199" y="945"/>
                    </a:lnTo>
                    <a:lnTo>
                      <a:pt x="177" y="959"/>
                    </a:lnTo>
                    <a:lnTo>
                      <a:pt x="151" y="969"/>
                    </a:lnTo>
                    <a:lnTo>
                      <a:pt x="123" y="971"/>
                    </a:lnTo>
                    <a:lnTo>
                      <a:pt x="94" y="969"/>
                    </a:lnTo>
                    <a:lnTo>
                      <a:pt x="68" y="959"/>
                    </a:lnTo>
                    <a:lnTo>
                      <a:pt x="45" y="945"/>
                    </a:lnTo>
                    <a:lnTo>
                      <a:pt x="26" y="927"/>
                    </a:lnTo>
                    <a:lnTo>
                      <a:pt x="12" y="904"/>
                    </a:lnTo>
                    <a:lnTo>
                      <a:pt x="3" y="879"/>
                    </a:lnTo>
                    <a:lnTo>
                      <a:pt x="0" y="850"/>
                    </a:lnTo>
                    <a:lnTo>
                      <a:pt x="0" y="121"/>
                    </a:lnTo>
                    <a:lnTo>
                      <a:pt x="3" y="93"/>
                    </a:lnTo>
                    <a:lnTo>
                      <a:pt x="12" y="67"/>
                    </a:lnTo>
                    <a:lnTo>
                      <a:pt x="26" y="45"/>
                    </a:lnTo>
                    <a:lnTo>
                      <a:pt x="45" y="26"/>
                    </a:lnTo>
                    <a:lnTo>
                      <a:pt x="68" y="12"/>
                    </a:lnTo>
                    <a:lnTo>
                      <a:pt x="94" y="3"/>
                    </a:lnTo>
                    <a:lnTo>
                      <a:pt x="1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88" name="Freeform 43"/>
              <p:cNvSpPr>
                <a:spLocks/>
              </p:cNvSpPr>
              <p:nvPr/>
            </p:nvSpPr>
            <p:spPr bwMode="auto">
              <a:xfrm>
                <a:off x="12790488" y="2682875"/>
                <a:ext cx="1149350" cy="746125"/>
              </a:xfrm>
              <a:custGeom>
                <a:avLst/>
                <a:gdLst>
                  <a:gd name="T0" fmla="*/ 3457 w 3621"/>
                  <a:gd name="T1" fmla="*/ 0 h 2350"/>
                  <a:gd name="T2" fmla="*/ 3521 w 3621"/>
                  <a:gd name="T3" fmla="*/ 12 h 2350"/>
                  <a:gd name="T4" fmla="*/ 3573 w 3621"/>
                  <a:gd name="T5" fmla="*/ 47 h 2350"/>
                  <a:gd name="T6" fmla="*/ 3609 w 3621"/>
                  <a:gd name="T7" fmla="*/ 98 h 2350"/>
                  <a:gd name="T8" fmla="*/ 3621 w 3621"/>
                  <a:gd name="T9" fmla="*/ 161 h 2350"/>
                  <a:gd name="T10" fmla="*/ 3400 w 3621"/>
                  <a:gd name="T11" fmla="*/ 1781 h 2350"/>
                  <a:gd name="T12" fmla="*/ 3463 w 3621"/>
                  <a:gd name="T13" fmla="*/ 1647 h 2350"/>
                  <a:gd name="T14" fmla="*/ 3501 w 3621"/>
                  <a:gd name="T15" fmla="*/ 1504 h 2350"/>
                  <a:gd name="T16" fmla="*/ 3515 w 3621"/>
                  <a:gd name="T17" fmla="*/ 1356 h 2350"/>
                  <a:gd name="T18" fmla="*/ 3503 w 3621"/>
                  <a:gd name="T19" fmla="*/ 1215 h 2350"/>
                  <a:gd name="T20" fmla="*/ 3469 w 3621"/>
                  <a:gd name="T21" fmla="*/ 1080 h 2350"/>
                  <a:gd name="T22" fmla="*/ 3414 w 3621"/>
                  <a:gd name="T23" fmla="*/ 953 h 2350"/>
                  <a:gd name="T24" fmla="*/ 3337 w 3621"/>
                  <a:gd name="T25" fmla="*/ 835 h 2350"/>
                  <a:gd name="T26" fmla="*/ 3292 w 3621"/>
                  <a:gd name="T27" fmla="*/ 324 h 2350"/>
                  <a:gd name="T28" fmla="*/ 329 w 3621"/>
                  <a:gd name="T29" fmla="*/ 2026 h 2350"/>
                  <a:gd name="T30" fmla="*/ 2123 w 3621"/>
                  <a:gd name="T31" fmla="*/ 2067 h 2350"/>
                  <a:gd name="T32" fmla="*/ 2238 w 3621"/>
                  <a:gd name="T33" fmla="*/ 2135 h 2350"/>
                  <a:gd name="T34" fmla="*/ 2362 w 3621"/>
                  <a:gd name="T35" fmla="*/ 2185 h 2350"/>
                  <a:gd name="T36" fmla="*/ 2494 w 3621"/>
                  <a:gd name="T37" fmla="*/ 2216 h 2350"/>
                  <a:gd name="T38" fmla="*/ 2631 w 3621"/>
                  <a:gd name="T39" fmla="*/ 2225 h 2350"/>
                  <a:gd name="T40" fmla="*/ 2782 w 3621"/>
                  <a:gd name="T41" fmla="*/ 2212 h 2350"/>
                  <a:gd name="T42" fmla="*/ 2927 w 3621"/>
                  <a:gd name="T43" fmla="*/ 2175 h 2350"/>
                  <a:gd name="T44" fmla="*/ 3063 w 3621"/>
                  <a:gd name="T45" fmla="*/ 2113 h 2350"/>
                  <a:gd name="T46" fmla="*/ 3296 w 3621"/>
                  <a:gd name="T47" fmla="*/ 2342 h 2350"/>
                  <a:gd name="T48" fmla="*/ 3306 w 3621"/>
                  <a:gd name="T49" fmla="*/ 2350 h 2350"/>
                  <a:gd name="T50" fmla="*/ 132 w 3621"/>
                  <a:gd name="T51" fmla="*/ 2347 h 2350"/>
                  <a:gd name="T52" fmla="*/ 73 w 3621"/>
                  <a:gd name="T53" fmla="*/ 2323 h 2350"/>
                  <a:gd name="T54" fmla="*/ 28 w 3621"/>
                  <a:gd name="T55" fmla="*/ 2278 h 2350"/>
                  <a:gd name="T56" fmla="*/ 3 w 3621"/>
                  <a:gd name="T57" fmla="*/ 2220 h 2350"/>
                  <a:gd name="T58" fmla="*/ 0 w 3621"/>
                  <a:gd name="T59" fmla="*/ 161 h 2350"/>
                  <a:gd name="T60" fmla="*/ 13 w 3621"/>
                  <a:gd name="T61" fmla="*/ 99 h 2350"/>
                  <a:gd name="T62" fmla="*/ 49 w 3621"/>
                  <a:gd name="T63" fmla="*/ 47 h 2350"/>
                  <a:gd name="T64" fmla="*/ 101 w 3621"/>
                  <a:gd name="T65" fmla="*/ 12 h 2350"/>
                  <a:gd name="T66" fmla="*/ 165 w 3621"/>
                  <a:gd name="T67" fmla="*/ 0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21" h="2350">
                    <a:moveTo>
                      <a:pt x="165" y="0"/>
                    </a:moveTo>
                    <a:lnTo>
                      <a:pt x="3457" y="0"/>
                    </a:lnTo>
                    <a:lnTo>
                      <a:pt x="3490" y="3"/>
                    </a:lnTo>
                    <a:lnTo>
                      <a:pt x="3521" y="12"/>
                    </a:lnTo>
                    <a:lnTo>
                      <a:pt x="3549" y="27"/>
                    </a:lnTo>
                    <a:lnTo>
                      <a:pt x="3573" y="47"/>
                    </a:lnTo>
                    <a:lnTo>
                      <a:pt x="3593" y="71"/>
                    </a:lnTo>
                    <a:lnTo>
                      <a:pt x="3609" y="98"/>
                    </a:lnTo>
                    <a:lnTo>
                      <a:pt x="3618" y="129"/>
                    </a:lnTo>
                    <a:lnTo>
                      <a:pt x="3621" y="161"/>
                    </a:lnTo>
                    <a:lnTo>
                      <a:pt x="3621" y="1999"/>
                    </a:lnTo>
                    <a:lnTo>
                      <a:pt x="3400" y="1781"/>
                    </a:lnTo>
                    <a:lnTo>
                      <a:pt x="3435" y="1715"/>
                    </a:lnTo>
                    <a:lnTo>
                      <a:pt x="3463" y="1647"/>
                    </a:lnTo>
                    <a:lnTo>
                      <a:pt x="3485" y="1577"/>
                    </a:lnTo>
                    <a:lnTo>
                      <a:pt x="3501" y="1504"/>
                    </a:lnTo>
                    <a:lnTo>
                      <a:pt x="3511" y="1430"/>
                    </a:lnTo>
                    <a:lnTo>
                      <a:pt x="3515" y="1356"/>
                    </a:lnTo>
                    <a:lnTo>
                      <a:pt x="3511" y="1285"/>
                    </a:lnTo>
                    <a:lnTo>
                      <a:pt x="3503" y="1215"/>
                    </a:lnTo>
                    <a:lnTo>
                      <a:pt x="3488" y="1146"/>
                    </a:lnTo>
                    <a:lnTo>
                      <a:pt x="3469" y="1080"/>
                    </a:lnTo>
                    <a:lnTo>
                      <a:pt x="3444" y="1015"/>
                    </a:lnTo>
                    <a:lnTo>
                      <a:pt x="3414" y="953"/>
                    </a:lnTo>
                    <a:lnTo>
                      <a:pt x="3378" y="892"/>
                    </a:lnTo>
                    <a:lnTo>
                      <a:pt x="3337" y="835"/>
                    </a:lnTo>
                    <a:lnTo>
                      <a:pt x="3292" y="781"/>
                    </a:lnTo>
                    <a:lnTo>
                      <a:pt x="3292" y="324"/>
                    </a:lnTo>
                    <a:lnTo>
                      <a:pt x="329" y="324"/>
                    </a:lnTo>
                    <a:lnTo>
                      <a:pt x="329" y="2026"/>
                    </a:lnTo>
                    <a:lnTo>
                      <a:pt x="2068" y="2026"/>
                    </a:lnTo>
                    <a:lnTo>
                      <a:pt x="2123" y="2067"/>
                    </a:lnTo>
                    <a:lnTo>
                      <a:pt x="2179" y="2103"/>
                    </a:lnTo>
                    <a:lnTo>
                      <a:pt x="2238" y="2135"/>
                    </a:lnTo>
                    <a:lnTo>
                      <a:pt x="2299" y="2162"/>
                    </a:lnTo>
                    <a:lnTo>
                      <a:pt x="2362" y="2185"/>
                    </a:lnTo>
                    <a:lnTo>
                      <a:pt x="2428" y="2203"/>
                    </a:lnTo>
                    <a:lnTo>
                      <a:pt x="2494" y="2216"/>
                    </a:lnTo>
                    <a:lnTo>
                      <a:pt x="2562" y="2223"/>
                    </a:lnTo>
                    <a:lnTo>
                      <a:pt x="2631" y="2225"/>
                    </a:lnTo>
                    <a:lnTo>
                      <a:pt x="2707" y="2222"/>
                    </a:lnTo>
                    <a:lnTo>
                      <a:pt x="2782" y="2212"/>
                    </a:lnTo>
                    <a:lnTo>
                      <a:pt x="2855" y="2197"/>
                    </a:lnTo>
                    <a:lnTo>
                      <a:pt x="2927" y="2175"/>
                    </a:lnTo>
                    <a:lnTo>
                      <a:pt x="2997" y="2147"/>
                    </a:lnTo>
                    <a:lnTo>
                      <a:pt x="3063" y="2113"/>
                    </a:lnTo>
                    <a:lnTo>
                      <a:pt x="3292" y="2338"/>
                    </a:lnTo>
                    <a:lnTo>
                      <a:pt x="3296" y="2342"/>
                    </a:lnTo>
                    <a:lnTo>
                      <a:pt x="3302" y="2346"/>
                    </a:lnTo>
                    <a:lnTo>
                      <a:pt x="3306" y="2350"/>
                    </a:lnTo>
                    <a:lnTo>
                      <a:pt x="165" y="2350"/>
                    </a:lnTo>
                    <a:lnTo>
                      <a:pt x="132" y="2347"/>
                    </a:lnTo>
                    <a:lnTo>
                      <a:pt x="101" y="2337"/>
                    </a:lnTo>
                    <a:lnTo>
                      <a:pt x="73" y="2323"/>
                    </a:lnTo>
                    <a:lnTo>
                      <a:pt x="49" y="2302"/>
                    </a:lnTo>
                    <a:lnTo>
                      <a:pt x="28" y="2278"/>
                    </a:lnTo>
                    <a:lnTo>
                      <a:pt x="13" y="2251"/>
                    </a:lnTo>
                    <a:lnTo>
                      <a:pt x="3" y="2220"/>
                    </a:lnTo>
                    <a:lnTo>
                      <a:pt x="0" y="2188"/>
                    </a:lnTo>
                    <a:lnTo>
                      <a:pt x="0" y="161"/>
                    </a:lnTo>
                    <a:lnTo>
                      <a:pt x="3" y="129"/>
                    </a:lnTo>
                    <a:lnTo>
                      <a:pt x="13" y="99"/>
                    </a:lnTo>
                    <a:lnTo>
                      <a:pt x="28" y="71"/>
                    </a:lnTo>
                    <a:lnTo>
                      <a:pt x="49" y="47"/>
                    </a:lnTo>
                    <a:lnTo>
                      <a:pt x="73" y="27"/>
                    </a:lnTo>
                    <a:lnTo>
                      <a:pt x="101" y="12"/>
                    </a:lnTo>
                    <a:lnTo>
                      <a:pt x="132" y="3"/>
                    </a:lnTo>
                    <a:lnTo>
                      <a:pt x="1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sp>
            <p:nvSpPr>
              <p:cNvPr id="189" name="Freeform 44"/>
              <p:cNvSpPr>
                <a:spLocks noEditPoints="1"/>
              </p:cNvSpPr>
              <p:nvPr/>
            </p:nvSpPr>
            <p:spPr bwMode="auto">
              <a:xfrm>
                <a:off x="13396913" y="2887663"/>
                <a:ext cx="515938" cy="508000"/>
              </a:xfrm>
              <a:custGeom>
                <a:avLst/>
                <a:gdLst>
                  <a:gd name="T0" fmla="*/ 607 w 1622"/>
                  <a:gd name="T1" fmla="*/ 157 h 1596"/>
                  <a:gd name="T2" fmla="*/ 450 w 1622"/>
                  <a:gd name="T3" fmla="*/ 211 h 1596"/>
                  <a:gd name="T4" fmla="*/ 315 w 1622"/>
                  <a:gd name="T5" fmla="*/ 311 h 1596"/>
                  <a:gd name="T6" fmla="*/ 215 w 1622"/>
                  <a:gd name="T7" fmla="*/ 443 h 1596"/>
                  <a:gd name="T8" fmla="*/ 159 w 1622"/>
                  <a:gd name="T9" fmla="*/ 598 h 1596"/>
                  <a:gd name="T10" fmla="*/ 151 w 1622"/>
                  <a:gd name="T11" fmla="*/ 764 h 1596"/>
                  <a:gd name="T12" fmla="*/ 191 w 1622"/>
                  <a:gd name="T13" fmla="*/ 923 h 1596"/>
                  <a:gd name="T14" fmla="*/ 277 w 1622"/>
                  <a:gd name="T15" fmla="*/ 1064 h 1596"/>
                  <a:gd name="T16" fmla="*/ 403 w 1622"/>
                  <a:gd name="T17" fmla="*/ 1176 h 1596"/>
                  <a:gd name="T18" fmla="*/ 552 w 1622"/>
                  <a:gd name="T19" fmla="*/ 1247 h 1596"/>
                  <a:gd name="T20" fmla="*/ 719 w 1622"/>
                  <a:gd name="T21" fmla="*/ 1271 h 1596"/>
                  <a:gd name="T22" fmla="*/ 885 w 1622"/>
                  <a:gd name="T23" fmla="*/ 1247 h 1596"/>
                  <a:gd name="T24" fmla="*/ 1036 w 1622"/>
                  <a:gd name="T25" fmla="*/ 1176 h 1596"/>
                  <a:gd name="T26" fmla="*/ 1161 w 1622"/>
                  <a:gd name="T27" fmla="*/ 1064 h 1596"/>
                  <a:gd name="T28" fmla="*/ 1247 w 1622"/>
                  <a:gd name="T29" fmla="*/ 923 h 1596"/>
                  <a:gd name="T30" fmla="*/ 1288 w 1622"/>
                  <a:gd name="T31" fmla="*/ 764 h 1596"/>
                  <a:gd name="T32" fmla="*/ 1279 w 1622"/>
                  <a:gd name="T33" fmla="*/ 598 h 1596"/>
                  <a:gd name="T34" fmla="*/ 1223 w 1622"/>
                  <a:gd name="T35" fmla="*/ 443 h 1596"/>
                  <a:gd name="T36" fmla="*/ 1124 w 1622"/>
                  <a:gd name="T37" fmla="*/ 311 h 1596"/>
                  <a:gd name="T38" fmla="*/ 988 w 1622"/>
                  <a:gd name="T39" fmla="*/ 211 h 1596"/>
                  <a:gd name="T40" fmla="*/ 832 w 1622"/>
                  <a:gd name="T41" fmla="*/ 157 h 1596"/>
                  <a:gd name="T42" fmla="*/ 719 w 1622"/>
                  <a:gd name="T43" fmla="*/ 0 h 1596"/>
                  <a:gd name="T44" fmla="*/ 906 w 1622"/>
                  <a:gd name="T45" fmla="*/ 24 h 1596"/>
                  <a:gd name="T46" fmla="*/ 1078 w 1622"/>
                  <a:gd name="T47" fmla="*/ 94 h 1596"/>
                  <a:gd name="T48" fmla="*/ 1228 w 1622"/>
                  <a:gd name="T49" fmla="*/ 208 h 1596"/>
                  <a:gd name="T50" fmla="*/ 1342 w 1622"/>
                  <a:gd name="T51" fmla="*/ 354 h 1596"/>
                  <a:gd name="T52" fmla="*/ 1413 w 1622"/>
                  <a:gd name="T53" fmla="*/ 524 h 1596"/>
                  <a:gd name="T54" fmla="*/ 1437 w 1622"/>
                  <a:gd name="T55" fmla="*/ 708 h 1596"/>
                  <a:gd name="T56" fmla="*/ 1411 w 1622"/>
                  <a:gd name="T57" fmla="*/ 898 h 1596"/>
                  <a:gd name="T58" fmla="*/ 1335 w 1622"/>
                  <a:gd name="T59" fmla="*/ 1072 h 1596"/>
                  <a:gd name="T60" fmla="*/ 1292 w 1622"/>
                  <a:gd name="T61" fmla="*/ 1208 h 1596"/>
                  <a:gd name="T62" fmla="*/ 1340 w 1622"/>
                  <a:gd name="T63" fmla="*/ 1219 h 1596"/>
                  <a:gd name="T64" fmla="*/ 1613 w 1622"/>
                  <a:gd name="T65" fmla="*/ 1489 h 1596"/>
                  <a:gd name="T66" fmla="*/ 1619 w 1622"/>
                  <a:gd name="T67" fmla="*/ 1543 h 1596"/>
                  <a:gd name="T68" fmla="*/ 1585 w 1622"/>
                  <a:gd name="T69" fmla="*/ 1587 h 1596"/>
                  <a:gd name="T70" fmla="*/ 1530 w 1622"/>
                  <a:gd name="T71" fmla="*/ 1594 h 1596"/>
                  <a:gd name="T72" fmla="*/ 1249 w 1622"/>
                  <a:gd name="T73" fmla="*/ 1332 h 1596"/>
                  <a:gd name="T74" fmla="*/ 1228 w 1622"/>
                  <a:gd name="T75" fmla="*/ 1289 h 1596"/>
                  <a:gd name="T76" fmla="*/ 1142 w 1622"/>
                  <a:gd name="T77" fmla="*/ 1279 h 1596"/>
                  <a:gd name="T78" fmla="*/ 973 w 1622"/>
                  <a:gd name="T79" fmla="*/ 1370 h 1596"/>
                  <a:gd name="T80" fmla="*/ 784 w 1622"/>
                  <a:gd name="T81" fmla="*/ 1413 h 1596"/>
                  <a:gd name="T82" fmla="*/ 593 w 1622"/>
                  <a:gd name="T83" fmla="*/ 1405 h 1596"/>
                  <a:gd name="T84" fmla="*/ 416 w 1622"/>
                  <a:gd name="T85" fmla="*/ 1349 h 1596"/>
                  <a:gd name="T86" fmla="*/ 258 w 1622"/>
                  <a:gd name="T87" fmla="*/ 1251 h 1596"/>
                  <a:gd name="T88" fmla="*/ 130 w 1622"/>
                  <a:gd name="T89" fmla="*/ 1113 h 1596"/>
                  <a:gd name="T90" fmla="*/ 43 w 1622"/>
                  <a:gd name="T91" fmla="*/ 951 h 1596"/>
                  <a:gd name="T92" fmla="*/ 3 w 1622"/>
                  <a:gd name="T93" fmla="*/ 770 h 1596"/>
                  <a:gd name="T94" fmla="*/ 11 w 1622"/>
                  <a:gd name="T95" fmla="*/ 584 h 1596"/>
                  <a:gd name="T96" fmla="*/ 68 w 1622"/>
                  <a:gd name="T97" fmla="*/ 409 h 1596"/>
                  <a:gd name="T98" fmla="*/ 168 w 1622"/>
                  <a:gd name="T99" fmla="*/ 254 h 1596"/>
                  <a:gd name="T100" fmla="*/ 307 w 1622"/>
                  <a:gd name="T101" fmla="*/ 127 h 1596"/>
                  <a:gd name="T102" fmla="*/ 473 w 1622"/>
                  <a:gd name="T103" fmla="*/ 43 h 1596"/>
                  <a:gd name="T104" fmla="*/ 656 w 1622"/>
                  <a:gd name="T105" fmla="*/ 3 h 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22" h="1596">
                    <a:moveTo>
                      <a:pt x="719" y="146"/>
                    </a:moveTo>
                    <a:lnTo>
                      <a:pt x="662" y="148"/>
                    </a:lnTo>
                    <a:lnTo>
                      <a:pt x="607" y="157"/>
                    </a:lnTo>
                    <a:lnTo>
                      <a:pt x="552" y="170"/>
                    </a:lnTo>
                    <a:lnTo>
                      <a:pt x="500" y="188"/>
                    </a:lnTo>
                    <a:lnTo>
                      <a:pt x="450" y="211"/>
                    </a:lnTo>
                    <a:lnTo>
                      <a:pt x="403" y="240"/>
                    </a:lnTo>
                    <a:lnTo>
                      <a:pt x="357" y="272"/>
                    </a:lnTo>
                    <a:lnTo>
                      <a:pt x="315" y="311"/>
                    </a:lnTo>
                    <a:lnTo>
                      <a:pt x="277" y="352"/>
                    </a:lnTo>
                    <a:lnTo>
                      <a:pt x="244" y="396"/>
                    </a:lnTo>
                    <a:lnTo>
                      <a:pt x="215" y="443"/>
                    </a:lnTo>
                    <a:lnTo>
                      <a:pt x="191" y="493"/>
                    </a:lnTo>
                    <a:lnTo>
                      <a:pt x="172" y="544"/>
                    </a:lnTo>
                    <a:lnTo>
                      <a:pt x="159" y="598"/>
                    </a:lnTo>
                    <a:lnTo>
                      <a:pt x="151" y="652"/>
                    </a:lnTo>
                    <a:lnTo>
                      <a:pt x="148" y="708"/>
                    </a:lnTo>
                    <a:lnTo>
                      <a:pt x="151" y="764"/>
                    </a:lnTo>
                    <a:lnTo>
                      <a:pt x="159" y="818"/>
                    </a:lnTo>
                    <a:lnTo>
                      <a:pt x="172" y="872"/>
                    </a:lnTo>
                    <a:lnTo>
                      <a:pt x="191" y="923"/>
                    </a:lnTo>
                    <a:lnTo>
                      <a:pt x="215" y="972"/>
                    </a:lnTo>
                    <a:lnTo>
                      <a:pt x="244" y="1019"/>
                    </a:lnTo>
                    <a:lnTo>
                      <a:pt x="277" y="1064"/>
                    </a:lnTo>
                    <a:lnTo>
                      <a:pt x="315" y="1106"/>
                    </a:lnTo>
                    <a:lnTo>
                      <a:pt x="357" y="1143"/>
                    </a:lnTo>
                    <a:lnTo>
                      <a:pt x="403" y="1176"/>
                    </a:lnTo>
                    <a:lnTo>
                      <a:pt x="450" y="1204"/>
                    </a:lnTo>
                    <a:lnTo>
                      <a:pt x="500" y="1228"/>
                    </a:lnTo>
                    <a:lnTo>
                      <a:pt x="552" y="1247"/>
                    </a:lnTo>
                    <a:lnTo>
                      <a:pt x="607" y="1260"/>
                    </a:lnTo>
                    <a:lnTo>
                      <a:pt x="662" y="1267"/>
                    </a:lnTo>
                    <a:lnTo>
                      <a:pt x="719" y="1271"/>
                    </a:lnTo>
                    <a:lnTo>
                      <a:pt x="775" y="1267"/>
                    </a:lnTo>
                    <a:lnTo>
                      <a:pt x="832" y="1260"/>
                    </a:lnTo>
                    <a:lnTo>
                      <a:pt x="885" y="1247"/>
                    </a:lnTo>
                    <a:lnTo>
                      <a:pt x="938" y="1228"/>
                    </a:lnTo>
                    <a:lnTo>
                      <a:pt x="988" y="1204"/>
                    </a:lnTo>
                    <a:lnTo>
                      <a:pt x="1036" y="1176"/>
                    </a:lnTo>
                    <a:lnTo>
                      <a:pt x="1081" y="1143"/>
                    </a:lnTo>
                    <a:lnTo>
                      <a:pt x="1124" y="1106"/>
                    </a:lnTo>
                    <a:lnTo>
                      <a:pt x="1161" y="1064"/>
                    </a:lnTo>
                    <a:lnTo>
                      <a:pt x="1195" y="1019"/>
                    </a:lnTo>
                    <a:lnTo>
                      <a:pt x="1223" y="972"/>
                    </a:lnTo>
                    <a:lnTo>
                      <a:pt x="1247" y="923"/>
                    </a:lnTo>
                    <a:lnTo>
                      <a:pt x="1266" y="872"/>
                    </a:lnTo>
                    <a:lnTo>
                      <a:pt x="1279" y="818"/>
                    </a:lnTo>
                    <a:lnTo>
                      <a:pt x="1288" y="764"/>
                    </a:lnTo>
                    <a:lnTo>
                      <a:pt x="1290" y="708"/>
                    </a:lnTo>
                    <a:lnTo>
                      <a:pt x="1288" y="652"/>
                    </a:lnTo>
                    <a:lnTo>
                      <a:pt x="1279" y="598"/>
                    </a:lnTo>
                    <a:lnTo>
                      <a:pt x="1266" y="544"/>
                    </a:lnTo>
                    <a:lnTo>
                      <a:pt x="1247" y="493"/>
                    </a:lnTo>
                    <a:lnTo>
                      <a:pt x="1223" y="443"/>
                    </a:lnTo>
                    <a:lnTo>
                      <a:pt x="1195" y="396"/>
                    </a:lnTo>
                    <a:lnTo>
                      <a:pt x="1161" y="352"/>
                    </a:lnTo>
                    <a:lnTo>
                      <a:pt x="1124" y="311"/>
                    </a:lnTo>
                    <a:lnTo>
                      <a:pt x="1081" y="272"/>
                    </a:lnTo>
                    <a:lnTo>
                      <a:pt x="1036" y="240"/>
                    </a:lnTo>
                    <a:lnTo>
                      <a:pt x="988" y="211"/>
                    </a:lnTo>
                    <a:lnTo>
                      <a:pt x="938" y="188"/>
                    </a:lnTo>
                    <a:lnTo>
                      <a:pt x="885" y="170"/>
                    </a:lnTo>
                    <a:lnTo>
                      <a:pt x="832" y="157"/>
                    </a:lnTo>
                    <a:lnTo>
                      <a:pt x="775" y="148"/>
                    </a:lnTo>
                    <a:lnTo>
                      <a:pt x="719" y="146"/>
                    </a:lnTo>
                    <a:close/>
                    <a:moveTo>
                      <a:pt x="719" y="0"/>
                    </a:moveTo>
                    <a:lnTo>
                      <a:pt x="783" y="3"/>
                    </a:lnTo>
                    <a:lnTo>
                      <a:pt x="845" y="11"/>
                    </a:lnTo>
                    <a:lnTo>
                      <a:pt x="906" y="24"/>
                    </a:lnTo>
                    <a:lnTo>
                      <a:pt x="965" y="43"/>
                    </a:lnTo>
                    <a:lnTo>
                      <a:pt x="1023" y="66"/>
                    </a:lnTo>
                    <a:lnTo>
                      <a:pt x="1078" y="94"/>
                    </a:lnTo>
                    <a:lnTo>
                      <a:pt x="1130" y="127"/>
                    </a:lnTo>
                    <a:lnTo>
                      <a:pt x="1180" y="165"/>
                    </a:lnTo>
                    <a:lnTo>
                      <a:pt x="1228" y="208"/>
                    </a:lnTo>
                    <a:lnTo>
                      <a:pt x="1270" y="254"/>
                    </a:lnTo>
                    <a:lnTo>
                      <a:pt x="1309" y="303"/>
                    </a:lnTo>
                    <a:lnTo>
                      <a:pt x="1342" y="354"/>
                    </a:lnTo>
                    <a:lnTo>
                      <a:pt x="1371" y="409"/>
                    </a:lnTo>
                    <a:lnTo>
                      <a:pt x="1394" y="466"/>
                    </a:lnTo>
                    <a:lnTo>
                      <a:pt x="1413" y="524"/>
                    </a:lnTo>
                    <a:lnTo>
                      <a:pt x="1426" y="584"/>
                    </a:lnTo>
                    <a:lnTo>
                      <a:pt x="1435" y="645"/>
                    </a:lnTo>
                    <a:lnTo>
                      <a:pt x="1437" y="708"/>
                    </a:lnTo>
                    <a:lnTo>
                      <a:pt x="1434" y="773"/>
                    </a:lnTo>
                    <a:lnTo>
                      <a:pt x="1426" y="836"/>
                    </a:lnTo>
                    <a:lnTo>
                      <a:pt x="1411" y="898"/>
                    </a:lnTo>
                    <a:lnTo>
                      <a:pt x="1391" y="958"/>
                    </a:lnTo>
                    <a:lnTo>
                      <a:pt x="1365" y="1016"/>
                    </a:lnTo>
                    <a:lnTo>
                      <a:pt x="1335" y="1072"/>
                    </a:lnTo>
                    <a:lnTo>
                      <a:pt x="1299" y="1124"/>
                    </a:lnTo>
                    <a:lnTo>
                      <a:pt x="1258" y="1174"/>
                    </a:lnTo>
                    <a:lnTo>
                      <a:pt x="1292" y="1208"/>
                    </a:lnTo>
                    <a:lnTo>
                      <a:pt x="1309" y="1208"/>
                    </a:lnTo>
                    <a:lnTo>
                      <a:pt x="1324" y="1212"/>
                    </a:lnTo>
                    <a:lnTo>
                      <a:pt x="1340" y="1219"/>
                    </a:lnTo>
                    <a:lnTo>
                      <a:pt x="1353" y="1229"/>
                    </a:lnTo>
                    <a:lnTo>
                      <a:pt x="1600" y="1474"/>
                    </a:lnTo>
                    <a:lnTo>
                      <a:pt x="1613" y="1489"/>
                    </a:lnTo>
                    <a:lnTo>
                      <a:pt x="1619" y="1506"/>
                    </a:lnTo>
                    <a:lnTo>
                      <a:pt x="1622" y="1524"/>
                    </a:lnTo>
                    <a:lnTo>
                      <a:pt x="1619" y="1543"/>
                    </a:lnTo>
                    <a:lnTo>
                      <a:pt x="1613" y="1560"/>
                    </a:lnTo>
                    <a:lnTo>
                      <a:pt x="1600" y="1575"/>
                    </a:lnTo>
                    <a:lnTo>
                      <a:pt x="1585" y="1587"/>
                    </a:lnTo>
                    <a:lnTo>
                      <a:pt x="1567" y="1594"/>
                    </a:lnTo>
                    <a:lnTo>
                      <a:pt x="1548" y="1596"/>
                    </a:lnTo>
                    <a:lnTo>
                      <a:pt x="1530" y="1594"/>
                    </a:lnTo>
                    <a:lnTo>
                      <a:pt x="1512" y="1587"/>
                    </a:lnTo>
                    <a:lnTo>
                      <a:pt x="1496" y="1575"/>
                    </a:lnTo>
                    <a:lnTo>
                      <a:pt x="1249" y="1332"/>
                    </a:lnTo>
                    <a:lnTo>
                      <a:pt x="1238" y="1319"/>
                    </a:lnTo>
                    <a:lnTo>
                      <a:pt x="1231" y="1304"/>
                    </a:lnTo>
                    <a:lnTo>
                      <a:pt x="1228" y="1289"/>
                    </a:lnTo>
                    <a:lnTo>
                      <a:pt x="1228" y="1273"/>
                    </a:lnTo>
                    <a:lnTo>
                      <a:pt x="1193" y="1239"/>
                    </a:lnTo>
                    <a:lnTo>
                      <a:pt x="1142" y="1279"/>
                    </a:lnTo>
                    <a:lnTo>
                      <a:pt x="1088" y="1314"/>
                    </a:lnTo>
                    <a:lnTo>
                      <a:pt x="1032" y="1345"/>
                    </a:lnTo>
                    <a:lnTo>
                      <a:pt x="973" y="1370"/>
                    </a:lnTo>
                    <a:lnTo>
                      <a:pt x="912" y="1390"/>
                    </a:lnTo>
                    <a:lnTo>
                      <a:pt x="850" y="1404"/>
                    </a:lnTo>
                    <a:lnTo>
                      <a:pt x="784" y="1413"/>
                    </a:lnTo>
                    <a:lnTo>
                      <a:pt x="719" y="1416"/>
                    </a:lnTo>
                    <a:lnTo>
                      <a:pt x="656" y="1413"/>
                    </a:lnTo>
                    <a:lnTo>
                      <a:pt x="593" y="1405"/>
                    </a:lnTo>
                    <a:lnTo>
                      <a:pt x="532" y="1392"/>
                    </a:lnTo>
                    <a:lnTo>
                      <a:pt x="473" y="1373"/>
                    </a:lnTo>
                    <a:lnTo>
                      <a:pt x="416" y="1349"/>
                    </a:lnTo>
                    <a:lnTo>
                      <a:pt x="361" y="1322"/>
                    </a:lnTo>
                    <a:lnTo>
                      <a:pt x="307" y="1288"/>
                    </a:lnTo>
                    <a:lnTo>
                      <a:pt x="258" y="1251"/>
                    </a:lnTo>
                    <a:lnTo>
                      <a:pt x="211" y="1208"/>
                    </a:lnTo>
                    <a:lnTo>
                      <a:pt x="168" y="1162"/>
                    </a:lnTo>
                    <a:lnTo>
                      <a:pt x="130" y="1113"/>
                    </a:lnTo>
                    <a:lnTo>
                      <a:pt x="97" y="1061"/>
                    </a:lnTo>
                    <a:lnTo>
                      <a:pt x="68" y="1006"/>
                    </a:lnTo>
                    <a:lnTo>
                      <a:pt x="43" y="951"/>
                    </a:lnTo>
                    <a:lnTo>
                      <a:pt x="24" y="892"/>
                    </a:lnTo>
                    <a:lnTo>
                      <a:pt x="11" y="832"/>
                    </a:lnTo>
                    <a:lnTo>
                      <a:pt x="3" y="770"/>
                    </a:lnTo>
                    <a:lnTo>
                      <a:pt x="0" y="708"/>
                    </a:lnTo>
                    <a:lnTo>
                      <a:pt x="3" y="645"/>
                    </a:lnTo>
                    <a:lnTo>
                      <a:pt x="11" y="584"/>
                    </a:lnTo>
                    <a:lnTo>
                      <a:pt x="24" y="524"/>
                    </a:lnTo>
                    <a:lnTo>
                      <a:pt x="43" y="466"/>
                    </a:lnTo>
                    <a:lnTo>
                      <a:pt x="68" y="409"/>
                    </a:lnTo>
                    <a:lnTo>
                      <a:pt x="97" y="354"/>
                    </a:lnTo>
                    <a:lnTo>
                      <a:pt x="130" y="303"/>
                    </a:lnTo>
                    <a:lnTo>
                      <a:pt x="168" y="254"/>
                    </a:lnTo>
                    <a:lnTo>
                      <a:pt x="211" y="208"/>
                    </a:lnTo>
                    <a:lnTo>
                      <a:pt x="258" y="165"/>
                    </a:lnTo>
                    <a:lnTo>
                      <a:pt x="307" y="127"/>
                    </a:lnTo>
                    <a:lnTo>
                      <a:pt x="361" y="94"/>
                    </a:lnTo>
                    <a:lnTo>
                      <a:pt x="416" y="66"/>
                    </a:lnTo>
                    <a:lnTo>
                      <a:pt x="473" y="43"/>
                    </a:lnTo>
                    <a:lnTo>
                      <a:pt x="532" y="24"/>
                    </a:lnTo>
                    <a:lnTo>
                      <a:pt x="593" y="11"/>
                    </a:lnTo>
                    <a:lnTo>
                      <a:pt x="656" y="3"/>
                    </a:lnTo>
                    <a:lnTo>
                      <a:pt x="7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sp>
          <p:nvSpPr>
            <p:cNvPr id="183" name="Freeform 34"/>
            <p:cNvSpPr>
              <a:spLocks noEditPoints="1"/>
            </p:cNvSpPr>
            <p:nvPr/>
          </p:nvSpPr>
          <p:spPr bwMode="auto">
            <a:xfrm>
              <a:off x="5517165" y="4178817"/>
              <a:ext cx="251030" cy="206581"/>
            </a:xfrm>
            <a:custGeom>
              <a:avLst/>
              <a:gdLst>
                <a:gd name="T0" fmla="*/ 311 w 3447"/>
                <a:gd name="T1" fmla="*/ 1796 h 2834"/>
                <a:gd name="T2" fmla="*/ 964 w 3447"/>
                <a:gd name="T3" fmla="*/ 1557 h 2834"/>
                <a:gd name="T4" fmla="*/ 3001 w 3447"/>
                <a:gd name="T5" fmla="*/ 1258 h 2834"/>
                <a:gd name="T6" fmla="*/ 2990 w 3447"/>
                <a:gd name="T7" fmla="*/ 1327 h 2834"/>
                <a:gd name="T8" fmla="*/ 2941 w 3447"/>
                <a:gd name="T9" fmla="*/ 1380 h 2834"/>
                <a:gd name="T10" fmla="*/ 2871 w 3447"/>
                <a:gd name="T11" fmla="*/ 1394 h 2834"/>
                <a:gd name="T12" fmla="*/ 2806 w 3447"/>
                <a:gd name="T13" fmla="*/ 1370 h 2834"/>
                <a:gd name="T14" fmla="*/ 2986 w 3447"/>
                <a:gd name="T15" fmla="*/ 1211 h 2834"/>
                <a:gd name="T16" fmla="*/ 2752 w 3447"/>
                <a:gd name="T17" fmla="*/ 1295 h 2834"/>
                <a:gd name="T18" fmla="*/ 243 w 3447"/>
                <a:gd name="T19" fmla="*/ 493 h 2834"/>
                <a:gd name="T20" fmla="*/ 745 w 3447"/>
                <a:gd name="T21" fmla="*/ 1657 h 2834"/>
                <a:gd name="T22" fmla="*/ 1464 w 3447"/>
                <a:gd name="T23" fmla="*/ 571 h 2834"/>
                <a:gd name="T24" fmla="*/ 2784 w 3447"/>
                <a:gd name="T25" fmla="*/ 1657 h 2834"/>
                <a:gd name="T26" fmla="*/ 2734 w 3447"/>
                <a:gd name="T27" fmla="*/ 1788 h 2834"/>
                <a:gd name="T28" fmla="*/ 1511 w 3447"/>
                <a:gd name="T29" fmla="*/ 1221 h 2834"/>
                <a:gd name="T30" fmla="*/ 3447 w 3447"/>
                <a:gd name="T31" fmla="*/ 2592 h 2834"/>
                <a:gd name="T32" fmla="*/ 243 w 3447"/>
                <a:gd name="T33" fmla="*/ 2834 h 2834"/>
                <a:gd name="T34" fmla="*/ 0 w 3447"/>
                <a:gd name="T35" fmla="*/ 2522 h 2834"/>
                <a:gd name="T36" fmla="*/ 2448 w 3447"/>
                <a:gd name="T37" fmla="*/ 82 h 2834"/>
                <a:gd name="T38" fmla="*/ 2311 w 3447"/>
                <a:gd name="T39" fmla="*/ 99 h 2834"/>
                <a:gd name="T40" fmla="*/ 2184 w 3447"/>
                <a:gd name="T41" fmla="*/ 163 h 2834"/>
                <a:gd name="T42" fmla="*/ 2089 w 3447"/>
                <a:gd name="T43" fmla="*/ 264 h 2834"/>
                <a:gd name="T44" fmla="*/ 2032 w 3447"/>
                <a:gd name="T45" fmla="*/ 387 h 2834"/>
                <a:gd name="T46" fmla="*/ 2020 w 3447"/>
                <a:gd name="T47" fmla="*/ 521 h 2834"/>
                <a:gd name="T48" fmla="*/ 2051 w 3447"/>
                <a:gd name="T49" fmla="*/ 656 h 2834"/>
                <a:gd name="T50" fmla="*/ 2130 w 3447"/>
                <a:gd name="T51" fmla="*/ 776 h 2834"/>
                <a:gd name="T52" fmla="*/ 2240 w 3447"/>
                <a:gd name="T53" fmla="*/ 858 h 2834"/>
                <a:gd name="T54" fmla="*/ 2368 w 3447"/>
                <a:gd name="T55" fmla="*/ 900 h 2834"/>
                <a:gd name="T56" fmla="*/ 2504 w 3447"/>
                <a:gd name="T57" fmla="*/ 899 h 2834"/>
                <a:gd name="T58" fmla="*/ 2635 w 3447"/>
                <a:gd name="T59" fmla="*/ 850 h 2834"/>
                <a:gd name="T60" fmla="*/ 2744 w 3447"/>
                <a:gd name="T61" fmla="*/ 760 h 2834"/>
                <a:gd name="T62" fmla="*/ 2813 w 3447"/>
                <a:gd name="T63" fmla="*/ 643 h 2834"/>
                <a:gd name="T64" fmla="*/ 2840 w 3447"/>
                <a:gd name="T65" fmla="*/ 511 h 2834"/>
                <a:gd name="T66" fmla="*/ 2824 w 3447"/>
                <a:gd name="T67" fmla="*/ 375 h 2834"/>
                <a:gd name="T68" fmla="*/ 2760 w 3447"/>
                <a:gd name="T69" fmla="*/ 247 h 2834"/>
                <a:gd name="T70" fmla="*/ 2659 w 3447"/>
                <a:gd name="T71" fmla="*/ 152 h 2834"/>
                <a:gd name="T72" fmla="*/ 2537 w 3447"/>
                <a:gd name="T73" fmla="*/ 95 h 2834"/>
                <a:gd name="T74" fmla="*/ 2417 w 3447"/>
                <a:gd name="T75" fmla="*/ 0 h 2834"/>
                <a:gd name="T76" fmla="*/ 2558 w 3447"/>
                <a:gd name="T77" fmla="*/ 17 h 2834"/>
                <a:gd name="T78" fmla="*/ 2688 w 3447"/>
                <a:gd name="T79" fmla="*/ 73 h 2834"/>
                <a:gd name="T80" fmla="*/ 2798 w 3447"/>
                <a:gd name="T81" fmla="*/ 165 h 2834"/>
                <a:gd name="T82" fmla="*/ 2880 w 3447"/>
                <a:gd name="T83" fmla="*/ 291 h 2834"/>
                <a:gd name="T84" fmla="*/ 2919 w 3447"/>
                <a:gd name="T85" fmla="*/ 432 h 2834"/>
                <a:gd name="T86" fmla="*/ 2916 w 3447"/>
                <a:gd name="T87" fmla="*/ 574 h 2834"/>
                <a:gd name="T88" fmla="*/ 2873 w 3447"/>
                <a:gd name="T89" fmla="*/ 710 h 2834"/>
                <a:gd name="T90" fmla="*/ 2792 w 3447"/>
                <a:gd name="T91" fmla="*/ 828 h 2834"/>
                <a:gd name="T92" fmla="*/ 2676 w 3447"/>
                <a:gd name="T93" fmla="*/ 921 h 2834"/>
                <a:gd name="T94" fmla="*/ 2539 w 3447"/>
                <a:gd name="T95" fmla="*/ 975 h 2834"/>
                <a:gd name="T96" fmla="*/ 2396 w 3447"/>
                <a:gd name="T97" fmla="*/ 985 h 2834"/>
                <a:gd name="T98" fmla="*/ 2257 w 3447"/>
                <a:gd name="T99" fmla="*/ 955 h 2834"/>
                <a:gd name="T100" fmla="*/ 2132 w 3447"/>
                <a:gd name="T101" fmla="*/ 887 h 2834"/>
                <a:gd name="T102" fmla="*/ 2030 w 3447"/>
                <a:gd name="T103" fmla="*/ 782 h 2834"/>
                <a:gd name="T104" fmla="*/ 1961 w 3447"/>
                <a:gd name="T105" fmla="*/ 649 h 2834"/>
                <a:gd name="T106" fmla="*/ 1937 w 3447"/>
                <a:gd name="T107" fmla="*/ 507 h 2834"/>
                <a:gd name="T108" fmla="*/ 1954 w 3447"/>
                <a:gd name="T109" fmla="*/ 366 h 2834"/>
                <a:gd name="T110" fmla="*/ 2010 w 3447"/>
                <a:gd name="T111" fmla="*/ 235 h 2834"/>
                <a:gd name="T112" fmla="*/ 2102 w 3447"/>
                <a:gd name="T113" fmla="*/ 124 h 2834"/>
                <a:gd name="T114" fmla="*/ 2228 w 3447"/>
                <a:gd name="T115" fmla="*/ 43 h 2834"/>
                <a:gd name="T116" fmla="*/ 2369 w 3447"/>
                <a:gd name="T117" fmla="*/ 4 h 2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7" h="2834">
                  <a:moveTo>
                    <a:pt x="964" y="1557"/>
                  </a:moveTo>
                  <a:lnTo>
                    <a:pt x="824" y="1796"/>
                  </a:lnTo>
                  <a:lnTo>
                    <a:pt x="311" y="1796"/>
                  </a:lnTo>
                  <a:lnTo>
                    <a:pt x="311" y="2523"/>
                  </a:lnTo>
                  <a:lnTo>
                    <a:pt x="1303" y="2523"/>
                  </a:lnTo>
                  <a:lnTo>
                    <a:pt x="964" y="1557"/>
                  </a:lnTo>
                  <a:close/>
                  <a:moveTo>
                    <a:pt x="2986" y="1211"/>
                  </a:moveTo>
                  <a:lnTo>
                    <a:pt x="2996" y="1234"/>
                  </a:lnTo>
                  <a:lnTo>
                    <a:pt x="3001" y="1258"/>
                  </a:lnTo>
                  <a:lnTo>
                    <a:pt x="3001" y="1281"/>
                  </a:lnTo>
                  <a:lnTo>
                    <a:pt x="2998" y="1304"/>
                  </a:lnTo>
                  <a:lnTo>
                    <a:pt x="2990" y="1327"/>
                  </a:lnTo>
                  <a:lnTo>
                    <a:pt x="2977" y="1347"/>
                  </a:lnTo>
                  <a:lnTo>
                    <a:pt x="2961" y="1365"/>
                  </a:lnTo>
                  <a:lnTo>
                    <a:pt x="2941" y="1380"/>
                  </a:lnTo>
                  <a:lnTo>
                    <a:pt x="2919" y="1389"/>
                  </a:lnTo>
                  <a:lnTo>
                    <a:pt x="2894" y="1394"/>
                  </a:lnTo>
                  <a:lnTo>
                    <a:pt x="2871" y="1394"/>
                  </a:lnTo>
                  <a:lnTo>
                    <a:pt x="2848" y="1391"/>
                  </a:lnTo>
                  <a:lnTo>
                    <a:pt x="2826" y="1383"/>
                  </a:lnTo>
                  <a:lnTo>
                    <a:pt x="2806" y="1370"/>
                  </a:lnTo>
                  <a:lnTo>
                    <a:pt x="2789" y="1354"/>
                  </a:lnTo>
                  <a:lnTo>
                    <a:pt x="2774" y="1334"/>
                  </a:lnTo>
                  <a:lnTo>
                    <a:pt x="2986" y="1211"/>
                  </a:lnTo>
                  <a:close/>
                  <a:moveTo>
                    <a:pt x="2800" y="890"/>
                  </a:moveTo>
                  <a:lnTo>
                    <a:pt x="2963" y="1173"/>
                  </a:lnTo>
                  <a:lnTo>
                    <a:pt x="2752" y="1295"/>
                  </a:lnTo>
                  <a:lnTo>
                    <a:pt x="2588" y="1013"/>
                  </a:lnTo>
                  <a:lnTo>
                    <a:pt x="2800" y="890"/>
                  </a:lnTo>
                  <a:close/>
                  <a:moveTo>
                    <a:pt x="243" y="493"/>
                  </a:moveTo>
                  <a:lnTo>
                    <a:pt x="311" y="493"/>
                  </a:lnTo>
                  <a:lnTo>
                    <a:pt x="311" y="1657"/>
                  </a:lnTo>
                  <a:lnTo>
                    <a:pt x="745" y="1657"/>
                  </a:lnTo>
                  <a:lnTo>
                    <a:pt x="996" y="1228"/>
                  </a:lnTo>
                  <a:lnTo>
                    <a:pt x="1262" y="1990"/>
                  </a:lnTo>
                  <a:lnTo>
                    <a:pt x="1464" y="571"/>
                  </a:lnTo>
                  <a:lnTo>
                    <a:pt x="1848" y="1870"/>
                  </a:lnTo>
                  <a:lnTo>
                    <a:pt x="2216" y="1348"/>
                  </a:lnTo>
                  <a:lnTo>
                    <a:pt x="2784" y="1657"/>
                  </a:lnTo>
                  <a:lnTo>
                    <a:pt x="3447" y="1657"/>
                  </a:lnTo>
                  <a:lnTo>
                    <a:pt x="3447" y="1796"/>
                  </a:lnTo>
                  <a:lnTo>
                    <a:pt x="2734" y="1788"/>
                  </a:lnTo>
                  <a:lnTo>
                    <a:pt x="2258" y="1529"/>
                  </a:lnTo>
                  <a:lnTo>
                    <a:pt x="1796" y="2183"/>
                  </a:lnTo>
                  <a:lnTo>
                    <a:pt x="1511" y="1221"/>
                  </a:lnTo>
                  <a:lnTo>
                    <a:pt x="1327" y="2523"/>
                  </a:lnTo>
                  <a:lnTo>
                    <a:pt x="3447" y="2523"/>
                  </a:lnTo>
                  <a:lnTo>
                    <a:pt x="3447" y="2592"/>
                  </a:lnTo>
                  <a:lnTo>
                    <a:pt x="311" y="2592"/>
                  </a:lnTo>
                  <a:lnTo>
                    <a:pt x="311" y="2834"/>
                  </a:lnTo>
                  <a:lnTo>
                    <a:pt x="243" y="2834"/>
                  </a:lnTo>
                  <a:lnTo>
                    <a:pt x="243" y="2592"/>
                  </a:lnTo>
                  <a:lnTo>
                    <a:pt x="0" y="2592"/>
                  </a:lnTo>
                  <a:lnTo>
                    <a:pt x="0" y="2522"/>
                  </a:lnTo>
                  <a:lnTo>
                    <a:pt x="243" y="2522"/>
                  </a:lnTo>
                  <a:lnTo>
                    <a:pt x="243" y="493"/>
                  </a:lnTo>
                  <a:close/>
                  <a:moveTo>
                    <a:pt x="2448" y="82"/>
                  </a:moveTo>
                  <a:lnTo>
                    <a:pt x="2402" y="83"/>
                  </a:lnTo>
                  <a:lnTo>
                    <a:pt x="2356" y="88"/>
                  </a:lnTo>
                  <a:lnTo>
                    <a:pt x="2311" y="99"/>
                  </a:lnTo>
                  <a:lnTo>
                    <a:pt x="2268" y="116"/>
                  </a:lnTo>
                  <a:lnTo>
                    <a:pt x="2224" y="137"/>
                  </a:lnTo>
                  <a:lnTo>
                    <a:pt x="2184" y="163"/>
                  </a:lnTo>
                  <a:lnTo>
                    <a:pt x="2148" y="193"/>
                  </a:lnTo>
                  <a:lnTo>
                    <a:pt x="2116" y="227"/>
                  </a:lnTo>
                  <a:lnTo>
                    <a:pt x="2089" y="264"/>
                  </a:lnTo>
                  <a:lnTo>
                    <a:pt x="2065" y="302"/>
                  </a:lnTo>
                  <a:lnTo>
                    <a:pt x="2046" y="343"/>
                  </a:lnTo>
                  <a:lnTo>
                    <a:pt x="2032" y="387"/>
                  </a:lnTo>
                  <a:lnTo>
                    <a:pt x="2023" y="431"/>
                  </a:lnTo>
                  <a:lnTo>
                    <a:pt x="2019" y="476"/>
                  </a:lnTo>
                  <a:lnTo>
                    <a:pt x="2020" y="521"/>
                  </a:lnTo>
                  <a:lnTo>
                    <a:pt x="2025" y="567"/>
                  </a:lnTo>
                  <a:lnTo>
                    <a:pt x="2036" y="612"/>
                  </a:lnTo>
                  <a:lnTo>
                    <a:pt x="2051" y="656"/>
                  </a:lnTo>
                  <a:lnTo>
                    <a:pt x="2074" y="699"/>
                  </a:lnTo>
                  <a:lnTo>
                    <a:pt x="2100" y="740"/>
                  </a:lnTo>
                  <a:lnTo>
                    <a:pt x="2130" y="776"/>
                  </a:lnTo>
                  <a:lnTo>
                    <a:pt x="2164" y="807"/>
                  </a:lnTo>
                  <a:lnTo>
                    <a:pt x="2201" y="835"/>
                  </a:lnTo>
                  <a:lnTo>
                    <a:pt x="2240" y="858"/>
                  </a:lnTo>
                  <a:lnTo>
                    <a:pt x="2280" y="876"/>
                  </a:lnTo>
                  <a:lnTo>
                    <a:pt x="2324" y="891"/>
                  </a:lnTo>
                  <a:lnTo>
                    <a:pt x="2368" y="900"/>
                  </a:lnTo>
                  <a:lnTo>
                    <a:pt x="2413" y="905"/>
                  </a:lnTo>
                  <a:lnTo>
                    <a:pt x="2458" y="904"/>
                  </a:lnTo>
                  <a:lnTo>
                    <a:pt x="2504" y="899"/>
                  </a:lnTo>
                  <a:lnTo>
                    <a:pt x="2548" y="888"/>
                  </a:lnTo>
                  <a:lnTo>
                    <a:pt x="2593" y="871"/>
                  </a:lnTo>
                  <a:lnTo>
                    <a:pt x="2635" y="850"/>
                  </a:lnTo>
                  <a:lnTo>
                    <a:pt x="2675" y="823"/>
                  </a:lnTo>
                  <a:lnTo>
                    <a:pt x="2711" y="794"/>
                  </a:lnTo>
                  <a:lnTo>
                    <a:pt x="2744" y="760"/>
                  </a:lnTo>
                  <a:lnTo>
                    <a:pt x="2772" y="723"/>
                  </a:lnTo>
                  <a:lnTo>
                    <a:pt x="2794" y="685"/>
                  </a:lnTo>
                  <a:lnTo>
                    <a:pt x="2813" y="643"/>
                  </a:lnTo>
                  <a:lnTo>
                    <a:pt x="2827" y="600"/>
                  </a:lnTo>
                  <a:lnTo>
                    <a:pt x="2836" y="555"/>
                  </a:lnTo>
                  <a:lnTo>
                    <a:pt x="2840" y="511"/>
                  </a:lnTo>
                  <a:lnTo>
                    <a:pt x="2840" y="465"/>
                  </a:lnTo>
                  <a:lnTo>
                    <a:pt x="2835" y="420"/>
                  </a:lnTo>
                  <a:lnTo>
                    <a:pt x="2824" y="375"/>
                  </a:lnTo>
                  <a:lnTo>
                    <a:pt x="2808" y="331"/>
                  </a:lnTo>
                  <a:lnTo>
                    <a:pt x="2786" y="287"/>
                  </a:lnTo>
                  <a:lnTo>
                    <a:pt x="2760" y="247"/>
                  </a:lnTo>
                  <a:lnTo>
                    <a:pt x="2729" y="211"/>
                  </a:lnTo>
                  <a:lnTo>
                    <a:pt x="2696" y="179"/>
                  </a:lnTo>
                  <a:lnTo>
                    <a:pt x="2659" y="152"/>
                  </a:lnTo>
                  <a:lnTo>
                    <a:pt x="2620" y="128"/>
                  </a:lnTo>
                  <a:lnTo>
                    <a:pt x="2579" y="110"/>
                  </a:lnTo>
                  <a:lnTo>
                    <a:pt x="2537" y="95"/>
                  </a:lnTo>
                  <a:lnTo>
                    <a:pt x="2492" y="87"/>
                  </a:lnTo>
                  <a:lnTo>
                    <a:pt x="2448" y="82"/>
                  </a:lnTo>
                  <a:close/>
                  <a:moveTo>
                    <a:pt x="2417" y="0"/>
                  </a:moveTo>
                  <a:lnTo>
                    <a:pt x="2465" y="1"/>
                  </a:lnTo>
                  <a:lnTo>
                    <a:pt x="2511" y="7"/>
                  </a:lnTo>
                  <a:lnTo>
                    <a:pt x="2558" y="17"/>
                  </a:lnTo>
                  <a:lnTo>
                    <a:pt x="2602" y="32"/>
                  </a:lnTo>
                  <a:lnTo>
                    <a:pt x="2646" y="50"/>
                  </a:lnTo>
                  <a:lnTo>
                    <a:pt x="2688" y="73"/>
                  </a:lnTo>
                  <a:lnTo>
                    <a:pt x="2727" y="100"/>
                  </a:lnTo>
                  <a:lnTo>
                    <a:pt x="2764" y="130"/>
                  </a:lnTo>
                  <a:lnTo>
                    <a:pt x="2798" y="165"/>
                  </a:lnTo>
                  <a:lnTo>
                    <a:pt x="2830" y="205"/>
                  </a:lnTo>
                  <a:lnTo>
                    <a:pt x="2857" y="247"/>
                  </a:lnTo>
                  <a:lnTo>
                    <a:pt x="2880" y="291"/>
                  </a:lnTo>
                  <a:lnTo>
                    <a:pt x="2898" y="338"/>
                  </a:lnTo>
                  <a:lnTo>
                    <a:pt x="2911" y="385"/>
                  </a:lnTo>
                  <a:lnTo>
                    <a:pt x="2919" y="432"/>
                  </a:lnTo>
                  <a:lnTo>
                    <a:pt x="2923" y="480"/>
                  </a:lnTo>
                  <a:lnTo>
                    <a:pt x="2922" y="528"/>
                  </a:lnTo>
                  <a:lnTo>
                    <a:pt x="2916" y="574"/>
                  </a:lnTo>
                  <a:lnTo>
                    <a:pt x="2906" y="621"/>
                  </a:lnTo>
                  <a:lnTo>
                    <a:pt x="2891" y="667"/>
                  </a:lnTo>
                  <a:lnTo>
                    <a:pt x="2873" y="710"/>
                  </a:lnTo>
                  <a:lnTo>
                    <a:pt x="2850" y="751"/>
                  </a:lnTo>
                  <a:lnTo>
                    <a:pt x="2824" y="791"/>
                  </a:lnTo>
                  <a:lnTo>
                    <a:pt x="2792" y="828"/>
                  </a:lnTo>
                  <a:lnTo>
                    <a:pt x="2758" y="863"/>
                  </a:lnTo>
                  <a:lnTo>
                    <a:pt x="2719" y="893"/>
                  </a:lnTo>
                  <a:lnTo>
                    <a:pt x="2676" y="921"/>
                  </a:lnTo>
                  <a:lnTo>
                    <a:pt x="2632" y="943"/>
                  </a:lnTo>
                  <a:lnTo>
                    <a:pt x="2585" y="961"/>
                  </a:lnTo>
                  <a:lnTo>
                    <a:pt x="2539" y="975"/>
                  </a:lnTo>
                  <a:lnTo>
                    <a:pt x="2491" y="983"/>
                  </a:lnTo>
                  <a:lnTo>
                    <a:pt x="2443" y="987"/>
                  </a:lnTo>
                  <a:lnTo>
                    <a:pt x="2396" y="985"/>
                  </a:lnTo>
                  <a:lnTo>
                    <a:pt x="2348" y="980"/>
                  </a:lnTo>
                  <a:lnTo>
                    <a:pt x="2302" y="970"/>
                  </a:lnTo>
                  <a:lnTo>
                    <a:pt x="2257" y="955"/>
                  </a:lnTo>
                  <a:lnTo>
                    <a:pt x="2214" y="937"/>
                  </a:lnTo>
                  <a:lnTo>
                    <a:pt x="2172" y="913"/>
                  </a:lnTo>
                  <a:lnTo>
                    <a:pt x="2132" y="887"/>
                  </a:lnTo>
                  <a:lnTo>
                    <a:pt x="2095" y="855"/>
                  </a:lnTo>
                  <a:lnTo>
                    <a:pt x="2061" y="821"/>
                  </a:lnTo>
                  <a:lnTo>
                    <a:pt x="2030" y="782"/>
                  </a:lnTo>
                  <a:lnTo>
                    <a:pt x="2003" y="740"/>
                  </a:lnTo>
                  <a:lnTo>
                    <a:pt x="1979" y="695"/>
                  </a:lnTo>
                  <a:lnTo>
                    <a:pt x="1961" y="649"/>
                  </a:lnTo>
                  <a:lnTo>
                    <a:pt x="1949" y="602"/>
                  </a:lnTo>
                  <a:lnTo>
                    <a:pt x="1940" y="554"/>
                  </a:lnTo>
                  <a:lnTo>
                    <a:pt x="1937" y="507"/>
                  </a:lnTo>
                  <a:lnTo>
                    <a:pt x="1938" y="459"/>
                  </a:lnTo>
                  <a:lnTo>
                    <a:pt x="1943" y="412"/>
                  </a:lnTo>
                  <a:lnTo>
                    <a:pt x="1954" y="366"/>
                  </a:lnTo>
                  <a:lnTo>
                    <a:pt x="1968" y="320"/>
                  </a:lnTo>
                  <a:lnTo>
                    <a:pt x="1987" y="277"/>
                  </a:lnTo>
                  <a:lnTo>
                    <a:pt x="2010" y="235"/>
                  </a:lnTo>
                  <a:lnTo>
                    <a:pt x="2037" y="195"/>
                  </a:lnTo>
                  <a:lnTo>
                    <a:pt x="2067" y="159"/>
                  </a:lnTo>
                  <a:lnTo>
                    <a:pt x="2102" y="124"/>
                  </a:lnTo>
                  <a:lnTo>
                    <a:pt x="2140" y="93"/>
                  </a:lnTo>
                  <a:lnTo>
                    <a:pt x="2183" y="66"/>
                  </a:lnTo>
                  <a:lnTo>
                    <a:pt x="2228" y="43"/>
                  </a:lnTo>
                  <a:lnTo>
                    <a:pt x="2274" y="25"/>
                  </a:lnTo>
                  <a:lnTo>
                    <a:pt x="2322" y="12"/>
                  </a:lnTo>
                  <a:lnTo>
                    <a:pt x="2369" y="4"/>
                  </a:lnTo>
                  <a:lnTo>
                    <a:pt x="2417"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1110599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1" fill="hold" nodeType="clickEffect">
                                  <p:stCondLst>
                                    <p:cond delay="0"/>
                                  </p:stCondLst>
                                  <p:childTnLst>
                                    <p:anim calcmode="lin" valueType="num">
                                      <p:cBhvr additive="base">
                                        <p:cTn id="6" dur="1000"/>
                                        <p:tgtEl>
                                          <p:spTgt spid="80"/>
                                        </p:tgtEl>
                                        <p:attrNameLst>
                                          <p:attrName>ppt_x</p:attrName>
                                        </p:attrNameLst>
                                      </p:cBhvr>
                                      <p:tavLst>
                                        <p:tav tm="0">
                                          <p:val>
                                            <p:strVal val="ppt_x"/>
                                          </p:val>
                                        </p:tav>
                                        <p:tav tm="100000">
                                          <p:val>
                                            <p:strVal val="ppt_x"/>
                                          </p:val>
                                        </p:tav>
                                      </p:tavLst>
                                    </p:anim>
                                    <p:anim calcmode="lin" valueType="num">
                                      <p:cBhvr additive="base">
                                        <p:cTn id="7" dur="1000"/>
                                        <p:tgtEl>
                                          <p:spTgt spid="80"/>
                                        </p:tgtEl>
                                        <p:attrNameLst>
                                          <p:attrName>ppt_y</p:attrName>
                                        </p:attrNameLst>
                                      </p:cBhvr>
                                      <p:tavLst>
                                        <p:tav tm="0">
                                          <p:val>
                                            <p:strVal val="ppt_y"/>
                                          </p:val>
                                        </p:tav>
                                        <p:tav tm="100000">
                                          <p:val>
                                            <p:strVal val="0-ppt_h/2"/>
                                          </p:val>
                                        </p:tav>
                                      </p:tavLst>
                                    </p:anim>
                                    <p:set>
                                      <p:cBhvr>
                                        <p:cTn id="8" dur="1" fill="hold">
                                          <p:stCondLst>
                                            <p:cond delay="999"/>
                                          </p:stCondLst>
                                        </p:cTn>
                                        <p:tgtEl>
                                          <p:spTgt spid="80"/>
                                        </p:tgtEl>
                                        <p:attrNameLst>
                                          <p:attrName>style.visibility</p:attrName>
                                        </p:attrNameLst>
                                      </p:cBhvr>
                                      <p:to>
                                        <p:strVal val="hidden"/>
                                      </p:to>
                                    </p:set>
                                  </p:childTnLst>
                                </p:cTn>
                              </p:par>
                              <p:par>
                                <p:cTn id="9" presetID="2" presetClass="exit" presetSubtype="1" fill="hold" nodeType="withEffect">
                                  <p:stCondLst>
                                    <p:cond delay="0"/>
                                  </p:stCondLst>
                                  <p:childTnLst>
                                    <p:anim calcmode="lin" valueType="num">
                                      <p:cBhvr additive="base">
                                        <p:cTn id="10" dur="1000"/>
                                        <p:tgtEl>
                                          <p:spTgt spid="101"/>
                                        </p:tgtEl>
                                        <p:attrNameLst>
                                          <p:attrName>ppt_x</p:attrName>
                                        </p:attrNameLst>
                                      </p:cBhvr>
                                      <p:tavLst>
                                        <p:tav tm="0">
                                          <p:val>
                                            <p:strVal val="ppt_x"/>
                                          </p:val>
                                        </p:tav>
                                        <p:tav tm="100000">
                                          <p:val>
                                            <p:strVal val="ppt_x"/>
                                          </p:val>
                                        </p:tav>
                                      </p:tavLst>
                                    </p:anim>
                                    <p:anim calcmode="lin" valueType="num">
                                      <p:cBhvr additive="base">
                                        <p:cTn id="11" dur="1000"/>
                                        <p:tgtEl>
                                          <p:spTgt spid="101"/>
                                        </p:tgtEl>
                                        <p:attrNameLst>
                                          <p:attrName>ppt_y</p:attrName>
                                        </p:attrNameLst>
                                      </p:cBhvr>
                                      <p:tavLst>
                                        <p:tav tm="0">
                                          <p:val>
                                            <p:strVal val="ppt_y"/>
                                          </p:val>
                                        </p:tav>
                                        <p:tav tm="100000">
                                          <p:val>
                                            <p:strVal val="0-ppt_h/2"/>
                                          </p:val>
                                        </p:tav>
                                      </p:tavLst>
                                    </p:anim>
                                    <p:set>
                                      <p:cBhvr>
                                        <p:cTn id="12" dur="1" fill="hold">
                                          <p:stCondLst>
                                            <p:cond delay="999"/>
                                          </p:stCondLst>
                                        </p:cTn>
                                        <p:tgtEl>
                                          <p:spTgt spid="101"/>
                                        </p:tgtEl>
                                        <p:attrNameLst>
                                          <p:attrName>style.visibility</p:attrName>
                                        </p:attrNameLst>
                                      </p:cBhvr>
                                      <p:to>
                                        <p:strVal val="hidden"/>
                                      </p:to>
                                    </p:set>
                                  </p:childTnLst>
                                </p:cTn>
                              </p:par>
                              <p:par>
                                <p:cTn id="13" presetID="2" presetClass="exit" presetSubtype="1" fill="hold" nodeType="withEffect">
                                  <p:stCondLst>
                                    <p:cond delay="0"/>
                                  </p:stCondLst>
                                  <p:childTnLst>
                                    <p:anim calcmode="lin" valueType="num">
                                      <p:cBhvr additive="base">
                                        <p:cTn id="14" dur="1000"/>
                                        <p:tgtEl>
                                          <p:spTgt spid="98"/>
                                        </p:tgtEl>
                                        <p:attrNameLst>
                                          <p:attrName>ppt_x</p:attrName>
                                        </p:attrNameLst>
                                      </p:cBhvr>
                                      <p:tavLst>
                                        <p:tav tm="0">
                                          <p:val>
                                            <p:strVal val="ppt_x"/>
                                          </p:val>
                                        </p:tav>
                                        <p:tav tm="100000">
                                          <p:val>
                                            <p:strVal val="ppt_x"/>
                                          </p:val>
                                        </p:tav>
                                      </p:tavLst>
                                    </p:anim>
                                    <p:anim calcmode="lin" valueType="num">
                                      <p:cBhvr additive="base">
                                        <p:cTn id="15" dur="1000"/>
                                        <p:tgtEl>
                                          <p:spTgt spid="98"/>
                                        </p:tgtEl>
                                        <p:attrNameLst>
                                          <p:attrName>ppt_y</p:attrName>
                                        </p:attrNameLst>
                                      </p:cBhvr>
                                      <p:tavLst>
                                        <p:tav tm="0">
                                          <p:val>
                                            <p:strVal val="ppt_y"/>
                                          </p:val>
                                        </p:tav>
                                        <p:tav tm="100000">
                                          <p:val>
                                            <p:strVal val="0-ppt_h/2"/>
                                          </p:val>
                                        </p:tav>
                                      </p:tavLst>
                                    </p:anim>
                                    <p:set>
                                      <p:cBhvr>
                                        <p:cTn id="16" dur="1" fill="hold">
                                          <p:stCondLst>
                                            <p:cond delay="999"/>
                                          </p:stCondLst>
                                        </p:cTn>
                                        <p:tgtEl>
                                          <p:spTgt spid="98"/>
                                        </p:tgtEl>
                                        <p:attrNameLst>
                                          <p:attrName>style.visibility</p:attrName>
                                        </p:attrNameLst>
                                      </p:cBhvr>
                                      <p:to>
                                        <p:strVal val="hidden"/>
                                      </p:to>
                                    </p:set>
                                  </p:childTnLst>
                                </p:cTn>
                              </p:par>
                              <p:par>
                                <p:cTn id="17" presetID="2" presetClass="exit" presetSubtype="1" fill="hold" grpId="0" nodeType="withEffect">
                                  <p:stCondLst>
                                    <p:cond delay="0"/>
                                  </p:stCondLst>
                                  <p:childTnLst>
                                    <p:anim calcmode="lin" valueType="num">
                                      <p:cBhvr additive="base">
                                        <p:cTn id="18" dur="1000"/>
                                        <p:tgtEl>
                                          <p:spTgt spid="84"/>
                                        </p:tgtEl>
                                        <p:attrNameLst>
                                          <p:attrName>ppt_x</p:attrName>
                                        </p:attrNameLst>
                                      </p:cBhvr>
                                      <p:tavLst>
                                        <p:tav tm="0">
                                          <p:val>
                                            <p:strVal val="ppt_x"/>
                                          </p:val>
                                        </p:tav>
                                        <p:tav tm="100000">
                                          <p:val>
                                            <p:strVal val="ppt_x"/>
                                          </p:val>
                                        </p:tav>
                                      </p:tavLst>
                                    </p:anim>
                                    <p:anim calcmode="lin" valueType="num">
                                      <p:cBhvr additive="base">
                                        <p:cTn id="19" dur="1000"/>
                                        <p:tgtEl>
                                          <p:spTgt spid="84"/>
                                        </p:tgtEl>
                                        <p:attrNameLst>
                                          <p:attrName>ppt_y</p:attrName>
                                        </p:attrNameLst>
                                      </p:cBhvr>
                                      <p:tavLst>
                                        <p:tav tm="0">
                                          <p:val>
                                            <p:strVal val="ppt_y"/>
                                          </p:val>
                                        </p:tav>
                                        <p:tav tm="100000">
                                          <p:val>
                                            <p:strVal val="0-ppt_h/2"/>
                                          </p:val>
                                        </p:tav>
                                      </p:tavLst>
                                    </p:anim>
                                    <p:set>
                                      <p:cBhvr>
                                        <p:cTn id="20" dur="1" fill="hold">
                                          <p:stCondLst>
                                            <p:cond delay="999"/>
                                          </p:stCondLst>
                                        </p:cTn>
                                        <p:tgtEl>
                                          <p:spTgt spid="84"/>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grpId="0" nodeType="clickEffect">
                                  <p:stCondLst>
                                    <p:cond delay="0"/>
                                  </p:stCondLst>
                                  <p:childTnLst>
                                    <p:set>
                                      <p:cBhvr>
                                        <p:cTn id="24" dur="1" fill="hold">
                                          <p:stCondLst>
                                            <p:cond delay="0"/>
                                          </p:stCondLst>
                                        </p:cTn>
                                        <p:tgtEl>
                                          <p:spTgt spid="171"/>
                                        </p:tgtEl>
                                        <p:attrNameLst>
                                          <p:attrName>style.visibility</p:attrName>
                                        </p:attrNameLst>
                                      </p:cBhvr>
                                      <p:to>
                                        <p:strVal val="visible"/>
                                      </p:to>
                                    </p:set>
                                    <p:animEffect transition="in" filter="fade">
                                      <p:cBhvr>
                                        <p:cTn id="25" dur="1000"/>
                                        <p:tgtEl>
                                          <p:spTgt spid="171"/>
                                        </p:tgtEl>
                                      </p:cBhvr>
                                    </p:animEffect>
                                    <p:anim calcmode="lin" valueType="num">
                                      <p:cBhvr>
                                        <p:cTn id="26" dur="1000" fill="hold"/>
                                        <p:tgtEl>
                                          <p:spTgt spid="171"/>
                                        </p:tgtEl>
                                        <p:attrNameLst>
                                          <p:attrName>ppt_x</p:attrName>
                                        </p:attrNameLst>
                                      </p:cBhvr>
                                      <p:tavLst>
                                        <p:tav tm="0">
                                          <p:val>
                                            <p:strVal val="#ppt_x"/>
                                          </p:val>
                                        </p:tav>
                                        <p:tav tm="100000">
                                          <p:val>
                                            <p:strVal val="#ppt_x"/>
                                          </p:val>
                                        </p:tav>
                                      </p:tavLst>
                                    </p:anim>
                                    <p:anim calcmode="lin" valueType="num">
                                      <p:cBhvr>
                                        <p:cTn id="27" dur="1000" fill="hold"/>
                                        <p:tgtEl>
                                          <p:spTgt spid="17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17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723006E6-FFB6-4C1E-9C8C-83E1BC75A27C}"/>
              </a:ext>
            </a:extLst>
          </p:cNvPr>
          <p:cNvSpPr>
            <a:spLocks noGrp="1"/>
          </p:cNvSpPr>
          <p:nvPr>
            <p:ph type="body" sz="quarter" idx="12"/>
          </p:nvPr>
        </p:nvSpPr>
        <p:spPr/>
        <p:txBody>
          <a:bodyPr/>
          <a:lstStyle/>
          <a:p>
            <a:r>
              <a:rPr lang="en-IN" dirty="0"/>
              <a:t>Performance Testing Process</a:t>
            </a:r>
            <a:endParaRPr lang="en-GB" dirty="0"/>
          </a:p>
        </p:txBody>
      </p:sp>
      <p:sp>
        <p:nvSpPr>
          <p:cNvPr id="86" name="Rectangle 85">
            <a:extLst>
              <a:ext uri="{FF2B5EF4-FFF2-40B4-BE49-F238E27FC236}">
                <a16:creationId xmlns:a16="http://schemas.microsoft.com/office/drawing/2014/main" xmlns="" id="{83313DD2-B03A-4E0E-A600-9A6A5F0EE5EA}"/>
              </a:ext>
            </a:extLst>
          </p:cNvPr>
          <p:cNvSpPr/>
          <p:nvPr/>
        </p:nvSpPr>
        <p:spPr>
          <a:xfrm>
            <a:off x="7086427" y="2116807"/>
            <a:ext cx="2187838" cy="2846382"/>
          </a:xfrm>
          <a:prstGeom prst="rect">
            <a:avLst/>
          </a:prstGeom>
          <a:solidFill>
            <a:sysClr val="window" lastClr="FFFFFF">
              <a:lumMod val="85000"/>
            </a:sysClr>
          </a:solidFill>
          <a:ln w="9525" cap="flat" cmpd="sng" algn="ctr">
            <a:solidFill>
              <a:sysClr val="window" lastClr="FFFFFF">
                <a:lumMod val="8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87" name="Group 86">
            <a:extLst>
              <a:ext uri="{FF2B5EF4-FFF2-40B4-BE49-F238E27FC236}">
                <a16:creationId xmlns:a16="http://schemas.microsoft.com/office/drawing/2014/main" xmlns="" id="{2E490BD4-88BA-4A13-96D9-CC39C31C70F0}"/>
              </a:ext>
            </a:extLst>
          </p:cNvPr>
          <p:cNvGrpSpPr/>
          <p:nvPr/>
        </p:nvGrpSpPr>
        <p:grpSpPr>
          <a:xfrm>
            <a:off x="316644" y="1314485"/>
            <a:ext cx="11611828" cy="4567583"/>
            <a:chOff x="429923" y="1219287"/>
            <a:chExt cx="11611828" cy="4567583"/>
          </a:xfrm>
        </p:grpSpPr>
        <p:sp>
          <p:nvSpPr>
            <p:cNvPr id="88" name="Freeform 13">
              <a:extLst>
                <a:ext uri="{FF2B5EF4-FFF2-40B4-BE49-F238E27FC236}">
                  <a16:creationId xmlns:a16="http://schemas.microsoft.com/office/drawing/2014/main" xmlns="" id="{E6DBBF76-735B-4F59-91D4-341823733E0A}"/>
                </a:ext>
              </a:extLst>
            </p:cNvPr>
            <p:cNvSpPr>
              <a:spLocks/>
            </p:cNvSpPr>
            <p:nvPr/>
          </p:nvSpPr>
          <p:spPr bwMode="auto">
            <a:xfrm>
              <a:off x="486522" y="1219287"/>
              <a:ext cx="2295384" cy="748494"/>
            </a:xfrm>
            <a:custGeom>
              <a:avLst/>
              <a:gdLst>
                <a:gd name="T0" fmla="*/ 0 w 1433"/>
                <a:gd name="T1" fmla="*/ 0 h 566"/>
                <a:gd name="T2" fmla="*/ 0 w 1433"/>
                <a:gd name="T3" fmla="*/ 566 h 566"/>
                <a:gd name="T4" fmla="*/ 1157 w 1433"/>
                <a:gd name="T5" fmla="*/ 566 h 566"/>
                <a:gd name="T6" fmla="*/ 1433 w 1433"/>
                <a:gd name="T7" fmla="*/ 279 h 566"/>
                <a:gd name="T8" fmla="*/ 1157 w 1433"/>
                <a:gd name="T9" fmla="*/ 0 h 566"/>
                <a:gd name="T10" fmla="*/ 0 w 1433"/>
                <a:gd name="T11" fmla="*/ 0 h 566"/>
                <a:gd name="T12" fmla="*/ 0 w 1433"/>
                <a:gd name="T13" fmla="*/ 0 h 566"/>
              </a:gdLst>
              <a:ahLst/>
              <a:cxnLst>
                <a:cxn ang="0">
                  <a:pos x="T0" y="T1"/>
                </a:cxn>
                <a:cxn ang="0">
                  <a:pos x="T2" y="T3"/>
                </a:cxn>
                <a:cxn ang="0">
                  <a:pos x="T4" y="T5"/>
                </a:cxn>
                <a:cxn ang="0">
                  <a:pos x="T6" y="T7"/>
                </a:cxn>
                <a:cxn ang="0">
                  <a:pos x="T8" y="T9"/>
                </a:cxn>
                <a:cxn ang="0">
                  <a:pos x="T10" y="T11"/>
                </a:cxn>
                <a:cxn ang="0">
                  <a:pos x="T12" y="T13"/>
                </a:cxn>
              </a:cxnLst>
              <a:rect l="0" t="0" r="r" b="b"/>
              <a:pathLst>
                <a:path w="1433" h="566">
                  <a:moveTo>
                    <a:pt x="0" y="0"/>
                  </a:moveTo>
                  <a:lnTo>
                    <a:pt x="0" y="566"/>
                  </a:lnTo>
                  <a:lnTo>
                    <a:pt x="1157" y="566"/>
                  </a:lnTo>
                  <a:lnTo>
                    <a:pt x="1433" y="279"/>
                  </a:lnTo>
                  <a:lnTo>
                    <a:pt x="1157" y="0"/>
                  </a:lnTo>
                  <a:lnTo>
                    <a:pt x="0" y="0"/>
                  </a:lnTo>
                  <a:lnTo>
                    <a:pt x="0" y="0"/>
                  </a:lnTo>
                  <a:close/>
                </a:path>
              </a:pathLst>
            </a:custGeom>
            <a:solidFill>
              <a:srgbClr val="2C3F50"/>
            </a:solidFill>
            <a:ln>
              <a:noFill/>
            </a:ln>
          </p:spPr>
          <p:txBody>
            <a:bodyPr vert="horz" wrap="square" lIns="68580" tIns="34290" rIns="68580" bIns="3429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89" name="Freeform 13">
              <a:extLst>
                <a:ext uri="{FF2B5EF4-FFF2-40B4-BE49-F238E27FC236}">
                  <a16:creationId xmlns:a16="http://schemas.microsoft.com/office/drawing/2014/main" xmlns="" id="{38B0047B-74EB-4424-80BF-5F76359D3776}"/>
                </a:ext>
              </a:extLst>
            </p:cNvPr>
            <p:cNvSpPr>
              <a:spLocks/>
            </p:cNvSpPr>
            <p:nvPr/>
          </p:nvSpPr>
          <p:spPr bwMode="auto">
            <a:xfrm>
              <a:off x="777261" y="1219287"/>
              <a:ext cx="2295384" cy="748494"/>
            </a:xfrm>
            <a:custGeom>
              <a:avLst/>
              <a:gdLst>
                <a:gd name="T0" fmla="*/ 0 w 1433"/>
                <a:gd name="T1" fmla="*/ 0 h 566"/>
                <a:gd name="T2" fmla="*/ 0 w 1433"/>
                <a:gd name="T3" fmla="*/ 566 h 566"/>
                <a:gd name="T4" fmla="*/ 1157 w 1433"/>
                <a:gd name="T5" fmla="*/ 566 h 566"/>
                <a:gd name="T6" fmla="*/ 1433 w 1433"/>
                <a:gd name="T7" fmla="*/ 279 h 566"/>
                <a:gd name="T8" fmla="*/ 1157 w 1433"/>
                <a:gd name="T9" fmla="*/ 0 h 566"/>
                <a:gd name="T10" fmla="*/ 0 w 1433"/>
                <a:gd name="T11" fmla="*/ 0 h 566"/>
                <a:gd name="T12" fmla="*/ 0 w 1433"/>
                <a:gd name="T13" fmla="*/ 0 h 566"/>
              </a:gdLst>
              <a:ahLst/>
              <a:cxnLst>
                <a:cxn ang="0">
                  <a:pos x="T0" y="T1"/>
                </a:cxn>
                <a:cxn ang="0">
                  <a:pos x="T2" y="T3"/>
                </a:cxn>
                <a:cxn ang="0">
                  <a:pos x="T4" y="T5"/>
                </a:cxn>
                <a:cxn ang="0">
                  <a:pos x="T6" y="T7"/>
                </a:cxn>
                <a:cxn ang="0">
                  <a:pos x="T8" y="T9"/>
                </a:cxn>
                <a:cxn ang="0">
                  <a:pos x="T10" y="T11"/>
                </a:cxn>
                <a:cxn ang="0">
                  <a:pos x="T12" y="T13"/>
                </a:cxn>
              </a:cxnLst>
              <a:rect l="0" t="0" r="r" b="b"/>
              <a:pathLst>
                <a:path w="1433" h="566">
                  <a:moveTo>
                    <a:pt x="0" y="0"/>
                  </a:moveTo>
                  <a:lnTo>
                    <a:pt x="0" y="566"/>
                  </a:lnTo>
                  <a:lnTo>
                    <a:pt x="1157" y="566"/>
                  </a:lnTo>
                  <a:lnTo>
                    <a:pt x="1433" y="279"/>
                  </a:lnTo>
                  <a:lnTo>
                    <a:pt x="1157" y="0"/>
                  </a:lnTo>
                  <a:lnTo>
                    <a:pt x="0" y="0"/>
                  </a:lnTo>
                  <a:lnTo>
                    <a:pt x="0" y="0"/>
                  </a:lnTo>
                  <a:close/>
                </a:path>
              </a:pathLst>
            </a:custGeom>
            <a:solidFill>
              <a:srgbClr val="2C3F50"/>
            </a:solidFill>
            <a:ln>
              <a:noFill/>
            </a:ln>
          </p:spPr>
          <p:txBody>
            <a:bodyPr vert="horz" wrap="square" lIns="68580" tIns="34290" rIns="68580" bIns="3429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90" name="Freeform 6">
              <a:extLst>
                <a:ext uri="{FF2B5EF4-FFF2-40B4-BE49-F238E27FC236}">
                  <a16:creationId xmlns:a16="http://schemas.microsoft.com/office/drawing/2014/main" xmlns="" id="{65D74D01-DA7C-49BE-8E5F-5F3C3D8B8817}"/>
                </a:ext>
              </a:extLst>
            </p:cNvPr>
            <p:cNvSpPr>
              <a:spLocks/>
            </p:cNvSpPr>
            <p:nvPr/>
          </p:nvSpPr>
          <p:spPr bwMode="auto">
            <a:xfrm>
              <a:off x="2693684" y="1221599"/>
              <a:ext cx="2592482" cy="748494"/>
            </a:xfrm>
            <a:custGeom>
              <a:avLst/>
              <a:gdLst>
                <a:gd name="T0" fmla="*/ 1396 w 1665"/>
                <a:gd name="T1" fmla="*/ 0 h 566"/>
                <a:gd name="T2" fmla="*/ 0 w 1665"/>
                <a:gd name="T3" fmla="*/ 0 h 566"/>
                <a:gd name="T4" fmla="*/ 276 w 1665"/>
                <a:gd name="T5" fmla="*/ 279 h 566"/>
                <a:gd name="T6" fmla="*/ 0 w 1665"/>
                <a:gd name="T7" fmla="*/ 566 h 566"/>
                <a:gd name="T8" fmla="*/ 1396 w 1665"/>
                <a:gd name="T9" fmla="*/ 566 h 566"/>
                <a:gd name="T10" fmla="*/ 1665 w 1665"/>
                <a:gd name="T11" fmla="*/ 279 h 566"/>
                <a:gd name="T12" fmla="*/ 1396 w 1665"/>
                <a:gd name="T13" fmla="*/ 0 h 566"/>
              </a:gdLst>
              <a:ahLst/>
              <a:cxnLst>
                <a:cxn ang="0">
                  <a:pos x="T0" y="T1"/>
                </a:cxn>
                <a:cxn ang="0">
                  <a:pos x="T2" y="T3"/>
                </a:cxn>
                <a:cxn ang="0">
                  <a:pos x="T4" y="T5"/>
                </a:cxn>
                <a:cxn ang="0">
                  <a:pos x="T6" y="T7"/>
                </a:cxn>
                <a:cxn ang="0">
                  <a:pos x="T8" y="T9"/>
                </a:cxn>
                <a:cxn ang="0">
                  <a:pos x="T10" y="T11"/>
                </a:cxn>
                <a:cxn ang="0">
                  <a:pos x="T12" y="T13"/>
                </a:cxn>
              </a:cxnLst>
              <a:rect l="0" t="0" r="r" b="b"/>
              <a:pathLst>
                <a:path w="1665" h="566">
                  <a:moveTo>
                    <a:pt x="1396" y="0"/>
                  </a:moveTo>
                  <a:lnTo>
                    <a:pt x="0" y="0"/>
                  </a:lnTo>
                  <a:lnTo>
                    <a:pt x="276" y="279"/>
                  </a:lnTo>
                  <a:lnTo>
                    <a:pt x="0" y="566"/>
                  </a:lnTo>
                  <a:lnTo>
                    <a:pt x="1396" y="566"/>
                  </a:lnTo>
                  <a:lnTo>
                    <a:pt x="1665" y="279"/>
                  </a:lnTo>
                  <a:lnTo>
                    <a:pt x="1396" y="0"/>
                  </a:lnTo>
                  <a:close/>
                </a:path>
              </a:pathLst>
            </a:custGeom>
            <a:solidFill>
              <a:srgbClr val="2980B9"/>
            </a:solidFill>
            <a:ln>
              <a:noFill/>
            </a:ln>
          </p:spPr>
          <p:txBody>
            <a:bodyPr vert="horz" wrap="square" lIns="68580" tIns="34290" rIns="68580" bIns="3429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91" name="Freeform 7">
              <a:extLst>
                <a:ext uri="{FF2B5EF4-FFF2-40B4-BE49-F238E27FC236}">
                  <a16:creationId xmlns:a16="http://schemas.microsoft.com/office/drawing/2014/main" xmlns="" id="{F71D9470-A3C2-4800-BB58-D3C46DBC223C}"/>
                </a:ext>
              </a:extLst>
            </p:cNvPr>
            <p:cNvSpPr>
              <a:spLocks/>
            </p:cNvSpPr>
            <p:nvPr/>
          </p:nvSpPr>
          <p:spPr bwMode="auto">
            <a:xfrm>
              <a:off x="4931201" y="1221599"/>
              <a:ext cx="2615839" cy="748494"/>
            </a:xfrm>
            <a:custGeom>
              <a:avLst/>
              <a:gdLst>
                <a:gd name="T0" fmla="*/ 1404 w 1680"/>
                <a:gd name="T1" fmla="*/ 0 h 566"/>
                <a:gd name="T2" fmla="*/ 0 w 1680"/>
                <a:gd name="T3" fmla="*/ 0 h 566"/>
                <a:gd name="T4" fmla="*/ 276 w 1680"/>
                <a:gd name="T5" fmla="*/ 279 h 566"/>
                <a:gd name="T6" fmla="*/ 0 w 1680"/>
                <a:gd name="T7" fmla="*/ 566 h 566"/>
                <a:gd name="T8" fmla="*/ 1404 w 1680"/>
                <a:gd name="T9" fmla="*/ 566 h 566"/>
                <a:gd name="T10" fmla="*/ 1680 w 1680"/>
                <a:gd name="T11" fmla="*/ 279 h 566"/>
                <a:gd name="T12" fmla="*/ 1404 w 1680"/>
                <a:gd name="T13" fmla="*/ 0 h 566"/>
              </a:gdLst>
              <a:ahLst/>
              <a:cxnLst>
                <a:cxn ang="0">
                  <a:pos x="T0" y="T1"/>
                </a:cxn>
                <a:cxn ang="0">
                  <a:pos x="T2" y="T3"/>
                </a:cxn>
                <a:cxn ang="0">
                  <a:pos x="T4" y="T5"/>
                </a:cxn>
                <a:cxn ang="0">
                  <a:pos x="T6" y="T7"/>
                </a:cxn>
                <a:cxn ang="0">
                  <a:pos x="T8" y="T9"/>
                </a:cxn>
                <a:cxn ang="0">
                  <a:pos x="T10" y="T11"/>
                </a:cxn>
                <a:cxn ang="0">
                  <a:pos x="T12" y="T13"/>
                </a:cxn>
              </a:cxnLst>
              <a:rect l="0" t="0" r="r" b="b"/>
              <a:pathLst>
                <a:path w="1680" h="566">
                  <a:moveTo>
                    <a:pt x="1404" y="0"/>
                  </a:moveTo>
                  <a:lnTo>
                    <a:pt x="0" y="0"/>
                  </a:lnTo>
                  <a:lnTo>
                    <a:pt x="276" y="279"/>
                  </a:lnTo>
                  <a:lnTo>
                    <a:pt x="0" y="566"/>
                  </a:lnTo>
                  <a:lnTo>
                    <a:pt x="1404" y="566"/>
                  </a:lnTo>
                  <a:lnTo>
                    <a:pt x="1680" y="279"/>
                  </a:lnTo>
                  <a:lnTo>
                    <a:pt x="1404" y="0"/>
                  </a:lnTo>
                  <a:close/>
                </a:path>
              </a:pathLst>
            </a:custGeom>
            <a:solidFill>
              <a:srgbClr val="16A085"/>
            </a:solidFill>
            <a:ln>
              <a:noFill/>
            </a:ln>
          </p:spPr>
          <p:txBody>
            <a:bodyPr vert="horz" wrap="square" lIns="68580" tIns="34290" rIns="68580" bIns="3429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92" name="Freeform 10">
              <a:extLst>
                <a:ext uri="{FF2B5EF4-FFF2-40B4-BE49-F238E27FC236}">
                  <a16:creationId xmlns:a16="http://schemas.microsoft.com/office/drawing/2014/main" xmlns="" id="{556358DB-59AE-47F0-80DE-A73E0FFEB6FD}"/>
                </a:ext>
              </a:extLst>
            </p:cNvPr>
            <p:cNvSpPr>
              <a:spLocks/>
            </p:cNvSpPr>
            <p:nvPr/>
          </p:nvSpPr>
          <p:spPr bwMode="auto">
            <a:xfrm>
              <a:off x="7199706" y="1221599"/>
              <a:ext cx="2594039" cy="748494"/>
            </a:xfrm>
            <a:custGeom>
              <a:avLst/>
              <a:gdLst>
                <a:gd name="T0" fmla="*/ 1389 w 1666"/>
                <a:gd name="T1" fmla="*/ 0 h 566"/>
                <a:gd name="T2" fmla="*/ 0 w 1666"/>
                <a:gd name="T3" fmla="*/ 0 h 566"/>
                <a:gd name="T4" fmla="*/ 269 w 1666"/>
                <a:gd name="T5" fmla="*/ 279 h 566"/>
                <a:gd name="T6" fmla="*/ 0 w 1666"/>
                <a:gd name="T7" fmla="*/ 566 h 566"/>
                <a:gd name="T8" fmla="*/ 1389 w 1666"/>
                <a:gd name="T9" fmla="*/ 566 h 566"/>
                <a:gd name="T10" fmla="*/ 1666 w 1666"/>
                <a:gd name="T11" fmla="*/ 279 h 566"/>
                <a:gd name="T12" fmla="*/ 1389 w 1666"/>
                <a:gd name="T13" fmla="*/ 0 h 566"/>
              </a:gdLst>
              <a:ahLst/>
              <a:cxnLst>
                <a:cxn ang="0">
                  <a:pos x="T0" y="T1"/>
                </a:cxn>
                <a:cxn ang="0">
                  <a:pos x="T2" y="T3"/>
                </a:cxn>
                <a:cxn ang="0">
                  <a:pos x="T4" y="T5"/>
                </a:cxn>
                <a:cxn ang="0">
                  <a:pos x="T6" y="T7"/>
                </a:cxn>
                <a:cxn ang="0">
                  <a:pos x="T8" y="T9"/>
                </a:cxn>
                <a:cxn ang="0">
                  <a:pos x="T10" y="T11"/>
                </a:cxn>
                <a:cxn ang="0">
                  <a:pos x="T12" y="T13"/>
                </a:cxn>
              </a:cxnLst>
              <a:rect l="0" t="0" r="r" b="b"/>
              <a:pathLst>
                <a:path w="1666" h="566">
                  <a:moveTo>
                    <a:pt x="1389" y="0"/>
                  </a:moveTo>
                  <a:lnTo>
                    <a:pt x="0" y="0"/>
                  </a:lnTo>
                  <a:lnTo>
                    <a:pt x="269" y="279"/>
                  </a:lnTo>
                  <a:lnTo>
                    <a:pt x="0" y="566"/>
                  </a:lnTo>
                  <a:lnTo>
                    <a:pt x="1389" y="566"/>
                  </a:lnTo>
                  <a:lnTo>
                    <a:pt x="1666" y="279"/>
                  </a:lnTo>
                  <a:lnTo>
                    <a:pt x="1389" y="0"/>
                  </a:lnTo>
                  <a:close/>
                </a:path>
              </a:pathLst>
            </a:custGeom>
            <a:solidFill>
              <a:srgbClr val="9BBB59"/>
            </a:solidFill>
            <a:ln>
              <a:noFill/>
            </a:ln>
          </p:spPr>
          <p:txBody>
            <a:bodyPr vert="horz" wrap="square" lIns="68580" tIns="34290" rIns="68580" bIns="3429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93" name="Freeform 9">
              <a:extLst>
                <a:ext uri="{FF2B5EF4-FFF2-40B4-BE49-F238E27FC236}">
                  <a16:creationId xmlns:a16="http://schemas.microsoft.com/office/drawing/2014/main" xmlns="" id="{39AEFEF8-6675-456D-BEBA-09F418742C82}"/>
                </a:ext>
              </a:extLst>
            </p:cNvPr>
            <p:cNvSpPr>
              <a:spLocks/>
            </p:cNvSpPr>
            <p:nvPr/>
          </p:nvSpPr>
          <p:spPr bwMode="auto">
            <a:xfrm>
              <a:off x="9436813" y="1221599"/>
              <a:ext cx="2604938" cy="748494"/>
            </a:xfrm>
            <a:custGeom>
              <a:avLst/>
              <a:gdLst>
                <a:gd name="T0" fmla="*/ 1404 w 1673"/>
                <a:gd name="T1" fmla="*/ 0 h 566"/>
                <a:gd name="T2" fmla="*/ 0 w 1673"/>
                <a:gd name="T3" fmla="*/ 0 h 566"/>
                <a:gd name="T4" fmla="*/ 269 w 1673"/>
                <a:gd name="T5" fmla="*/ 279 h 566"/>
                <a:gd name="T6" fmla="*/ 0 w 1673"/>
                <a:gd name="T7" fmla="*/ 566 h 566"/>
                <a:gd name="T8" fmla="*/ 1404 w 1673"/>
                <a:gd name="T9" fmla="*/ 566 h 566"/>
                <a:gd name="T10" fmla="*/ 1673 w 1673"/>
                <a:gd name="T11" fmla="*/ 279 h 566"/>
                <a:gd name="T12" fmla="*/ 1404 w 1673"/>
                <a:gd name="T13" fmla="*/ 0 h 566"/>
              </a:gdLst>
              <a:ahLst/>
              <a:cxnLst>
                <a:cxn ang="0">
                  <a:pos x="T0" y="T1"/>
                </a:cxn>
                <a:cxn ang="0">
                  <a:pos x="T2" y="T3"/>
                </a:cxn>
                <a:cxn ang="0">
                  <a:pos x="T4" y="T5"/>
                </a:cxn>
                <a:cxn ang="0">
                  <a:pos x="T6" y="T7"/>
                </a:cxn>
                <a:cxn ang="0">
                  <a:pos x="T8" y="T9"/>
                </a:cxn>
                <a:cxn ang="0">
                  <a:pos x="T10" y="T11"/>
                </a:cxn>
                <a:cxn ang="0">
                  <a:pos x="T12" y="T13"/>
                </a:cxn>
              </a:cxnLst>
              <a:rect l="0" t="0" r="r" b="b"/>
              <a:pathLst>
                <a:path w="1673" h="566">
                  <a:moveTo>
                    <a:pt x="1404" y="0"/>
                  </a:moveTo>
                  <a:lnTo>
                    <a:pt x="0" y="0"/>
                  </a:lnTo>
                  <a:lnTo>
                    <a:pt x="269" y="279"/>
                  </a:lnTo>
                  <a:lnTo>
                    <a:pt x="0" y="566"/>
                  </a:lnTo>
                  <a:lnTo>
                    <a:pt x="1404" y="566"/>
                  </a:lnTo>
                  <a:lnTo>
                    <a:pt x="1673" y="279"/>
                  </a:lnTo>
                  <a:lnTo>
                    <a:pt x="1404" y="0"/>
                  </a:lnTo>
                  <a:close/>
                </a:path>
              </a:pathLst>
            </a:custGeom>
            <a:solidFill>
              <a:srgbClr val="F39C12"/>
            </a:solidFill>
            <a:ln>
              <a:noFill/>
            </a:ln>
          </p:spPr>
          <p:txBody>
            <a:bodyPr vert="horz" wrap="square" lIns="68580" tIns="34290" rIns="68580" bIns="3429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35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94" name="TextBox 93">
              <a:extLst>
                <a:ext uri="{FF2B5EF4-FFF2-40B4-BE49-F238E27FC236}">
                  <a16:creationId xmlns:a16="http://schemas.microsoft.com/office/drawing/2014/main" xmlns="" id="{C26AD2C4-19B6-43CB-834F-0F7784F7627C}"/>
                </a:ext>
              </a:extLst>
            </p:cNvPr>
            <p:cNvSpPr txBox="1"/>
            <p:nvPr/>
          </p:nvSpPr>
          <p:spPr>
            <a:xfrm>
              <a:off x="429923" y="1346132"/>
              <a:ext cx="2100863"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Body)"/>
                  <a:cs typeface="Arial" panose="020B0604020202020204" pitchFamily="34" charset="0"/>
                </a:rPr>
                <a:t>REQUIREMENT GATHERING &amp; PLANNING</a:t>
              </a:r>
              <a:endParaRPr kumimoji="0" lang="id-ID" sz="1200" b="1" i="0" u="none" strike="noStrike" kern="0" cap="none" spc="0" normalizeH="0" baseline="0" noProof="0" dirty="0">
                <a:ln>
                  <a:noFill/>
                </a:ln>
                <a:solidFill>
                  <a:prstClr val="white"/>
                </a:solidFill>
                <a:effectLst/>
                <a:uLnTx/>
                <a:uFillTx/>
                <a:latin typeface="Calibri (Body)"/>
                <a:cs typeface="Arial" panose="020B0604020202020204" pitchFamily="34" charset="0"/>
              </a:endParaRPr>
            </a:p>
          </p:txBody>
        </p:sp>
        <p:sp>
          <p:nvSpPr>
            <p:cNvPr id="95" name="TextBox 94">
              <a:extLst>
                <a:ext uri="{FF2B5EF4-FFF2-40B4-BE49-F238E27FC236}">
                  <a16:creationId xmlns:a16="http://schemas.microsoft.com/office/drawing/2014/main" xmlns="" id="{F7E0DF64-623C-4673-90CE-25AC55A227F5}"/>
                </a:ext>
              </a:extLst>
            </p:cNvPr>
            <p:cNvSpPr txBox="1"/>
            <p:nvPr/>
          </p:nvSpPr>
          <p:spPr>
            <a:xfrm>
              <a:off x="3134490" y="1457347"/>
              <a:ext cx="1163017"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Body)"/>
                  <a:cs typeface="Arial" panose="020B0604020202020204" pitchFamily="34" charset="0"/>
                </a:rPr>
                <a:t>DESIGN</a:t>
              </a:r>
              <a:endParaRPr kumimoji="0" lang="id-ID" sz="1200" b="1" i="0" u="none" strike="noStrike" kern="0" cap="none" spc="0" normalizeH="0" baseline="0" noProof="0" dirty="0">
                <a:ln>
                  <a:noFill/>
                </a:ln>
                <a:solidFill>
                  <a:prstClr val="white"/>
                </a:solidFill>
                <a:effectLst/>
                <a:uLnTx/>
                <a:uFillTx/>
                <a:latin typeface="Calibri (Body)"/>
                <a:cs typeface="Arial" panose="020B0604020202020204" pitchFamily="34" charset="0"/>
              </a:endParaRPr>
            </a:p>
          </p:txBody>
        </p:sp>
        <p:sp>
          <p:nvSpPr>
            <p:cNvPr id="96" name="TextBox 95">
              <a:extLst>
                <a:ext uri="{FF2B5EF4-FFF2-40B4-BE49-F238E27FC236}">
                  <a16:creationId xmlns:a16="http://schemas.microsoft.com/office/drawing/2014/main" xmlns="" id="{68DCB8AB-3F6E-4CF4-9F9B-F666DC49E89F}"/>
                </a:ext>
              </a:extLst>
            </p:cNvPr>
            <p:cNvSpPr txBox="1"/>
            <p:nvPr/>
          </p:nvSpPr>
          <p:spPr>
            <a:xfrm>
              <a:off x="5500920" y="1435295"/>
              <a:ext cx="1072422"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Body)"/>
                  <a:cs typeface="Arial" panose="020B0604020202020204" pitchFamily="34" charset="0"/>
                </a:rPr>
                <a:t>EXECUTION</a:t>
              </a:r>
              <a:endParaRPr kumimoji="0" lang="id-ID" sz="1200" b="1" i="0" u="none" strike="noStrike" kern="0" cap="none" spc="0" normalizeH="0" baseline="0" noProof="0" dirty="0">
                <a:ln>
                  <a:noFill/>
                </a:ln>
                <a:solidFill>
                  <a:prstClr val="white"/>
                </a:solidFill>
                <a:effectLst/>
                <a:uLnTx/>
                <a:uFillTx/>
                <a:latin typeface="Calibri (Body)"/>
                <a:cs typeface="Arial" panose="020B0604020202020204" pitchFamily="34" charset="0"/>
              </a:endParaRPr>
            </a:p>
          </p:txBody>
        </p:sp>
        <p:sp>
          <p:nvSpPr>
            <p:cNvPr id="97" name="TextBox 96">
              <a:extLst>
                <a:ext uri="{FF2B5EF4-FFF2-40B4-BE49-F238E27FC236}">
                  <a16:creationId xmlns:a16="http://schemas.microsoft.com/office/drawing/2014/main" xmlns="" id="{D33BDFB2-CB52-4D53-8D56-E4DA03F11565}"/>
                </a:ext>
              </a:extLst>
            </p:cNvPr>
            <p:cNvSpPr txBox="1"/>
            <p:nvPr/>
          </p:nvSpPr>
          <p:spPr>
            <a:xfrm>
              <a:off x="9945492" y="1455611"/>
              <a:ext cx="110262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Body)"/>
                  <a:cs typeface="Arial" panose="020B0604020202020204" pitchFamily="34" charset="0"/>
                </a:rPr>
                <a:t>CLOSURE</a:t>
              </a:r>
              <a:endParaRPr kumimoji="0" lang="id-ID" sz="1200" b="1" i="0" u="none" strike="noStrike" kern="0" cap="none" spc="0" normalizeH="0" baseline="0" noProof="0" dirty="0">
                <a:ln>
                  <a:noFill/>
                </a:ln>
                <a:solidFill>
                  <a:prstClr val="white"/>
                </a:solidFill>
                <a:effectLst/>
                <a:uLnTx/>
                <a:uFillTx/>
                <a:latin typeface="Calibri (Body)"/>
                <a:cs typeface="Arial" panose="020B0604020202020204" pitchFamily="34" charset="0"/>
              </a:endParaRPr>
            </a:p>
          </p:txBody>
        </p:sp>
        <p:grpSp>
          <p:nvGrpSpPr>
            <p:cNvPr id="98" name="Group 97">
              <a:extLst>
                <a:ext uri="{FF2B5EF4-FFF2-40B4-BE49-F238E27FC236}">
                  <a16:creationId xmlns:a16="http://schemas.microsoft.com/office/drawing/2014/main" xmlns="" id="{34E019B1-ECD8-4E77-ABED-87577C5C7076}"/>
                </a:ext>
              </a:extLst>
            </p:cNvPr>
            <p:cNvGrpSpPr/>
            <p:nvPr/>
          </p:nvGrpSpPr>
          <p:grpSpPr>
            <a:xfrm rot="20399710" flipH="1">
              <a:off x="4548795" y="1310752"/>
              <a:ext cx="258483" cy="522079"/>
              <a:chOff x="3238500" y="960438"/>
              <a:chExt cx="160338" cy="323850"/>
            </a:xfrm>
            <a:solidFill>
              <a:sysClr val="window" lastClr="FFFFFF"/>
            </a:solidFill>
          </p:grpSpPr>
          <p:sp>
            <p:nvSpPr>
              <p:cNvPr id="123" name="Freeform 17">
                <a:extLst>
                  <a:ext uri="{FF2B5EF4-FFF2-40B4-BE49-F238E27FC236}">
                    <a16:creationId xmlns:a16="http://schemas.microsoft.com/office/drawing/2014/main" xmlns="" id="{6095727E-6ABE-4F12-AEB6-557431142670}"/>
                  </a:ext>
                </a:extLst>
              </p:cNvPr>
              <p:cNvSpPr>
                <a:spLocks/>
              </p:cNvSpPr>
              <p:nvPr/>
            </p:nvSpPr>
            <p:spPr bwMode="auto">
              <a:xfrm>
                <a:off x="3238500" y="1163638"/>
                <a:ext cx="160338" cy="120650"/>
              </a:xfrm>
              <a:custGeom>
                <a:avLst/>
                <a:gdLst>
                  <a:gd name="T0" fmla="*/ 0 w 1618"/>
                  <a:gd name="T1" fmla="*/ 0 h 1215"/>
                  <a:gd name="T2" fmla="*/ 1618 w 1618"/>
                  <a:gd name="T3" fmla="*/ 0 h 1215"/>
                  <a:gd name="T4" fmla="*/ 1618 w 1618"/>
                  <a:gd name="T5" fmla="*/ 409 h 1215"/>
                  <a:gd name="T6" fmla="*/ 1615 w 1618"/>
                  <a:gd name="T7" fmla="*/ 482 h 1215"/>
                  <a:gd name="T8" fmla="*/ 1605 w 1618"/>
                  <a:gd name="T9" fmla="*/ 553 h 1215"/>
                  <a:gd name="T10" fmla="*/ 1590 w 1618"/>
                  <a:gd name="T11" fmla="*/ 624 h 1215"/>
                  <a:gd name="T12" fmla="*/ 1568 w 1618"/>
                  <a:gd name="T13" fmla="*/ 691 h 1215"/>
                  <a:gd name="T14" fmla="*/ 1542 w 1618"/>
                  <a:gd name="T15" fmla="*/ 754 h 1215"/>
                  <a:gd name="T16" fmla="*/ 1510 w 1618"/>
                  <a:gd name="T17" fmla="*/ 815 h 1215"/>
                  <a:gd name="T18" fmla="*/ 1473 w 1618"/>
                  <a:gd name="T19" fmla="*/ 874 h 1215"/>
                  <a:gd name="T20" fmla="*/ 1432 w 1618"/>
                  <a:gd name="T21" fmla="*/ 928 h 1215"/>
                  <a:gd name="T22" fmla="*/ 1386 w 1618"/>
                  <a:gd name="T23" fmla="*/ 979 h 1215"/>
                  <a:gd name="T24" fmla="*/ 1337 w 1618"/>
                  <a:gd name="T25" fmla="*/ 1026 h 1215"/>
                  <a:gd name="T26" fmla="*/ 1284 w 1618"/>
                  <a:gd name="T27" fmla="*/ 1068 h 1215"/>
                  <a:gd name="T28" fmla="*/ 1226 w 1618"/>
                  <a:gd name="T29" fmla="*/ 1105 h 1215"/>
                  <a:gd name="T30" fmla="*/ 1166 w 1618"/>
                  <a:gd name="T31" fmla="*/ 1138 h 1215"/>
                  <a:gd name="T32" fmla="*/ 1103 w 1618"/>
                  <a:gd name="T33" fmla="*/ 1164 h 1215"/>
                  <a:gd name="T34" fmla="*/ 1037 w 1618"/>
                  <a:gd name="T35" fmla="*/ 1186 h 1215"/>
                  <a:gd name="T36" fmla="*/ 969 w 1618"/>
                  <a:gd name="T37" fmla="*/ 1202 h 1215"/>
                  <a:gd name="T38" fmla="*/ 899 w 1618"/>
                  <a:gd name="T39" fmla="*/ 1212 h 1215"/>
                  <a:gd name="T40" fmla="*/ 827 w 1618"/>
                  <a:gd name="T41" fmla="*/ 1215 h 1215"/>
                  <a:gd name="T42" fmla="*/ 790 w 1618"/>
                  <a:gd name="T43" fmla="*/ 1215 h 1215"/>
                  <a:gd name="T44" fmla="*/ 718 w 1618"/>
                  <a:gd name="T45" fmla="*/ 1212 h 1215"/>
                  <a:gd name="T46" fmla="*/ 647 w 1618"/>
                  <a:gd name="T47" fmla="*/ 1202 h 1215"/>
                  <a:gd name="T48" fmla="*/ 580 w 1618"/>
                  <a:gd name="T49" fmla="*/ 1186 h 1215"/>
                  <a:gd name="T50" fmla="*/ 514 w 1618"/>
                  <a:gd name="T51" fmla="*/ 1164 h 1215"/>
                  <a:gd name="T52" fmla="*/ 451 w 1618"/>
                  <a:gd name="T53" fmla="*/ 1138 h 1215"/>
                  <a:gd name="T54" fmla="*/ 391 w 1618"/>
                  <a:gd name="T55" fmla="*/ 1105 h 1215"/>
                  <a:gd name="T56" fmla="*/ 334 w 1618"/>
                  <a:gd name="T57" fmla="*/ 1068 h 1215"/>
                  <a:gd name="T58" fmla="*/ 281 w 1618"/>
                  <a:gd name="T59" fmla="*/ 1026 h 1215"/>
                  <a:gd name="T60" fmla="*/ 231 w 1618"/>
                  <a:gd name="T61" fmla="*/ 979 h 1215"/>
                  <a:gd name="T62" fmla="*/ 185 w 1618"/>
                  <a:gd name="T63" fmla="*/ 928 h 1215"/>
                  <a:gd name="T64" fmla="*/ 144 w 1618"/>
                  <a:gd name="T65" fmla="*/ 874 h 1215"/>
                  <a:gd name="T66" fmla="*/ 108 w 1618"/>
                  <a:gd name="T67" fmla="*/ 815 h 1215"/>
                  <a:gd name="T68" fmla="*/ 76 w 1618"/>
                  <a:gd name="T69" fmla="*/ 754 h 1215"/>
                  <a:gd name="T70" fmla="*/ 49 w 1618"/>
                  <a:gd name="T71" fmla="*/ 691 h 1215"/>
                  <a:gd name="T72" fmla="*/ 28 w 1618"/>
                  <a:gd name="T73" fmla="*/ 624 h 1215"/>
                  <a:gd name="T74" fmla="*/ 12 w 1618"/>
                  <a:gd name="T75" fmla="*/ 553 h 1215"/>
                  <a:gd name="T76" fmla="*/ 3 w 1618"/>
                  <a:gd name="T77" fmla="*/ 482 h 1215"/>
                  <a:gd name="T78" fmla="*/ 0 w 1618"/>
                  <a:gd name="T79" fmla="*/ 409 h 1215"/>
                  <a:gd name="T80" fmla="*/ 0 w 1618"/>
                  <a:gd name="T81" fmla="*/ 0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18" h="1215">
                    <a:moveTo>
                      <a:pt x="0" y="0"/>
                    </a:moveTo>
                    <a:lnTo>
                      <a:pt x="1618" y="0"/>
                    </a:lnTo>
                    <a:lnTo>
                      <a:pt x="1618" y="409"/>
                    </a:lnTo>
                    <a:lnTo>
                      <a:pt x="1615" y="482"/>
                    </a:lnTo>
                    <a:lnTo>
                      <a:pt x="1605" y="553"/>
                    </a:lnTo>
                    <a:lnTo>
                      <a:pt x="1590" y="624"/>
                    </a:lnTo>
                    <a:lnTo>
                      <a:pt x="1568" y="691"/>
                    </a:lnTo>
                    <a:lnTo>
                      <a:pt x="1542" y="754"/>
                    </a:lnTo>
                    <a:lnTo>
                      <a:pt x="1510" y="815"/>
                    </a:lnTo>
                    <a:lnTo>
                      <a:pt x="1473" y="874"/>
                    </a:lnTo>
                    <a:lnTo>
                      <a:pt x="1432" y="928"/>
                    </a:lnTo>
                    <a:lnTo>
                      <a:pt x="1386" y="979"/>
                    </a:lnTo>
                    <a:lnTo>
                      <a:pt x="1337" y="1026"/>
                    </a:lnTo>
                    <a:lnTo>
                      <a:pt x="1284" y="1068"/>
                    </a:lnTo>
                    <a:lnTo>
                      <a:pt x="1226" y="1105"/>
                    </a:lnTo>
                    <a:lnTo>
                      <a:pt x="1166" y="1138"/>
                    </a:lnTo>
                    <a:lnTo>
                      <a:pt x="1103" y="1164"/>
                    </a:lnTo>
                    <a:lnTo>
                      <a:pt x="1037" y="1186"/>
                    </a:lnTo>
                    <a:lnTo>
                      <a:pt x="969" y="1202"/>
                    </a:lnTo>
                    <a:lnTo>
                      <a:pt x="899" y="1212"/>
                    </a:lnTo>
                    <a:lnTo>
                      <a:pt x="827" y="1215"/>
                    </a:lnTo>
                    <a:lnTo>
                      <a:pt x="790" y="1215"/>
                    </a:lnTo>
                    <a:lnTo>
                      <a:pt x="718" y="1212"/>
                    </a:lnTo>
                    <a:lnTo>
                      <a:pt x="647" y="1202"/>
                    </a:lnTo>
                    <a:lnTo>
                      <a:pt x="580" y="1186"/>
                    </a:lnTo>
                    <a:lnTo>
                      <a:pt x="514" y="1164"/>
                    </a:lnTo>
                    <a:lnTo>
                      <a:pt x="451" y="1138"/>
                    </a:lnTo>
                    <a:lnTo>
                      <a:pt x="391" y="1105"/>
                    </a:lnTo>
                    <a:lnTo>
                      <a:pt x="334" y="1068"/>
                    </a:lnTo>
                    <a:lnTo>
                      <a:pt x="281" y="1026"/>
                    </a:lnTo>
                    <a:lnTo>
                      <a:pt x="231" y="979"/>
                    </a:lnTo>
                    <a:lnTo>
                      <a:pt x="185" y="928"/>
                    </a:lnTo>
                    <a:lnTo>
                      <a:pt x="144" y="874"/>
                    </a:lnTo>
                    <a:lnTo>
                      <a:pt x="108" y="815"/>
                    </a:lnTo>
                    <a:lnTo>
                      <a:pt x="76" y="754"/>
                    </a:lnTo>
                    <a:lnTo>
                      <a:pt x="49" y="691"/>
                    </a:lnTo>
                    <a:lnTo>
                      <a:pt x="28" y="624"/>
                    </a:lnTo>
                    <a:lnTo>
                      <a:pt x="12" y="553"/>
                    </a:lnTo>
                    <a:lnTo>
                      <a:pt x="3" y="482"/>
                    </a:lnTo>
                    <a:lnTo>
                      <a:pt x="0" y="40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24" name="Freeform 18">
                <a:extLst>
                  <a:ext uri="{FF2B5EF4-FFF2-40B4-BE49-F238E27FC236}">
                    <a16:creationId xmlns:a16="http://schemas.microsoft.com/office/drawing/2014/main" xmlns="" id="{ECC5B527-F489-4422-BFFE-54968669ACBC}"/>
                  </a:ext>
                </a:extLst>
              </p:cNvPr>
              <p:cNvSpPr>
                <a:spLocks noEditPoints="1"/>
              </p:cNvSpPr>
              <p:nvPr/>
            </p:nvSpPr>
            <p:spPr bwMode="auto">
              <a:xfrm>
                <a:off x="3238500" y="960438"/>
                <a:ext cx="160338" cy="198438"/>
              </a:xfrm>
              <a:custGeom>
                <a:avLst/>
                <a:gdLst>
                  <a:gd name="T0" fmla="*/ 755 w 1618"/>
                  <a:gd name="T1" fmla="*/ 1344 h 2006"/>
                  <a:gd name="T2" fmla="*/ 703 w 1618"/>
                  <a:gd name="T3" fmla="*/ 1398 h 2006"/>
                  <a:gd name="T4" fmla="*/ 692 w 1618"/>
                  <a:gd name="T5" fmla="*/ 1754 h 2006"/>
                  <a:gd name="T6" fmla="*/ 716 w 1618"/>
                  <a:gd name="T7" fmla="*/ 1827 h 2006"/>
                  <a:gd name="T8" fmla="*/ 780 w 1618"/>
                  <a:gd name="T9" fmla="*/ 1868 h 2006"/>
                  <a:gd name="T10" fmla="*/ 838 w 1618"/>
                  <a:gd name="T11" fmla="*/ 1868 h 2006"/>
                  <a:gd name="T12" fmla="*/ 901 w 1618"/>
                  <a:gd name="T13" fmla="*/ 1827 h 2006"/>
                  <a:gd name="T14" fmla="*/ 926 w 1618"/>
                  <a:gd name="T15" fmla="*/ 1754 h 2006"/>
                  <a:gd name="T16" fmla="*/ 915 w 1618"/>
                  <a:gd name="T17" fmla="*/ 1398 h 2006"/>
                  <a:gd name="T18" fmla="*/ 862 w 1618"/>
                  <a:gd name="T19" fmla="*/ 1344 h 2006"/>
                  <a:gd name="T20" fmla="*/ 806 w 1618"/>
                  <a:gd name="T21" fmla="*/ 1332 h 2006"/>
                  <a:gd name="T22" fmla="*/ 856 w 1618"/>
                  <a:gd name="T23" fmla="*/ 87 h 2006"/>
                  <a:gd name="T24" fmla="*/ 631 w 1618"/>
                  <a:gd name="T25" fmla="*/ 133 h 2006"/>
                  <a:gd name="T26" fmla="*/ 466 w 1618"/>
                  <a:gd name="T27" fmla="*/ 181 h 2006"/>
                  <a:gd name="T28" fmla="*/ 353 w 1618"/>
                  <a:gd name="T29" fmla="*/ 232 h 2006"/>
                  <a:gd name="T30" fmla="*/ 287 w 1618"/>
                  <a:gd name="T31" fmla="*/ 290 h 2006"/>
                  <a:gd name="T32" fmla="*/ 262 w 1618"/>
                  <a:gd name="T33" fmla="*/ 363 h 2006"/>
                  <a:gd name="T34" fmla="*/ 290 w 1618"/>
                  <a:gd name="T35" fmla="*/ 449 h 2006"/>
                  <a:gd name="T36" fmla="*/ 333 w 1618"/>
                  <a:gd name="T37" fmla="*/ 502 h 2006"/>
                  <a:gd name="T38" fmla="*/ 379 w 1618"/>
                  <a:gd name="T39" fmla="*/ 521 h 2006"/>
                  <a:gd name="T40" fmla="*/ 439 w 1618"/>
                  <a:gd name="T41" fmla="*/ 526 h 2006"/>
                  <a:gd name="T42" fmla="*/ 507 w 1618"/>
                  <a:gd name="T43" fmla="*/ 538 h 2006"/>
                  <a:gd name="T44" fmla="*/ 590 w 1618"/>
                  <a:gd name="T45" fmla="*/ 568 h 2006"/>
                  <a:gd name="T46" fmla="*/ 690 w 1618"/>
                  <a:gd name="T47" fmla="*/ 632 h 2006"/>
                  <a:gd name="T48" fmla="*/ 782 w 1618"/>
                  <a:gd name="T49" fmla="*/ 733 h 2006"/>
                  <a:gd name="T50" fmla="*/ 834 w 1618"/>
                  <a:gd name="T51" fmla="*/ 846 h 2006"/>
                  <a:gd name="T52" fmla="*/ 856 w 1618"/>
                  <a:gd name="T53" fmla="*/ 959 h 2006"/>
                  <a:gd name="T54" fmla="*/ 858 w 1618"/>
                  <a:gd name="T55" fmla="*/ 1061 h 2006"/>
                  <a:gd name="T56" fmla="*/ 850 w 1618"/>
                  <a:gd name="T57" fmla="*/ 1138 h 2006"/>
                  <a:gd name="T58" fmla="*/ 0 w 1618"/>
                  <a:gd name="T59" fmla="*/ 2006 h 2006"/>
                  <a:gd name="T60" fmla="*/ 784 w 1618"/>
                  <a:gd name="T61" fmla="*/ 1119 h 2006"/>
                  <a:gd name="T62" fmla="*/ 790 w 1618"/>
                  <a:gd name="T63" fmla="*/ 1045 h 2006"/>
                  <a:gd name="T64" fmla="*/ 786 w 1618"/>
                  <a:gd name="T65" fmla="*/ 949 h 2006"/>
                  <a:gd name="T66" fmla="*/ 761 w 1618"/>
                  <a:gd name="T67" fmla="*/ 845 h 2006"/>
                  <a:gd name="T68" fmla="*/ 706 w 1618"/>
                  <a:gd name="T69" fmla="*/ 745 h 2006"/>
                  <a:gd name="T70" fmla="*/ 617 w 1618"/>
                  <a:gd name="T71" fmla="*/ 665 h 2006"/>
                  <a:gd name="T72" fmla="*/ 537 w 1618"/>
                  <a:gd name="T73" fmla="*/ 620 h 2006"/>
                  <a:gd name="T74" fmla="*/ 471 w 1618"/>
                  <a:gd name="T75" fmla="*/ 601 h 2006"/>
                  <a:gd name="T76" fmla="*/ 414 w 1618"/>
                  <a:gd name="T77" fmla="*/ 593 h 2006"/>
                  <a:gd name="T78" fmla="*/ 351 w 1618"/>
                  <a:gd name="T79" fmla="*/ 585 h 2006"/>
                  <a:gd name="T80" fmla="*/ 291 w 1618"/>
                  <a:gd name="T81" fmla="*/ 556 h 2006"/>
                  <a:gd name="T82" fmla="*/ 231 w 1618"/>
                  <a:gd name="T83" fmla="*/ 485 h 2006"/>
                  <a:gd name="T84" fmla="*/ 195 w 1618"/>
                  <a:gd name="T85" fmla="*/ 380 h 2006"/>
                  <a:gd name="T86" fmla="*/ 213 w 1618"/>
                  <a:gd name="T87" fmla="*/ 280 h 2006"/>
                  <a:gd name="T88" fmla="*/ 281 w 1618"/>
                  <a:gd name="T89" fmla="*/ 200 h 2006"/>
                  <a:gd name="T90" fmla="*/ 398 w 1618"/>
                  <a:gd name="T91" fmla="*/ 133 h 2006"/>
                  <a:gd name="T92" fmla="*/ 563 w 1618"/>
                  <a:gd name="T93" fmla="*/ 76 h 2006"/>
                  <a:gd name="T94" fmla="*/ 777 w 1618"/>
                  <a:gd name="T95" fmla="*/ 28 h 2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18" h="2006">
                    <a:moveTo>
                      <a:pt x="806" y="1332"/>
                    </a:moveTo>
                    <a:lnTo>
                      <a:pt x="780" y="1335"/>
                    </a:lnTo>
                    <a:lnTo>
                      <a:pt x="755" y="1344"/>
                    </a:lnTo>
                    <a:lnTo>
                      <a:pt x="734" y="1358"/>
                    </a:lnTo>
                    <a:lnTo>
                      <a:pt x="716" y="1376"/>
                    </a:lnTo>
                    <a:lnTo>
                      <a:pt x="703" y="1398"/>
                    </a:lnTo>
                    <a:lnTo>
                      <a:pt x="695" y="1423"/>
                    </a:lnTo>
                    <a:lnTo>
                      <a:pt x="692" y="1449"/>
                    </a:lnTo>
                    <a:lnTo>
                      <a:pt x="692" y="1754"/>
                    </a:lnTo>
                    <a:lnTo>
                      <a:pt x="695" y="1781"/>
                    </a:lnTo>
                    <a:lnTo>
                      <a:pt x="703" y="1805"/>
                    </a:lnTo>
                    <a:lnTo>
                      <a:pt x="716" y="1827"/>
                    </a:lnTo>
                    <a:lnTo>
                      <a:pt x="734" y="1845"/>
                    </a:lnTo>
                    <a:lnTo>
                      <a:pt x="755" y="1860"/>
                    </a:lnTo>
                    <a:lnTo>
                      <a:pt x="780" y="1868"/>
                    </a:lnTo>
                    <a:lnTo>
                      <a:pt x="806" y="1871"/>
                    </a:lnTo>
                    <a:lnTo>
                      <a:pt x="812" y="1871"/>
                    </a:lnTo>
                    <a:lnTo>
                      <a:pt x="838" y="1868"/>
                    </a:lnTo>
                    <a:lnTo>
                      <a:pt x="862" y="1860"/>
                    </a:lnTo>
                    <a:lnTo>
                      <a:pt x="884" y="1845"/>
                    </a:lnTo>
                    <a:lnTo>
                      <a:pt x="901" y="1827"/>
                    </a:lnTo>
                    <a:lnTo>
                      <a:pt x="915" y="1805"/>
                    </a:lnTo>
                    <a:lnTo>
                      <a:pt x="923" y="1781"/>
                    </a:lnTo>
                    <a:lnTo>
                      <a:pt x="926" y="1754"/>
                    </a:lnTo>
                    <a:lnTo>
                      <a:pt x="926" y="1449"/>
                    </a:lnTo>
                    <a:lnTo>
                      <a:pt x="923" y="1423"/>
                    </a:lnTo>
                    <a:lnTo>
                      <a:pt x="915" y="1398"/>
                    </a:lnTo>
                    <a:lnTo>
                      <a:pt x="901" y="1376"/>
                    </a:lnTo>
                    <a:lnTo>
                      <a:pt x="884" y="1358"/>
                    </a:lnTo>
                    <a:lnTo>
                      <a:pt x="862" y="1344"/>
                    </a:lnTo>
                    <a:lnTo>
                      <a:pt x="838" y="1335"/>
                    </a:lnTo>
                    <a:lnTo>
                      <a:pt x="812" y="1332"/>
                    </a:lnTo>
                    <a:lnTo>
                      <a:pt x="806" y="1332"/>
                    </a:lnTo>
                    <a:close/>
                    <a:moveTo>
                      <a:pt x="944" y="0"/>
                    </a:moveTo>
                    <a:lnTo>
                      <a:pt x="944" y="72"/>
                    </a:lnTo>
                    <a:lnTo>
                      <a:pt x="856" y="87"/>
                    </a:lnTo>
                    <a:lnTo>
                      <a:pt x="774" y="102"/>
                    </a:lnTo>
                    <a:lnTo>
                      <a:pt x="700" y="117"/>
                    </a:lnTo>
                    <a:lnTo>
                      <a:pt x="631" y="133"/>
                    </a:lnTo>
                    <a:lnTo>
                      <a:pt x="570" y="148"/>
                    </a:lnTo>
                    <a:lnTo>
                      <a:pt x="515" y="164"/>
                    </a:lnTo>
                    <a:lnTo>
                      <a:pt x="466" y="181"/>
                    </a:lnTo>
                    <a:lnTo>
                      <a:pt x="422" y="198"/>
                    </a:lnTo>
                    <a:lnTo>
                      <a:pt x="384" y="214"/>
                    </a:lnTo>
                    <a:lnTo>
                      <a:pt x="353" y="232"/>
                    </a:lnTo>
                    <a:lnTo>
                      <a:pt x="326" y="251"/>
                    </a:lnTo>
                    <a:lnTo>
                      <a:pt x="303" y="270"/>
                    </a:lnTo>
                    <a:lnTo>
                      <a:pt x="287" y="290"/>
                    </a:lnTo>
                    <a:lnTo>
                      <a:pt x="274" y="311"/>
                    </a:lnTo>
                    <a:lnTo>
                      <a:pt x="265" y="337"/>
                    </a:lnTo>
                    <a:lnTo>
                      <a:pt x="262" y="363"/>
                    </a:lnTo>
                    <a:lnTo>
                      <a:pt x="265" y="390"/>
                    </a:lnTo>
                    <a:lnTo>
                      <a:pt x="274" y="420"/>
                    </a:lnTo>
                    <a:lnTo>
                      <a:pt x="290" y="449"/>
                    </a:lnTo>
                    <a:lnTo>
                      <a:pt x="304" y="472"/>
                    </a:lnTo>
                    <a:lnTo>
                      <a:pt x="319" y="490"/>
                    </a:lnTo>
                    <a:lnTo>
                      <a:pt x="333" y="502"/>
                    </a:lnTo>
                    <a:lnTo>
                      <a:pt x="347" y="511"/>
                    </a:lnTo>
                    <a:lnTo>
                      <a:pt x="363" y="517"/>
                    </a:lnTo>
                    <a:lnTo>
                      <a:pt x="379" y="521"/>
                    </a:lnTo>
                    <a:lnTo>
                      <a:pt x="398" y="523"/>
                    </a:lnTo>
                    <a:lnTo>
                      <a:pt x="419" y="524"/>
                    </a:lnTo>
                    <a:lnTo>
                      <a:pt x="439" y="526"/>
                    </a:lnTo>
                    <a:lnTo>
                      <a:pt x="459" y="529"/>
                    </a:lnTo>
                    <a:lnTo>
                      <a:pt x="482" y="533"/>
                    </a:lnTo>
                    <a:lnTo>
                      <a:pt x="507" y="538"/>
                    </a:lnTo>
                    <a:lnTo>
                      <a:pt x="532" y="545"/>
                    </a:lnTo>
                    <a:lnTo>
                      <a:pt x="560" y="555"/>
                    </a:lnTo>
                    <a:lnTo>
                      <a:pt x="590" y="568"/>
                    </a:lnTo>
                    <a:lnTo>
                      <a:pt x="621" y="585"/>
                    </a:lnTo>
                    <a:lnTo>
                      <a:pt x="654" y="606"/>
                    </a:lnTo>
                    <a:lnTo>
                      <a:pt x="690" y="632"/>
                    </a:lnTo>
                    <a:lnTo>
                      <a:pt x="726" y="664"/>
                    </a:lnTo>
                    <a:lnTo>
                      <a:pt x="756" y="697"/>
                    </a:lnTo>
                    <a:lnTo>
                      <a:pt x="782" y="733"/>
                    </a:lnTo>
                    <a:lnTo>
                      <a:pt x="803" y="769"/>
                    </a:lnTo>
                    <a:lnTo>
                      <a:pt x="820" y="807"/>
                    </a:lnTo>
                    <a:lnTo>
                      <a:pt x="834" y="846"/>
                    </a:lnTo>
                    <a:lnTo>
                      <a:pt x="844" y="884"/>
                    </a:lnTo>
                    <a:lnTo>
                      <a:pt x="852" y="921"/>
                    </a:lnTo>
                    <a:lnTo>
                      <a:pt x="856" y="959"/>
                    </a:lnTo>
                    <a:lnTo>
                      <a:pt x="858" y="995"/>
                    </a:lnTo>
                    <a:lnTo>
                      <a:pt x="859" y="1028"/>
                    </a:lnTo>
                    <a:lnTo>
                      <a:pt x="858" y="1061"/>
                    </a:lnTo>
                    <a:lnTo>
                      <a:pt x="856" y="1090"/>
                    </a:lnTo>
                    <a:lnTo>
                      <a:pt x="853" y="1115"/>
                    </a:lnTo>
                    <a:lnTo>
                      <a:pt x="850" y="1138"/>
                    </a:lnTo>
                    <a:lnTo>
                      <a:pt x="1618" y="1138"/>
                    </a:lnTo>
                    <a:lnTo>
                      <a:pt x="1618" y="2006"/>
                    </a:lnTo>
                    <a:lnTo>
                      <a:pt x="0" y="2006"/>
                    </a:lnTo>
                    <a:lnTo>
                      <a:pt x="0" y="1138"/>
                    </a:lnTo>
                    <a:lnTo>
                      <a:pt x="781" y="1138"/>
                    </a:lnTo>
                    <a:lnTo>
                      <a:pt x="784" y="1119"/>
                    </a:lnTo>
                    <a:lnTo>
                      <a:pt x="786" y="1098"/>
                    </a:lnTo>
                    <a:lnTo>
                      <a:pt x="789" y="1073"/>
                    </a:lnTo>
                    <a:lnTo>
                      <a:pt x="790" y="1045"/>
                    </a:lnTo>
                    <a:lnTo>
                      <a:pt x="790" y="1015"/>
                    </a:lnTo>
                    <a:lnTo>
                      <a:pt x="789" y="982"/>
                    </a:lnTo>
                    <a:lnTo>
                      <a:pt x="786" y="949"/>
                    </a:lnTo>
                    <a:lnTo>
                      <a:pt x="780" y="914"/>
                    </a:lnTo>
                    <a:lnTo>
                      <a:pt x="772" y="879"/>
                    </a:lnTo>
                    <a:lnTo>
                      <a:pt x="761" y="845"/>
                    </a:lnTo>
                    <a:lnTo>
                      <a:pt x="746" y="810"/>
                    </a:lnTo>
                    <a:lnTo>
                      <a:pt x="728" y="777"/>
                    </a:lnTo>
                    <a:lnTo>
                      <a:pt x="706" y="745"/>
                    </a:lnTo>
                    <a:lnTo>
                      <a:pt x="679" y="715"/>
                    </a:lnTo>
                    <a:lnTo>
                      <a:pt x="647" y="687"/>
                    </a:lnTo>
                    <a:lnTo>
                      <a:pt x="617" y="665"/>
                    </a:lnTo>
                    <a:lnTo>
                      <a:pt x="589" y="646"/>
                    </a:lnTo>
                    <a:lnTo>
                      <a:pt x="562" y="631"/>
                    </a:lnTo>
                    <a:lnTo>
                      <a:pt x="537" y="620"/>
                    </a:lnTo>
                    <a:lnTo>
                      <a:pt x="514" y="611"/>
                    </a:lnTo>
                    <a:lnTo>
                      <a:pt x="491" y="605"/>
                    </a:lnTo>
                    <a:lnTo>
                      <a:pt x="471" y="601"/>
                    </a:lnTo>
                    <a:lnTo>
                      <a:pt x="451" y="598"/>
                    </a:lnTo>
                    <a:lnTo>
                      <a:pt x="432" y="596"/>
                    </a:lnTo>
                    <a:lnTo>
                      <a:pt x="414" y="593"/>
                    </a:lnTo>
                    <a:lnTo>
                      <a:pt x="393" y="592"/>
                    </a:lnTo>
                    <a:lnTo>
                      <a:pt x="372" y="589"/>
                    </a:lnTo>
                    <a:lnTo>
                      <a:pt x="351" y="585"/>
                    </a:lnTo>
                    <a:lnTo>
                      <a:pt x="331" y="579"/>
                    </a:lnTo>
                    <a:lnTo>
                      <a:pt x="310" y="569"/>
                    </a:lnTo>
                    <a:lnTo>
                      <a:pt x="291" y="556"/>
                    </a:lnTo>
                    <a:lnTo>
                      <a:pt x="270" y="538"/>
                    </a:lnTo>
                    <a:lnTo>
                      <a:pt x="251" y="514"/>
                    </a:lnTo>
                    <a:lnTo>
                      <a:pt x="231" y="485"/>
                    </a:lnTo>
                    <a:lnTo>
                      <a:pt x="214" y="449"/>
                    </a:lnTo>
                    <a:lnTo>
                      <a:pt x="201" y="414"/>
                    </a:lnTo>
                    <a:lnTo>
                      <a:pt x="195" y="380"/>
                    </a:lnTo>
                    <a:lnTo>
                      <a:pt x="195" y="346"/>
                    </a:lnTo>
                    <a:lnTo>
                      <a:pt x="201" y="313"/>
                    </a:lnTo>
                    <a:lnTo>
                      <a:pt x="213" y="280"/>
                    </a:lnTo>
                    <a:lnTo>
                      <a:pt x="230" y="252"/>
                    </a:lnTo>
                    <a:lnTo>
                      <a:pt x="253" y="225"/>
                    </a:lnTo>
                    <a:lnTo>
                      <a:pt x="281" y="200"/>
                    </a:lnTo>
                    <a:lnTo>
                      <a:pt x="314" y="176"/>
                    </a:lnTo>
                    <a:lnTo>
                      <a:pt x="354" y="154"/>
                    </a:lnTo>
                    <a:lnTo>
                      <a:pt x="398" y="133"/>
                    </a:lnTo>
                    <a:lnTo>
                      <a:pt x="447" y="113"/>
                    </a:lnTo>
                    <a:lnTo>
                      <a:pt x="503" y="94"/>
                    </a:lnTo>
                    <a:lnTo>
                      <a:pt x="563" y="76"/>
                    </a:lnTo>
                    <a:lnTo>
                      <a:pt x="629" y="59"/>
                    </a:lnTo>
                    <a:lnTo>
                      <a:pt x="700" y="44"/>
                    </a:lnTo>
                    <a:lnTo>
                      <a:pt x="777" y="28"/>
                    </a:lnTo>
                    <a:lnTo>
                      <a:pt x="858" y="13"/>
                    </a:lnTo>
                    <a:lnTo>
                      <a:pt x="94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grpSp>
          <p:nvGrpSpPr>
            <p:cNvPr id="99" name="Group 98">
              <a:extLst>
                <a:ext uri="{FF2B5EF4-FFF2-40B4-BE49-F238E27FC236}">
                  <a16:creationId xmlns:a16="http://schemas.microsoft.com/office/drawing/2014/main" xmlns="" id="{BE18AF27-9014-4839-89F1-C569C44EA946}"/>
                </a:ext>
              </a:extLst>
            </p:cNvPr>
            <p:cNvGrpSpPr/>
            <p:nvPr/>
          </p:nvGrpSpPr>
          <p:grpSpPr>
            <a:xfrm>
              <a:off x="6805529" y="1435294"/>
              <a:ext cx="372967" cy="342422"/>
              <a:chOff x="4989513" y="981075"/>
              <a:chExt cx="368300" cy="338138"/>
            </a:xfrm>
            <a:solidFill>
              <a:sysClr val="window" lastClr="FFFFFF"/>
            </a:solidFill>
          </p:grpSpPr>
          <p:sp>
            <p:nvSpPr>
              <p:cNvPr id="120" name="Freeform 23">
                <a:extLst>
                  <a:ext uri="{FF2B5EF4-FFF2-40B4-BE49-F238E27FC236}">
                    <a16:creationId xmlns:a16="http://schemas.microsoft.com/office/drawing/2014/main" xmlns="" id="{C80B38D4-2268-49BB-A86E-0288E3DE6B95}"/>
                  </a:ext>
                </a:extLst>
              </p:cNvPr>
              <p:cNvSpPr>
                <a:spLocks/>
              </p:cNvSpPr>
              <p:nvPr/>
            </p:nvSpPr>
            <p:spPr bwMode="auto">
              <a:xfrm>
                <a:off x="5116513" y="1290638"/>
                <a:ext cx="141288" cy="28575"/>
              </a:xfrm>
              <a:custGeom>
                <a:avLst/>
                <a:gdLst>
                  <a:gd name="T0" fmla="*/ 134 w 1337"/>
                  <a:gd name="T1" fmla="*/ 0 h 266"/>
                  <a:gd name="T2" fmla="*/ 1204 w 1337"/>
                  <a:gd name="T3" fmla="*/ 0 h 266"/>
                  <a:gd name="T4" fmla="*/ 1231 w 1337"/>
                  <a:gd name="T5" fmla="*/ 2 h 266"/>
                  <a:gd name="T6" fmla="*/ 1256 w 1337"/>
                  <a:gd name="T7" fmla="*/ 10 h 266"/>
                  <a:gd name="T8" fmla="*/ 1278 w 1337"/>
                  <a:gd name="T9" fmla="*/ 22 h 266"/>
                  <a:gd name="T10" fmla="*/ 1299 w 1337"/>
                  <a:gd name="T11" fmla="*/ 39 h 266"/>
                  <a:gd name="T12" fmla="*/ 1315 w 1337"/>
                  <a:gd name="T13" fmla="*/ 58 h 266"/>
                  <a:gd name="T14" fmla="*/ 1327 w 1337"/>
                  <a:gd name="T15" fmla="*/ 80 h 266"/>
                  <a:gd name="T16" fmla="*/ 1335 w 1337"/>
                  <a:gd name="T17" fmla="*/ 106 h 266"/>
                  <a:gd name="T18" fmla="*/ 1337 w 1337"/>
                  <a:gd name="T19" fmla="*/ 132 h 266"/>
                  <a:gd name="T20" fmla="*/ 1337 w 1337"/>
                  <a:gd name="T21" fmla="*/ 266 h 266"/>
                  <a:gd name="T22" fmla="*/ 0 w 1337"/>
                  <a:gd name="T23" fmla="*/ 266 h 266"/>
                  <a:gd name="T24" fmla="*/ 0 w 1337"/>
                  <a:gd name="T25" fmla="*/ 132 h 266"/>
                  <a:gd name="T26" fmla="*/ 3 w 1337"/>
                  <a:gd name="T27" fmla="*/ 105 h 266"/>
                  <a:gd name="T28" fmla="*/ 11 w 1337"/>
                  <a:gd name="T29" fmla="*/ 80 h 266"/>
                  <a:gd name="T30" fmla="*/ 23 w 1337"/>
                  <a:gd name="T31" fmla="*/ 57 h 266"/>
                  <a:gd name="T32" fmla="*/ 39 w 1337"/>
                  <a:gd name="T33" fmla="*/ 38 h 266"/>
                  <a:gd name="T34" fmla="*/ 60 w 1337"/>
                  <a:gd name="T35" fmla="*/ 22 h 266"/>
                  <a:gd name="T36" fmla="*/ 82 w 1337"/>
                  <a:gd name="T37" fmla="*/ 9 h 266"/>
                  <a:gd name="T38" fmla="*/ 107 w 1337"/>
                  <a:gd name="T39" fmla="*/ 2 h 266"/>
                  <a:gd name="T40" fmla="*/ 134 w 1337"/>
                  <a:gd name="T4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7" h="266">
                    <a:moveTo>
                      <a:pt x="134" y="0"/>
                    </a:moveTo>
                    <a:lnTo>
                      <a:pt x="1204" y="0"/>
                    </a:lnTo>
                    <a:lnTo>
                      <a:pt x="1231" y="2"/>
                    </a:lnTo>
                    <a:lnTo>
                      <a:pt x="1256" y="10"/>
                    </a:lnTo>
                    <a:lnTo>
                      <a:pt x="1278" y="22"/>
                    </a:lnTo>
                    <a:lnTo>
                      <a:pt x="1299" y="39"/>
                    </a:lnTo>
                    <a:lnTo>
                      <a:pt x="1315" y="58"/>
                    </a:lnTo>
                    <a:lnTo>
                      <a:pt x="1327" y="80"/>
                    </a:lnTo>
                    <a:lnTo>
                      <a:pt x="1335" y="106"/>
                    </a:lnTo>
                    <a:lnTo>
                      <a:pt x="1337" y="132"/>
                    </a:lnTo>
                    <a:lnTo>
                      <a:pt x="1337" y="266"/>
                    </a:lnTo>
                    <a:lnTo>
                      <a:pt x="0" y="266"/>
                    </a:lnTo>
                    <a:lnTo>
                      <a:pt x="0" y="132"/>
                    </a:lnTo>
                    <a:lnTo>
                      <a:pt x="3" y="105"/>
                    </a:lnTo>
                    <a:lnTo>
                      <a:pt x="11" y="80"/>
                    </a:lnTo>
                    <a:lnTo>
                      <a:pt x="23" y="57"/>
                    </a:lnTo>
                    <a:lnTo>
                      <a:pt x="39" y="38"/>
                    </a:lnTo>
                    <a:lnTo>
                      <a:pt x="60" y="22"/>
                    </a:lnTo>
                    <a:lnTo>
                      <a:pt x="82" y="9"/>
                    </a:lnTo>
                    <a:lnTo>
                      <a:pt x="107" y="2"/>
                    </a:lnTo>
                    <a:lnTo>
                      <a:pt x="1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21" name="Freeform 24">
                <a:extLst>
                  <a:ext uri="{FF2B5EF4-FFF2-40B4-BE49-F238E27FC236}">
                    <a16:creationId xmlns:a16="http://schemas.microsoft.com/office/drawing/2014/main" xmlns="" id="{D2C47168-8109-438E-B4B8-F10E509B2BEF}"/>
                  </a:ext>
                </a:extLst>
              </p:cNvPr>
              <p:cNvSpPr>
                <a:spLocks noEditPoints="1"/>
              </p:cNvSpPr>
              <p:nvPr/>
            </p:nvSpPr>
            <p:spPr bwMode="auto">
              <a:xfrm>
                <a:off x="4989513" y="981075"/>
                <a:ext cx="98425" cy="338137"/>
              </a:xfrm>
              <a:custGeom>
                <a:avLst/>
                <a:gdLst>
                  <a:gd name="T0" fmla="*/ 432 w 936"/>
                  <a:gd name="T1" fmla="*/ 2246 h 3196"/>
                  <a:gd name="T2" fmla="*/ 366 w 936"/>
                  <a:gd name="T3" fmla="*/ 2268 h 3196"/>
                  <a:gd name="T4" fmla="*/ 312 w 936"/>
                  <a:gd name="T5" fmla="*/ 2307 h 3196"/>
                  <a:gd name="T6" fmla="*/ 271 w 936"/>
                  <a:gd name="T7" fmla="*/ 2362 h 3196"/>
                  <a:gd name="T8" fmla="*/ 250 w 936"/>
                  <a:gd name="T9" fmla="*/ 2428 h 3196"/>
                  <a:gd name="T10" fmla="*/ 250 w 936"/>
                  <a:gd name="T11" fmla="*/ 2499 h 3196"/>
                  <a:gd name="T12" fmla="*/ 271 w 936"/>
                  <a:gd name="T13" fmla="*/ 2564 h 3196"/>
                  <a:gd name="T14" fmla="*/ 312 w 936"/>
                  <a:gd name="T15" fmla="*/ 2620 h 3196"/>
                  <a:gd name="T16" fmla="*/ 366 w 936"/>
                  <a:gd name="T17" fmla="*/ 2659 h 3196"/>
                  <a:gd name="T18" fmla="*/ 432 w 936"/>
                  <a:gd name="T19" fmla="*/ 2681 h 3196"/>
                  <a:gd name="T20" fmla="*/ 504 w 936"/>
                  <a:gd name="T21" fmla="*/ 2681 h 3196"/>
                  <a:gd name="T22" fmla="*/ 570 w 936"/>
                  <a:gd name="T23" fmla="*/ 2659 h 3196"/>
                  <a:gd name="T24" fmla="*/ 624 w 936"/>
                  <a:gd name="T25" fmla="*/ 2620 h 3196"/>
                  <a:gd name="T26" fmla="*/ 665 w 936"/>
                  <a:gd name="T27" fmla="*/ 2564 h 3196"/>
                  <a:gd name="T28" fmla="*/ 686 w 936"/>
                  <a:gd name="T29" fmla="*/ 2499 h 3196"/>
                  <a:gd name="T30" fmla="*/ 686 w 936"/>
                  <a:gd name="T31" fmla="*/ 2428 h 3196"/>
                  <a:gd name="T32" fmla="*/ 665 w 936"/>
                  <a:gd name="T33" fmla="*/ 2362 h 3196"/>
                  <a:gd name="T34" fmla="*/ 624 w 936"/>
                  <a:gd name="T35" fmla="*/ 2307 h 3196"/>
                  <a:gd name="T36" fmla="*/ 570 w 936"/>
                  <a:gd name="T37" fmla="*/ 2268 h 3196"/>
                  <a:gd name="T38" fmla="*/ 504 w 936"/>
                  <a:gd name="T39" fmla="*/ 2246 h 3196"/>
                  <a:gd name="T40" fmla="*/ 134 w 936"/>
                  <a:gd name="T41" fmla="*/ 0 h 3196"/>
                  <a:gd name="T42" fmla="*/ 830 w 936"/>
                  <a:gd name="T43" fmla="*/ 3 h 3196"/>
                  <a:gd name="T44" fmla="*/ 878 w 936"/>
                  <a:gd name="T45" fmla="*/ 23 h 3196"/>
                  <a:gd name="T46" fmla="*/ 914 w 936"/>
                  <a:gd name="T47" fmla="*/ 59 h 3196"/>
                  <a:gd name="T48" fmla="*/ 934 w 936"/>
                  <a:gd name="T49" fmla="*/ 106 h 3196"/>
                  <a:gd name="T50" fmla="*/ 936 w 936"/>
                  <a:gd name="T51" fmla="*/ 3062 h 3196"/>
                  <a:gd name="T52" fmla="*/ 925 w 936"/>
                  <a:gd name="T53" fmla="*/ 3114 h 3196"/>
                  <a:gd name="T54" fmla="*/ 897 w 936"/>
                  <a:gd name="T55" fmla="*/ 3156 h 3196"/>
                  <a:gd name="T56" fmla="*/ 854 w 936"/>
                  <a:gd name="T57" fmla="*/ 3185 h 3196"/>
                  <a:gd name="T58" fmla="*/ 802 w 936"/>
                  <a:gd name="T59" fmla="*/ 3196 h 3196"/>
                  <a:gd name="T60" fmla="*/ 107 w 936"/>
                  <a:gd name="T61" fmla="*/ 3192 h 3196"/>
                  <a:gd name="T62" fmla="*/ 60 w 936"/>
                  <a:gd name="T63" fmla="*/ 3172 h 3196"/>
                  <a:gd name="T64" fmla="*/ 23 w 936"/>
                  <a:gd name="T65" fmla="*/ 3136 h 3196"/>
                  <a:gd name="T66" fmla="*/ 3 w 936"/>
                  <a:gd name="T67" fmla="*/ 3089 h 3196"/>
                  <a:gd name="T68" fmla="*/ 0 w 936"/>
                  <a:gd name="T69" fmla="*/ 134 h 3196"/>
                  <a:gd name="T70" fmla="*/ 11 w 936"/>
                  <a:gd name="T71" fmla="*/ 82 h 3196"/>
                  <a:gd name="T72" fmla="*/ 39 w 936"/>
                  <a:gd name="T73" fmla="*/ 40 h 3196"/>
                  <a:gd name="T74" fmla="*/ 82 w 936"/>
                  <a:gd name="T75" fmla="*/ 11 h 3196"/>
                  <a:gd name="T76" fmla="*/ 134 w 936"/>
                  <a:gd name="T77" fmla="*/ 0 h 3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6" h="3196">
                    <a:moveTo>
                      <a:pt x="468" y="2244"/>
                    </a:moveTo>
                    <a:lnTo>
                      <a:pt x="432" y="2246"/>
                    </a:lnTo>
                    <a:lnTo>
                      <a:pt x="398" y="2254"/>
                    </a:lnTo>
                    <a:lnTo>
                      <a:pt x="366" y="2268"/>
                    </a:lnTo>
                    <a:lnTo>
                      <a:pt x="337" y="2286"/>
                    </a:lnTo>
                    <a:lnTo>
                      <a:pt x="312" y="2307"/>
                    </a:lnTo>
                    <a:lnTo>
                      <a:pt x="289" y="2333"/>
                    </a:lnTo>
                    <a:lnTo>
                      <a:pt x="271" y="2362"/>
                    </a:lnTo>
                    <a:lnTo>
                      <a:pt x="258" y="2394"/>
                    </a:lnTo>
                    <a:lnTo>
                      <a:pt x="250" y="2428"/>
                    </a:lnTo>
                    <a:lnTo>
                      <a:pt x="247" y="2464"/>
                    </a:lnTo>
                    <a:lnTo>
                      <a:pt x="250" y="2499"/>
                    </a:lnTo>
                    <a:lnTo>
                      <a:pt x="258" y="2533"/>
                    </a:lnTo>
                    <a:lnTo>
                      <a:pt x="271" y="2564"/>
                    </a:lnTo>
                    <a:lnTo>
                      <a:pt x="289" y="2593"/>
                    </a:lnTo>
                    <a:lnTo>
                      <a:pt x="312" y="2620"/>
                    </a:lnTo>
                    <a:lnTo>
                      <a:pt x="337" y="2641"/>
                    </a:lnTo>
                    <a:lnTo>
                      <a:pt x="366" y="2659"/>
                    </a:lnTo>
                    <a:lnTo>
                      <a:pt x="398" y="2672"/>
                    </a:lnTo>
                    <a:lnTo>
                      <a:pt x="432" y="2681"/>
                    </a:lnTo>
                    <a:lnTo>
                      <a:pt x="468" y="2684"/>
                    </a:lnTo>
                    <a:lnTo>
                      <a:pt x="504" y="2681"/>
                    </a:lnTo>
                    <a:lnTo>
                      <a:pt x="538" y="2672"/>
                    </a:lnTo>
                    <a:lnTo>
                      <a:pt x="570" y="2659"/>
                    </a:lnTo>
                    <a:lnTo>
                      <a:pt x="599" y="2641"/>
                    </a:lnTo>
                    <a:lnTo>
                      <a:pt x="624" y="2620"/>
                    </a:lnTo>
                    <a:lnTo>
                      <a:pt x="647" y="2593"/>
                    </a:lnTo>
                    <a:lnTo>
                      <a:pt x="665" y="2564"/>
                    </a:lnTo>
                    <a:lnTo>
                      <a:pt x="679" y="2533"/>
                    </a:lnTo>
                    <a:lnTo>
                      <a:pt x="686" y="2499"/>
                    </a:lnTo>
                    <a:lnTo>
                      <a:pt x="689" y="2464"/>
                    </a:lnTo>
                    <a:lnTo>
                      <a:pt x="686" y="2428"/>
                    </a:lnTo>
                    <a:lnTo>
                      <a:pt x="679" y="2394"/>
                    </a:lnTo>
                    <a:lnTo>
                      <a:pt x="665" y="2362"/>
                    </a:lnTo>
                    <a:lnTo>
                      <a:pt x="647" y="2333"/>
                    </a:lnTo>
                    <a:lnTo>
                      <a:pt x="624" y="2307"/>
                    </a:lnTo>
                    <a:lnTo>
                      <a:pt x="599" y="2286"/>
                    </a:lnTo>
                    <a:lnTo>
                      <a:pt x="570" y="2268"/>
                    </a:lnTo>
                    <a:lnTo>
                      <a:pt x="538" y="2254"/>
                    </a:lnTo>
                    <a:lnTo>
                      <a:pt x="504" y="2246"/>
                    </a:lnTo>
                    <a:lnTo>
                      <a:pt x="468" y="2244"/>
                    </a:lnTo>
                    <a:close/>
                    <a:moveTo>
                      <a:pt x="134" y="0"/>
                    </a:moveTo>
                    <a:lnTo>
                      <a:pt x="802" y="0"/>
                    </a:lnTo>
                    <a:lnTo>
                      <a:pt x="830" y="3"/>
                    </a:lnTo>
                    <a:lnTo>
                      <a:pt x="854" y="11"/>
                    </a:lnTo>
                    <a:lnTo>
                      <a:pt x="878" y="23"/>
                    </a:lnTo>
                    <a:lnTo>
                      <a:pt x="897" y="40"/>
                    </a:lnTo>
                    <a:lnTo>
                      <a:pt x="914" y="59"/>
                    </a:lnTo>
                    <a:lnTo>
                      <a:pt x="925" y="82"/>
                    </a:lnTo>
                    <a:lnTo>
                      <a:pt x="934" y="106"/>
                    </a:lnTo>
                    <a:lnTo>
                      <a:pt x="936" y="134"/>
                    </a:lnTo>
                    <a:lnTo>
                      <a:pt x="936" y="3062"/>
                    </a:lnTo>
                    <a:lnTo>
                      <a:pt x="934" y="3089"/>
                    </a:lnTo>
                    <a:lnTo>
                      <a:pt x="925" y="3114"/>
                    </a:lnTo>
                    <a:lnTo>
                      <a:pt x="914" y="3136"/>
                    </a:lnTo>
                    <a:lnTo>
                      <a:pt x="897" y="3156"/>
                    </a:lnTo>
                    <a:lnTo>
                      <a:pt x="878" y="3172"/>
                    </a:lnTo>
                    <a:lnTo>
                      <a:pt x="854" y="3185"/>
                    </a:lnTo>
                    <a:lnTo>
                      <a:pt x="830" y="3192"/>
                    </a:lnTo>
                    <a:lnTo>
                      <a:pt x="802" y="3196"/>
                    </a:lnTo>
                    <a:lnTo>
                      <a:pt x="134" y="3196"/>
                    </a:lnTo>
                    <a:lnTo>
                      <a:pt x="107" y="3192"/>
                    </a:lnTo>
                    <a:lnTo>
                      <a:pt x="82" y="3185"/>
                    </a:lnTo>
                    <a:lnTo>
                      <a:pt x="60" y="3172"/>
                    </a:lnTo>
                    <a:lnTo>
                      <a:pt x="39" y="3156"/>
                    </a:lnTo>
                    <a:lnTo>
                      <a:pt x="23" y="3136"/>
                    </a:lnTo>
                    <a:lnTo>
                      <a:pt x="11" y="3114"/>
                    </a:lnTo>
                    <a:lnTo>
                      <a:pt x="3" y="3089"/>
                    </a:lnTo>
                    <a:lnTo>
                      <a:pt x="0" y="3062"/>
                    </a:lnTo>
                    <a:lnTo>
                      <a:pt x="0" y="134"/>
                    </a:lnTo>
                    <a:lnTo>
                      <a:pt x="3" y="106"/>
                    </a:lnTo>
                    <a:lnTo>
                      <a:pt x="11" y="82"/>
                    </a:lnTo>
                    <a:lnTo>
                      <a:pt x="23" y="59"/>
                    </a:lnTo>
                    <a:lnTo>
                      <a:pt x="39" y="40"/>
                    </a:lnTo>
                    <a:lnTo>
                      <a:pt x="60" y="23"/>
                    </a:lnTo>
                    <a:lnTo>
                      <a:pt x="82" y="11"/>
                    </a:lnTo>
                    <a:lnTo>
                      <a:pt x="107" y="3"/>
                    </a:lnTo>
                    <a:lnTo>
                      <a:pt x="1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22" name="Freeform 25">
                <a:extLst>
                  <a:ext uri="{FF2B5EF4-FFF2-40B4-BE49-F238E27FC236}">
                    <a16:creationId xmlns:a16="http://schemas.microsoft.com/office/drawing/2014/main" xmlns="" id="{EF329927-0DB0-4FB0-B344-B2272C0780F1}"/>
                  </a:ext>
                </a:extLst>
              </p:cNvPr>
              <p:cNvSpPr>
                <a:spLocks/>
              </p:cNvSpPr>
              <p:nvPr/>
            </p:nvSpPr>
            <p:spPr bwMode="auto">
              <a:xfrm>
                <a:off x="5116513" y="981075"/>
                <a:ext cx="241300" cy="295275"/>
              </a:xfrm>
              <a:custGeom>
                <a:avLst/>
                <a:gdLst>
                  <a:gd name="T0" fmla="*/ 1872 w 2274"/>
                  <a:gd name="T1" fmla="*/ 0 h 2796"/>
                  <a:gd name="T2" fmla="*/ 1971 w 2274"/>
                  <a:gd name="T3" fmla="*/ 12 h 2796"/>
                  <a:gd name="T4" fmla="*/ 2061 w 2274"/>
                  <a:gd name="T5" fmla="*/ 47 h 2796"/>
                  <a:gd name="T6" fmla="*/ 2139 w 2274"/>
                  <a:gd name="T7" fmla="*/ 101 h 2796"/>
                  <a:gd name="T8" fmla="*/ 2202 w 2274"/>
                  <a:gd name="T9" fmla="*/ 171 h 2796"/>
                  <a:gd name="T10" fmla="*/ 2246 w 2274"/>
                  <a:gd name="T11" fmla="*/ 255 h 2796"/>
                  <a:gd name="T12" fmla="*/ 2271 w 2274"/>
                  <a:gd name="T13" fmla="*/ 349 h 2796"/>
                  <a:gd name="T14" fmla="*/ 2274 w 2274"/>
                  <a:gd name="T15" fmla="*/ 2130 h 2796"/>
                  <a:gd name="T16" fmla="*/ 2261 w 2274"/>
                  <a:gd name="T17" fmla="*/ 2229 h 2796"/>
                  <a:gd name="T18" fmla="*/ 2227 w 2274"/>
                  <a:gd name="T19" fmla="*/ 2318 h 2796"/>
                  <a:gd name="T20" fmla="*/ 2173 w 2274"/>
                  <a:gd name="T21" fmla="*/ 2396 h 2796"/>
                  <a:gd name="T22" fmla="*/ 2102 w 2274"/>
                  <a:gd name="T23" fmla="*/ 2459 h 2796"/>
                  <a:gd name="T24" fmla="*/ 2018 w 2274"/>
                  <a:gd name="T25" fmla="*/ 2503 h 2796"/>
                  <a:gd name="T26" fmla="*/ 1923 w 2274"/>
                  <a:gd name="T27" fmla="*/ 2526 h 2796"/>
                  <a:gd name="T28" fmla="*/ 1070 w 2274"/>
                  <a:gd name="T29" fmla="*/ 2529 h 2796"/>
                  <a:gd name="T30" fmla="*/ 1068 w 2274"/>
                  <a:gd name="T31" fmla="*/ 2690 h 2796"/>
                  <a:gd name="T32" fmla="*/ 1048 w 2274"/>
                  <a:gd name="T33" fmla="*/ 2738 h 2796"/>
                  <a:gd name="T34" fmla="*/ 1011 w 2274"/>
                  <a:gd name="T35" fmla="*/ 2774 h 2796"/>
                  <a:gd name="T36" fmla="*/ 964 w 2274"/>
                  <a:gd name="T37" fmla="*/ 2793 h 2796"/>
                  <a:gd name="T38" fmla="*/ 402 w 2274"/>
                  <a:gd name="T39" fmla="*/ 2796 h 2796"/>
                  <a:gd name="T40" fmla="*/ 350 w 2274"/>
                  <a:gd name="T41" fmla="*/ 2786 h 2796"/>
                  <a:gd name="T42" fmla="*/ 307 w 2274"/>
                  <a:gd name="T43" fmla="*/ 2757 h 2796"/>
                  <a:gd name="T44" fmla="*/ 279 w 2274"/>
                  <a:gd name="T45" fmla="*/ 2715 h 2796"/>
                  <a:gd name="T46" fmla="*/ 268 w 2274"/>
                  <a:gd name="T47" fmla="*/ 2663 h 2796"/>
                  <a:gd name="T48" fmla="*/ 0 w 2274"/>
                  <a:gd name="T49" fmla="*/ 2529 h 2796"/>
                  <a:gd name="T50" fmla="*/ 1872 w 2274"/>
                  <a:gd name="T51" fmla="*/ 1997 h 2796"/>
                  <a:gd name="T52" fmla="*/ 1924 w 2274"/>
                  <a:gd name="T53" fmla="*/ 1987 h 2796"/>
                  <a:gd name="T54" fmla="*/ 1967 w 2274"/>
                  <a:gd name="T55" fmla="*/ 1959 h 2796"/>
                  <a:gd name="T56" fmla="*/ 1995 w 2274"/>
                  <a:gd name="T57" fmla="*/ 1916 h 2796"/>
                  <a:gd name="T58" fmla="*/ 2006 w 2274"/>
                  <a:gd name="T59" fmla="*/ 1864 h 2796"/>
                  <a:gd name="T60" fmla="*/ 2003 w 2274"/>
                  <a:gd name="T61" fmla="*/ 372 h 2796"/>
                  <a:gd name="T62" fmla="*/ 1983 w 2274"/>
                  <a:gd name="T63" fmla="*/ 326 h 2796"/>
                  <a:gd name="T64" fmla="*/ 1946 w 2274"/>
                  <a:gd name="T65" fmla="*/ 290 h 2796"/>
                  <a:gd name="T66" fmla="*/ 1899 w 2274"/>
                  <a:gd name="T67" fmla="*/ 269 h 2796"/>
                  <a:gd name="T68" fmla="*/ 0 w 2274"/>
                  <a:gd name="T69" fmla="*/ 26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74" h="2796">
                    <a:moveTo>
                      <a:pt x="0" y="0"/>
                    </a:moveTo>
                    <a:lnTo>
                      <a:pt x="1872" y="0"/>
                    </a:lnTo>
                    <a:lnTo>
                      <a:pt x="1923" y="4"/>
                    </a:lnTo>
                    <a:lnTo>
                      <a:pt x="1971" y="12"/>
                    </a:lnTo>
                    <a:lnTo>
                      <a:pt x="2018" y="27"/>
                    </a:lnTo>
                    <a:lnTo>
                      <a:pt x="2061" y="47"/>
                    </a:lnTo>
                    <a:lnTo>
                      <a:pt x="2102" y="71"/>
                    </a:lnTo>
                    <a:lnTo>
                      <a:pt x="2139" y="101"/>
                    </a:lnTo>
                    <a:lnTo>
                      <a:pt x="2173" y="134"/>
                    </a:lnTo>
                    <a:lnTo>
                      <a:pt x="2202" y="171"/>
                    </a:lnTo>
                    <a:lnTo>
                      <a:pt x="2227" y="211"/>
                    </a:lnTo>
                    <a:lnTo>
                      <a:pt x="2246" y="255"/>
                    </a:lnTo>
                    <a:lnTo>
                      <a:pt x="2261" y="301"/>
                    </a:lnTo>
                    <a:lnTo>
                      <a:pt x="2271" y="349"/>
                    </a:lnTo>
                    <a:lnTo>
                      <a:pt x="2274" y="400"/>
                    </a:lnTo>
                    <a:lnTo>
                      <a:pt x="2274" y="2130"/>
                    </a:lnTo>
                    <a:lnTo>
                      <a:pt x="2271" y="2181"/>
                    </a:lnTo>
                    <a:lnTo>
                      <a:pt x="2261" y="2229"/>
                    </a:lnTo>
                    <a:lnTo>
                      <a:pt x="2246" y="2274"/>
                    </a:lnTo>
                    <a:lnTo>
                      <a:pt x="2227" y="2318"/>
                    </a:lnTo>
                    <a:lnTo>
                      <a:pt x="2202" y="2359"/>
                    </a:lnTo>
                    <a:lnTo>
                      <a:pt x="2173" y="2396"/>
                    </a:lnTo>
                    <a:lnTo>
                      <a:pt x="2139" y="2429"/>
                    </a:lnTo>
                    <a:lnTo>
                      <a:pt x="2102" y="2459"/>
                    </a:lnTo>
                    <a:lnTo>
                      <a:pt x="2061" y="2483"/>
                    </a:lnTo>
                    <a:lnTo>
                      <a:pt x="2018" y="2503"/>
                    </a:lnTo>
                    <a:lnTo>
                      <a:pt x="1971" y="2518"/>
                    </a:lnTo>
                    <a:lnTo>
                      <a:pt x="1923" y="2526"/>
                    </a:lnTo>
                    <a:lnTo>
                      <a:pt x="1872" y="2529"/>
                    </a:lnTo>
                    <a:lnTo>
                      <a:pt x="1070" y="2529"/>
                    </a:lnTo>
                    <a:lnTo>
                      <a:pt x="1070" y="2663"/>
                    </a:lnTo>
                    <a:lnTo>
                      <a:pt x="1068" y="2690"/>
                    </a:lnTo>
                    <a:lnTo>
                      <a:pt x="1060" y="2715"/>
                    </a:lnTo>
                    <a:lnTo>
                      <a:pt x="1048" y="2738"/>
                    </a:lnTo>
                    <a:lnTo>
                      <a:pt x="1032" y="2757"/>
                    </a:lnTo>
                    <a:lnTo>
                      <a:pt x="1011" y="2774"/>
                    </a:lnTo>
                    <a:lnTo>
                      <a:pt x="988" y="2786"/>
                    </a:lnTo>
                    <a:lnTo>
                      <a:pt x="964" y="2793"/>
                    </a:lnTo>
                    <a:lnTo>
                      <a:pt x="937" y="2796"/>
                    </a:lnTo>
                    <a:lnTo>
                      <a:pt x="402" y="2796"/>
                    </a:lnTo>
                    <a:lnTo>
                      <a:pt x="375" y="2793"/>
                    </a:lnTo>
                    <a:lnTo>
                      <a:pt x="350" y="2786"/>
                    </a:lnTo>
                    <a:lnTo>
                      <a:pt x="328" y="2773"/>
                    </a:lnTo>
                    <a:lnTo>
                      <a:pt x="307" y="2757"/>
                    </a:lnTo>
                    <a:lnTo>
                      <a:pt x="291" y="2737"/>
                    </a:lnTo>
                    <a:lnTo>
                      <a:pt x="279" y="2715"/>
                    </a:lnTo>
                    <a:lnTo>
                      <a:pt x="271" y="2689"/>
                    </a:lnTo>
                    <a:lnTo>
                      <a:pt x="268" y="2663"/>
                    </a:lnTo>
                    <a:lnTo>
                      <a:pt x="268" y="2529"/>
                    </a:lnTo>
                    <a:lnTo>
                      <a:pt x="0" y="2529"/>
                    </a:lnTo>
                    <a:lnTo>
                      <a:pt x="0" y="1997"/>
                    </a:lnTo>
                    <a:lnTo>
                      <a:pt x="1872" y="1997"/>
                    </a:lnTo>
                    <a:lnTo>
                      <a:pt x="1899" y="1995"/>
                    </a:lnTo>
                    <a:lnTo>
                      <a:pt x="1924" y="1987"/>
                    </a:lnTo>
                    <a:lnTo>
                      <a:pt x="1946" y="1975"/>
                    </a:lnTo>
                    <a:lnTo>
                      <a:pt x="1967" y="1959"/>
                    </a:lnTo>
                    <a:lnTo>
                      <a:pt x="1983" y="1939"/>
                    </a:lnTo>
                    <a:lnTo>
                      <a:pt x="1995" y="1916"/>
                    </a:lnTo>
                    <a:lnTo>
                      <a:pt x="2003" y="1891"/>
                    </a:lnTo>
                    <a:lnTo>
                      <a:pt x="2006" y="1864"/>
                    </a:lnTo>
                    <a:lnTo>
                      <a:pt x="2006" y="400"/>
                    </a:lnTo>
                    <a:lnTo>
                      <a:pt x="2003" y="372"/>
                    </a:lnTo>
                    <a:lnTo>
                      <a:pt x="1995" y="348"/>
                    </a:lnTo>
                    <a:lnTo>
                      <a:pt x="1983" y="326"/>
                    </a:lnTo>
                    <a:lnTo>
                      <a:pt x="1967" y="305"/>
                    </a:lnTo>
                    <a:lnTo>
                      <a:pt x="1946" y="290"/>
                    </a:lnTo>
                    <a:lnTo>
                      <a:pt x="1924" y="277"/>
                    </a:lnTo>
                    <a:lnTo>
                      <a:pt x="1899" y="269"/>
                    </a:lnTo>
                    <a:lnTo>
                      <a:pt x="1872" y="266"/>
                    </a:lnTo>
                    <a:lnTo>
                      <a:pt x="0" y="26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sp>
          <p:nvSpPr>
            <p:cNvPr id="100" name="Freeform 57">
              <a:extLst>
                <a:ext uri="{FF2B5EF4-FFF2-40B4-BE49-F238E27FC236}">
                  <a16:creationId xmlns:a16="http://schemas.microsoft.com/office/drawing/2014/main" xmlns="" id="{5692A9EB-7D34-44AA-8400-9E79EEA00CDF}"/>
                </a:ext>
              </a:extLst>
            </p:cNvPr>
            <p:cNvSpPr>
              <a:spLocks noEditPoints="1"/>
            </p:cNvSpPr>
            <p:nvPr/>
          </p:nvSpPr>
          <p:spPr bwMode="auto">
            <a:xfrm>
              <a:off x="11484565" y="1455611"/>
              <a:ext cx="372147" cy="279507"/>
            </a:xfrm>
            <a:custGeom>
              <a:avLst/>
              <a:gdLst>
                <a:gd name="T0" fmla="*/ 743 w 3494"/>
                <a:gd name="T1" fmla="*/ 1650 h 2629"/>
                <a:gd name="T2" fmla="*/ 971 w 3494"/>
                <a:gd name="T3" fmla="*/ 1836 h 2629"/>
                <a:gd name="T4" fmla="*/ 1182 w 3494"/>
                <a:gd name="T5" fmla="*/ 2022 h 2629"/>
                <a:gd name="T6" fmla="*/ 1365 w 3494"/>
                <a:gd name="T7" fmla="*/ 2216 h 2629"/>
                <a:gd name="T8" fmla="*/ 1348 w 3494"/>
                <a:gd name="T9" fmla="*/ 2559 h 2629"/>
                <a:gd name="T10" fmla="*/ 1029 w 3494"/>
                <a:gd name="T11" fmla="*/ 2578 h 2629"/>
                <a:gd name="T12" fmla="*/ 1020 w 3494"/>
                <a:gd name="T13" fmla="*/ 2338 h 2629"/>
                <a:gd name="T14" fmla="*/ 773 w 3494"/>
                <a:gd name="T15" fmla="*/ 2290 h 2629"/>
                <a:gd name="T16" fmla="*/ 741 w 3494"/>
                <a:gd name="T17" fmla="*/ 2108 h 2629"/>
                <a:gd name="T18" fmla="*/ 532 w 3494"/>
                <a:gd name="T19" fmla="*/ 2002 h 2629"/>
                <a:gd name="T20" fmla="*/ 489 w 3494"/>
                <a:gd name="T21" fmla="*/ 1870 h 2629"/>
                <a:gd name="T22" fmla="*/ 302 w 3494"/>
                <a:gd name="T23" fmla="*/ 1688 h 2629"/>
                <a:gd name="T24" fmla="*/ 553 w 3494"/>
                <a:gd name="T25" fmla="*/ 1426 h 2629"/>
                <a:gd name="T26" fmla="*/ 1615 w 3494"/>
                <a:gd name="T27" fmla="*/ 129 h 2629"/>
                <a:gd name="T28" fmla="*/ 1466 w 3494"/>
                <a:gd name="T29" fmla="*/ 237 h 2629"/>
                <a:gd name="T30" fmla="*/ 1101 w 3494"/>
                <a:gd name="T31" fmla="*/ 479 h 2629"/>
                <a:gd name="T32" fmla="*/ 1105 w 3494"/>
                <a:gd name="T33" fmla="*/ 987 h 2629"/>
                <a:gd name="T34" fmla="*/ 1486 w 3494"/>
                <a:gd name="T35" fmla="*/ 1057 h 2629"/>
                <a:gd name="T36" fmla="*/ 1975 w 3494"/>
                <a:gd name="T37" fmla="*/ 860 h 2629"/>
                <a:gd name="T38" fmla="*/ 2169 w 3494"/>
                <a:gd name="T39" fmla="*/ 995 h 2629"/>
                <a:gd name="T40" fmla="*/ 2300 w 3494"/>
                <a:gd name="T41" fmla="*/ 1131 h 2629"/>
                <a:gd name="T42" fmla="*/ 2429 w 3494"/>
                <a:gd name="T43" fmla="*/ 1267 h 2629"/>
                <a:gd name="T44" fmla="*/ 2770 w 3494"/>
                <a:gd name="T45" fmla="*/ 1620 h 2629"/>
                <a:gd name="T46" fmla="*/ 2701 w 3494"/>
                <a:gd name="T47" fmla="*/ 1887 h 2629"/>
                <a:gd name="T48" fmla="*/ 2426 w 3494"/>
                <a:gd name="T49" fmla="*/ 1715 h 2629"/>
                <a:gd name="T50" fmla="*/ 2290 w 3494"/>
                <a:gd name="T51" fmla="*/ 1591 h 2629"/>
                <a:gd name="T52" fmla="*/ 2282 w 3494"/>
                <a:gd name="T53" fmla="*/ 1629 h 2629"/>
                <a:gd name="T54" fmla="*/ 2513 w 3494"/>
                <a:gd name="T55" fmla="*/ 1888 h 2629"/>
                <a:gd name="T56" fmla="*/ 2488 w 3494"/>
                <a:gd name="T57" fmla="*/ 2129 h 2629"/>
                <a:gd name="T58" fmla="*/ 2209 w 3494"/>
                <a:gd name="T59" fmla="*/ 2026 h 2629"/>
                <a:gd name="T60" fmla="*/ 1974 w 3494"/>
                <a:gd name="T61" fmla="*/ 1815 h 2629"/>
                <a:gd name="T62" fmla="*/ 2093 w 3494"/>
                <a:gd name="T63" fmla="*/ 1981 h 2629"/>
                <a:gd name="T64" fmla="*/ 2254 w 3494"/>
                <a:gd name="T65" fmla="*/ 2230 h 2629"/>
                <a:gd name="T66" fmla="*/ 2015 w 3494"/>
                <a:gd name="T67" fmla="*/ 2348 h 2629"/>
                <a:gd name="T68" fmla="*/ 1782 w 3494"/>
                <a:gd name="T69" fmla="*/ 2105 h 2629"/>
                <a:gd name="T70" fmla="*/ 1693 w 3494"/>
                <a:gd name="T71" fmla="*/ 2054 h 2629"/>
                <a:gd name="T72" fmla="*/ 1802 w 3494"/>
                <a:gd name="T73" fmla="*/ 2200 h 2629"/>
                <a:gd name="T74" fmla="*/ 1937 w 3494"/>
                <a:gd name="T75" fmla="*/ 2453 h 2629"/>
                <a:gd name="T76" fmla="*/ 1681 w 3494"/>
                <a:gd name="T77" fmla="*/ 2526 h 2629"/>
                <a:gd name="T78" fmla="*/ 1603 w 3494"/>
                <a:gd name="T79" fmla="*/ 2393 h 2629"/>
                <a:gd name="T80" fmla="*/ 1357 w 3494"/>
                <a:gd name="T81" fmla="*/ 2024 h 2629"/>
                <a:gd name="T82" fmla="*/ 1070 w 3494"/>
                <a:gd name="T83" fmla="*/ 1645 h 2629"/>
                <a:gd name="T84" fmla="*/ 716 w 3494"/>
                <a:gd name="T85" fmla="*/ 1292 h 2629"/>
                <a:gd name="T86" fmla="*/ 261 w 3494"/>
                <a:gd name="T87" fmla="*/ 1398 h 2629"/>
                <a:gd name="T88" fmla="*/ 11 w 3494"/>
                <a:gd name="T89" fmla="*/ 1465 h 2629"/>
                <a:gd name="T90" fmla="*/ 603 w 3494"/>
                <a:gd name="T91" fmla="*/ 344 h 2629"/>
                <a:gd name="T92" fmla="*/ 753 w 3494"/>
                <a:gd name="T93" fmla="*/ 257 h 2629"/>
                <a:gd name="T94" fmla="*/ 1158 w 3494"/>
                <a:gd name="T95" fmla="*/ 49 h 2629"/>
                <a:gd name="T96" fmla="*/ 2385 w 3494"/>
                <a:gd name="T97" fmla="*/ 56 h 2629"/>
                <a:gd name="T98" fmla="*/ 2755 w 3494"/>
                <a:gd name="T99" fmla="*/ 377 h 2629"/>
                <a:gd name="T100" fmla="*/ 2888 w 3494"/>
                <a:gd name="T101" fmla="*/ 448 h 2629"/>
                <a:gd name="T102" fmla="*/ 3233 w 3494"/>
                <a:gd name="T103" fmla="*/ 390 h 2629"/>
                <a:gd name="T104" fmla="*/ 3494 w 3494"/>
                <a:gd name="T105" fmla="*/ 1427 h 2629"/>
                <a:gd name="T106" fmla="*/ 3252 w 3494"/>
                <a:gd name="T107" fmla="*/ 1474 h 2629"/>
                <a:gd name="T108" fmla="*/ 2978 w 3494"/>
                <a:gd name="T109" fmla="*/ 1470 h 2629"/>
                <a:gd name="T110" fmla="*/ 2646 w 3494"/>
                <a:gd name="T111" fmla="*/ 1146 h 2629"/>
                <a:gd name="T112" fmla="*/ 2267 w 3494"/>
                <a:gd name="T113" fmla="*/ 756 h 2629"/>
                <a:gd name="T114" fmla="*/ 2142 w 3494"/>
                <a:gd name="T115" fmla="*/ 639 h 2629"/>
                <a:gd name="T116" fmla="*/ 1799 w 3494"/>
                <a:gd name="T117" fmla="*/ 717 h 2629"/>
                <a:gd name="T118" fmla="*/ 1378 w 3494"/>
                <a:gd name="T119" fmla="*/ 932 h 2629"/>
                <a:gd name="T120" fmla="*/ 1156 w 3494"/>
                <a:gd name="T121" fmla="*/ 660 h 2629"/>
                <a:gd name="T122" fmla="*/ 1564 w 3494"/>
                <a:gd name="T123" fmla="*/ 355 h 2629"/>
                <a:gd name="T124" fmla="*/ 2132 w 3494"/>
                <a:gd name="T125" fmla="*/ 28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94" h="2629">
                  <a:moveTo>
                    <a:pt x="553" y="1426"/>
                  </a:moveTo>
                  <a:lnTo>
                    <a:pt x="585" y="1427"/>
                  </a:lnTo>
                  <a:lnTo>
                    <a:pt x="616" y="1434"/>
                  </a:lnTo>
                  <a:lnTo>
                    <a:pt x="645" y="1446"/>
                  </a:lnTo>
                  <a:lnTo>
                    <a:pt x="672" y="1463"/>
                  </a:lnTo>
                  <a:lnTo>
                    <a:pt x="697" y="1484"/>
                  </a:lnTo>
                  <a:lnTo>
                    <a:pt x="715" y="1508"/>
                  </a:lnTo>
                  <a:lnTo>
                    <a:pt x="729" y="1534"/>
                  </a:lnTo>
                  <a:lnTo>
                    <a:pt x="738" y="1561"/>
                  </a:lnTo>
                  <a:lnTo>
                    <a:pt x="745" y="1590"/>
                  </a:lnTo>
                  <a:lnTo>
                    <a:pt x="746" y="1620"/>
                  </a:lnTo>
                  <a:lnTo>
                    <a:pt x="743" y="1650"/>
                  </a:lnTo>
                  <a:lnTo>
                    <a:pt x="737" y="1680"/>
                  </a:lnTo>
                  <a:lnTo>
                    <a:pt x="766" y="1676"/>
                  </a:lnTo>
                  <a:lnTo>
                    <a:pt x="795" y="1673"/>
                  </a:lnTo>
                  <a:lnTo>
                    <a:pt x="823" y="1677"/>
                  </a:lnTo>
                  <a:lnTo>
                    <a:pt x="851" y="1683"/>
                  </a:lnTo>
                  <a:lnTo>
                    <a:pt x="876" y="1694"/>
                  </a:lnTo>
                  <a:lnTo>
                    <a:pt x="901" y="1710"/>
                  </a:lnTo>
                  <a:lnTo>
                    <a:pt x="923" y="1729"/>
                  </a:lnTo>
                  <a:lnTo>
                    <a:pt x="941" y="1753"/>
                  </a:lnTo>
                  <a:lnTo>
                    <a:pt x="956" y="1779"/>
                  </a:lnTo>
                  <a:lnTo>
                    <a:pt x="966" y="1807"/>
                  </a:lnTo>
                  <a:lnTo>
                    <a:pt x="971" y="1836"/>
                  </a:lnTo>
                  <a:lnTo>
                    <a:pt x="972" y="1864"/>
                  </a:lnTo>
                  <a:lnTo>
                    <a:pt x="970" y="1895"/>
                  </a:lnTo>
                  <a:lnTo>
                    <a:pt x="964" y="1925"/>
                  </a:lnTo>
                  <a:lnTo>
                    <a:pt x="992" y="1920"/>
                  </a:lnTo>
                  <a:lnTo>
                    <a:pt x="1021" y="1919"/>
                  </a:lnTo>
                  <a:lnTo>
                    <a:pt x="1050" y="1921"/>
                  </a:lnTo>
                  <a:lnTo>
                    <a:pt x="1077" y="1928"/>
                  </a:lnTo>
                  <a:lnTo>
                    <a:pt x="1104" y="1939"/>
                  </a:lnTo>
                  <a:lnTo>
                    <a:pt x="1127" y="1954"/>
                  </a:lnTo>
                  <a:lnTo>
                    <a:pt x="1150" y="1974"/>
                  </a:lnTo>
                  <a:lnTo>
                    <a:pt x="1168" y="1997"/>
                  </a:lnTo>
                  <a:lnTo>
                    <a:pt x="1182" y="2022"/>
                  </a:lnTo>
                  <a:lnTo>
                    <a:pt x="1192" y="2048"/>
                  </a:lnTo>
                  <a:lnTo>
                    <a:pt x="1199" y="2076"/>
                  </a:lnTo>
                  <a:lnTo>
                    <a:pt x="1201" y="2105"/>
                  </a:lnTo>
                  <a:lnTo>
                    <a:pt x="1199" y="2133"/>
                  </a:lnTo>
                  <a:lnTo>
                    <a:pt x="1194" y="2162"/>
                  </a:lnTo>
                  <a:lnTo>
                    <a:pt x="1185" y="2191"/>
                  </a:lnTo>
                  <a:lnTo>
                    <a:pt x="1217" y="2183"/>
                  </a:lnTo>
                  <a:lnTo>
                    <a:pt x="1248" y="2180"/>
                  </a:lnTo>
                  <a:lnTo>
                    <a:pt x="1278" y="2181"/>
                  </a:lnTo>
                  <a:lnTo>
                    <a:pt x="1309" y="2188"/>
                  </a:lnTo>
                  <a:lnTo>
                    <a:pt x="1338" y="2200"/>
                  </a:lnTo>
                  <a:lnTo>
                    <a:pt x="1365" y="2216"/>
                  </a:lnTo>
                  <a:lnTo>
                    <a:pt x="1388" y="2237"/>
                  </a:lnTo>
                  <a:lnTo>
                    <a:pt x="1408" y="2262"/>
                  </a:lnTo>
                  <a:lnTo>
                    <a:pt x="1424" y="2291"/>
                  </a:lnTo>
                  <a:lnTo>
                    <a:pt x="1434" y="2322"/>
                  </a:lnTo>
                  <a:lnTo>
                    <a:pt x="1439" y="2354"/>
                  </a:lnTo>
                  <a:lnTo>
                    <a:pt x="1440" y="2387"/>
                  </a:lnTo>
                  <a:lnTo>
                    <a:pt x="1435" y="2419"/>
                  </a:lnTo>
                  <a:lnTo>
                    <a:pt x="1426" y="2452"/>
                  </a:lnTo>
                  <a:lnTo>
                    <a:pt x="1411" y="2483"/>
                  </a:lnTo>
                  <a:lnTo>
                    <a:pt x="1393" y="2513"/>
                  </a:lnTo>
                  <a:lnTo>
                    <a:pt x="1369" y="2541"/>
                  </a:lnTo>
                  <a:lnTo>
                    <a:pt x="1348" y="2559"/>
                  </a:lnTo>
                  <a:lnTo>
                    <a:pt x="1323" y="2577"/>
                  </a:lnTo>
                  <a:lnTo>
                    <a:pt x="1297" y="2592"/>
                  </a:lnTo>
                  <a:lnTo>
                    <a:pt x="1269" y="2605"/>
                  </a:lnTo>
                  <a:lnTo>
                    <a:pt x="1240" y="2616"/>
                  </a:lnTo>
                  <a:lnTo>
                    <a:pt x="1210" y="2623"/>
                  </a:lnTo>
                  <a:lnTo>
                    <a:pt x="1181" y="2627"/>
                  </a:lnTo>
                  <a:lnTo>
                    <a:pt x="1151" y="2629"/>
                  </a:lnTo>
                  <a:lnTo>
                    <a:pt x="1122" y="2626"/>
                  </a:lnTo>
                  <a:lnTo>
                    <a:pt x="1096" y="2621"/>
                  </a:lnTo>
                  <a:lnTo>
                    <a:pt x="1070" y="2610"/>
                  </a:lnTo>
                  <a:lnTo>
                    <a:pt x="1048" y="2596"/>
                  </a:lnTo>
                  <a:lnTo>
                    <a:pt x="1029" y="2578"/>
                  </a:lnTo>
                  <a:lnTo>
                    <a:pt x="1010" y="2554"/>
                  </a:lnTo>
                  <a:lnTo>
                    <a:pt x="999" y="2529"/>
                  </a:lnTo>
                  <a:lnTo>
                    <a:pt x="992" y="2506"/>
                  </a:lnTo>
                  <a:lnTo>
                    <a:pt x="990" y="2482"/>
                  </a:lnTo>
                  <a:lnTo>
                    <a:pt x="992" y="2460"/>
                  </a:lnTo>
                  <a:lnTo>
                    <a:pt x="998" y="2437"/>
                  </a:lnTo>
                  <a:lnTo>
                    <a:pt x="1004" y="2416"/>
                  </a:lnTo>
                  <a:lnTo>
                    <a:pt x="1013" y="2395"/>
                  </a:lnTo>
                  <a:lnTo>
                    <a:pt x="1022" y="2373"/>
                  </a:lnTo>
                  <a:lnTo>
                    <a:pt x="1031" y="2352"/>
                  </a:lnTo>
                  <a:lnTo>
                    <a:pt x="1039" y="2332"/>
                  </a:lnTo>
                  <a:lnTo>
                    <a:pt x="1020" y="2338"/>
                  </a:lnTo>
                  <a:lnTo>
                    <a:pt x="1000" y="2345"/>
                  </a:lnTo>
                  <a:lnTo>
                    <a:pt x="980" y="2351"/>
                  </a:lnTo>
                  <a:lnTo>
                    <a:pt x="957" y="2356"/>
                  </a:lnTo>
                  <a:lnTo>
                    <a:pt x="935" y="2362"/>
                  </a:lnTo>
                  <a:lnTo>
                    <a:pt x="913" y="2364"/>
                  </a:lnTo>
                  <a:lnTo>
                    <a:pt x="890" y="2365"/>
                  </a:lnTo>
                  <a:lnTo>
                    <a:pt x="868" y="2363"/>
                  </a:lnTo>
                  <a:lnTo>
                    <a:pt x="847" y="2357"/>
                  </a:lnTo>
                  <a:lnTo>
                    <a:pt x="826" y="2348"/>
                  </a:lnTo>
                  <a:lnTo>
                    <a:pt x="807" y="2334"/>
                  </a:lnTo>
                  <a:lnTo>
                    <a:pt x="790" y="2316"/>
                  </a:lnTo>
                  <a:lnTo>
                    <a:pt x="773" y="2290"/>
                  </a:lnTo>
                  <a:lnTo>
                    <a:pt x="764" y="2267"/>
                  </a:lnTo>
                  <a:lnTo>
                    <a:pt x="758" y="2243"/>
                  </a:lnTo>
                  <a:lnTo>
                    <a:pt x="758" y="2220"/>
                  </a:lnTo>
                  <a:lnTo>
                    <a:pt x="762" y="2197"/>
                  </a:lnTo>
                  <a:lnTo>
                    <a:pt x="767" y="2176"/>
                  </a:lnTo>
                  <a:lnTo>
                    <a:pt x="774" y="2154"/>
                  </a:lnTo>
                  <a:lnTo>
                    <a:pt x="782" y="2132"/>
                  </a:lnTo>
                  <a:lnTo>
                    <a:pt x="789" y="2112"/>
                  </a:lnTo>
                  <a:lnTo>
                    <a:pt x="797" y="2091"/>
                  </a:lnTo>
                  <a:lnTo>
                    <a:pt x="779" y="2096"/>
                  </a:lnTo>
                  <a:lnTo>
                    <a:pt x="761" y="2101"/>
                  </a:lnTo>
                  <a:lnTo>
                    <a:pt x="741" y="2108"/>
                  </a:lnTo>
                  <a:lnTo>
                    <a:pt x="721" y="2113"/>
                  </a:lnTo>
                  <a:lnTo>
                    <a:pt x="701" y="2117"/>
                  </a:lnTo>
                  <a:lnTo>
                    <a:pt x="681" y="2122"/>
                  </a:lnTo>
                  <a:lnTo>
                    <a:pt x="661" y="2122"/>
                  </a:lnTo>
                  <a:lnTo>
                    <a:pt x="639" y="2121"/>
                  </a:lnTo>
                  <a:lnTo>
                    <a:pt x="620" y="2115"/>
                  </a:lnTo>
                  <a:lnTo>
                    <a:pt x="600" y="2106"/>
                  </a:lnTo>
                  <a:lnTo>
                    <a:pt x="582" y="2091"/>
                  </a:lnTo>
                  <a:lnTo>
                    <a:pt x="564" y="2071"/>
                  </a:lnTo>
                  <a:lnTo>
                    <a:pt x="548" y="2047"/>
                  </a:lnTo>
                  <a:lnTo>
                    <a:pt x="537" y="2023"/>
                  </a:lnTo>
                  <a:lnTo>
                    <a:pt x="532" y="2002"/>
                  </a:lnTo>
                  <a:lnTo>
                    <a:pt x="531" y="1981"/>
                  </a:lnTo>
                  <a:lnTo>
                    <a:pt x="532" y="1960"/>
                  </a:lnTo>
                  <a:lnTo>
                    <a:pt x="536" y="1940"/>
                  </a:lnTo>
                  <a:lnTo>
                    <a:pt x="542" y="1921"/>
                  </a:lnTo>
                  <a:lnTo>
                    <a:pt x="549" y="1903"/>
                  </a:lnTo>
                  <a:lnTo>
                    <a:pt x="556" y="1884"/>
                  </a:lnTo>
                  <a:lnTo>
                    <a:pt x="564" y="1864"/>
                  </a:lnTo>
                  <a:lnTo>
                    <a:pt x="570" y="1846"/>
                  </a:lnTo>
                  <a:lnTo>
                    <a:pt x="551" y="1852"/>
                  </a:lnTo>
                  <a:lnTo>
                    <a:pt x="531" y="1858"/>
                  </a:lnTo>
                  <a:lnTo>
                    <a:pt x="511" y="1864"/>
                  </a:lnTo>
                  <a:lnTo>
                    <a:pt x="489" y="1870"/>
                  </a:lnTo>
                  <a:lnTo>
                    <a:pt x="468" y="1875"/>
                  </a:lnTo>
                  <a:lnTo>
                    <a:pt x="446" y="1877"/>
                  </a:lnTo>
                  <a:lnTo>
                    <a:pt x="424" y="1876"/>
                  </a:lnTo>
                  <a:lnTo>
                    <a:pt x="402" y="1872"/>
                  </a:lnTo>
                  <a:lnTo>
                    <a:pt x="380" y="1862"/>
                  </a:lnTo>
                  <a:lnTo>
                    <a:pt x="358" y="1847"/>
                  </a:lnTo>
                  <a:lnTo>
                    <a:pt x="337" y="1826"/>
                  </a:lnTo>
                  <a:lnTo>
                    <a:pt x="320" y="1801"/>
                  </a:lnTo>
                  <a:lnTo>
                    <a:pt x="310" y="1776"/>
                  </a:lnTo>
                  <a:lnTo>
                    <a:pt x="303" y="1747"/>
                  </a:lnTo>
                  <a:lnTo>
                    <a:pt x="301" y="1718"/>
                  </a:lnTo>
                  <a:lnTo>
                    <a:pt x="302" y="1688"/>
                  </a:lnTo>
                  <a:lnTo>
                    <a:pt x="308" y="1657"/>
                  </a:lnTo>
                  <a:lnTo>
                    <a:pt x="317" y="1626"/>
                  </a:lnTo>
                  <a:lnTo>
                    <a:pt x="330" y="1597"/>
                  </a:lnTo>
                  <a:lnTo>
                    <a:pt x="345" y="1568"/>
                  </a:lnTo>
                  <a:lnTo>
                    <a:pt x="362" y="1541"/>
                  </a:lnTo>
                  <a:lnTo>
                    <a:pt x="381" y="1515"/>
                  </a:lnTo>
                  <a:lnTo>
                    <a:pt x="402" y="1493"/>
                  </a:lnTo>
                  <a:lnTo>
                    <a:pt x="429" y="1470"/>
                  </a:lnTo>
                  <a:lnTo>
                    <a:pt x="458" y="1451"/>
                  </a:lnTo>
                  <a:lnTo>
                    <a:pt x="489" y="1438"/>
                  </a:lnTo>
                  <a:lnTo>
                    <a:pt x="521" y="1429"/>
                  </a:lnTo>
                  <a:lnTo>
                    <a:pt x="553" y="1426"/>
                  </a:lnTo>
                  <a:close/>
                  <a:moveTo>
                    <a:pt x="1317" y="15"/>
                  </a:moveTo>
                  <a:lnTo>
                    <a:pt x="1360" y="17"/>
                  </a:lnTo>
                  <a:lnTo>
                    <a:pt x="1401" y="22"/>
                  </a:lnTo>
                  <a:lnTo>
                    <a:pt x="1438" y="31"/>
                  </a:lnTo>
                  <a:lnTo>
                    <a:pt x="1472" y="41"/>
                  </a:lnTo>
                  <a:lnTo>
                    <a:pt x="1502" y="53"/>
                  </a:lnTo>
                  <a:lnTo>
                    <a:pt x="1528" y="66"/>
                  </a:lnTo>
                  <a:lnTo>
                    <a:pt x="1552" y="80"/>
                  </a:lnTo>
                  <a:lnTo>
                    <a:pt x="1572" y="94"/>
                  </a:lnTo>
                  <a:lnTo>
                    <a:pt x="1590" y="107"/>
                  </a:lnTo>
                  <a:lnTo>
                    <a:pt x="1604" y="118"/>
                  </a:lnTo>
                  <a:lnTo>
                    <a:pt x="1615" y="129"/>
                  </a:lnTo>
                  <a:lnTo>
                    <a:pt x="1622" y="137"/>
                  </a:lnTo>
                  <a:lnTo>
                    <a:pt x="1626" y="142"/>
                  </a:lnTo>
                  <a:lnTo>
                    <a:pt x="1627" y="144"/>
                  </a:lnTo>
                  <a:lnTo>
                    <a:pt x="1625" y="146"/>
                  </a:lnTo>
                  <a:lnTo>
                    <a:pt x="1618" y="149"/>
                  </a:lnTo>
                  <a:lnTo>
                    <a:pt x="1606" y="157"/>
                  </a:lnTo>
                  <a:lnTo>
                    <a:pt x="1590" y="165"/>
                  </a:lnTo>
                  <a:lnTo>
                    <a:pt x="1570" y="176"/>
                  </a:lnTo>
                  <a:lnTo>
                    <a:pt x="1548" y="189"/>
                  </a:lnTo>
                  <a:lnTo>
                    <a:pt x="1522" y="204"/>
                  </a:lnTo>
                  <a:lnTo>
                    <a:pt x="1494" y="220"/>
                  </a:lnTo>
                  <a:lnTo>
                    <a:pt x="1466" y="237"/>
                  </a:lnTo>
                  <a:lnTo>
                    <a:pt x="1435" y="255"/>
                  </a:lnTo>
                  <a:lnTo>
                    <a:pt x="1403" y="273"/>
                  </a:lnTo>
                  <a:lnTo>
                    <a:pt x="1371" y="292"/>
                  </a:lnTo>
                  <a:lnTo>
                    <a:pt x="1338" y="312"/>
                  </a:lnTo>
                  <a:lnTo>
                    <a:pt x="1306" y="332"/>
                  </a:lnTo>
                  <a:lnTo>
                    <a:pt x="1275" y="351"/>
                  </a:lnTo>
                  <a:lnTo>
                    <a:pt x="1246" y="370"/>
                  </a:lnTo>
                  <a:lnTo>
                    <a:pt x="1218" y="388"/>
                  </a:lnTo>
                  <a:lnTo>
                    <a:pt x="1191" y="406"/>
                  </a:lnTo>
                  <a:lnTo>
                    <a:pt x="1168" y="423"/>
                  </a:lnTo>
                  <a:lnTo>
                    <a:pt x="1133" y="448"/>
                  </a:lnTo>
                  <a:lnTo>
                    <a:pt x="1101" y="479"/>
                  </a:lnTo>
                  <a:lnTo>
                    <a:pt x="1072" y="513"/>
                  </a:lnTo>
                  <a:lnTo>
                    <a:pt x="1048" y="552"/>
                  </a:lnTo>
                  <a:lnTo>
                    <a:pt x="1029" y="592"/>
                  </a:lnTo>
                  <a:lnTo>
                    <a:pt x="1015" y="636"/>
                  </a:lnTo>
                  <a:lnTo>
                    <a:pt x="1005" y="682"/>
                  </a:lnTo>
                  <a:lnTo>
                    <a:pt x="1003" y="730"/>
                  </a:lnTo>
                  <a:lnTo>
                    <a:pt x="1006" y="779"/>
                  </a:lnTo>
                  <a:lnTo>
                    <a:pt x="1015" y="827"/>
                  </a:lnTo>
                  <a:lnTo>
                    <a:pt x="1030" y="872"/>
                  </a:lnTo>
                  <a:lnTo>
                    <a:pt x="1050" y="914"/>
                  </a:lnTo>
                  <a:lnTo>
                    <a:pt x="1075" y="952"/>
                  </a:lnTo>
                  <a:lnTo>
                    <a:pt x="1105" y="987"/>
                  </a:lnTo>
                  <a:lnTo>
                    <a:pt x="1138" y="1018"/>
                  </a:lnTo>
                  <a:lnTo>
                    <a:pt x="1175" y="1044"/>
                  </a:lnTo>
                  <a:lnTo>
                    <a:pt x="1216" y="1065"/>
                  </a:lnTo>
                  <a:lnTo>
                    <a:pt x="1259" y="1080"/>
                  </a:lnTo>
                  <a:lnTo>
                    <a:pt x="1305" y="1090"/>
                  </a:lnTo>
                  <a:lnTo>
                    <a:pt x="1352" y="1094"/>
                  </a:lnTo>
                  <a:lnTo>
                    <a:pt x="1363" y="1093"/>
                  </a:lnTo>
                  <a:lnTo>
                    <a:pt x="1377" y="1090"/>
                  </a:lnTo>
                  <a:lnTo>
                    <a:pt x="1399" y="1085"/>
                  </a:lnTo>
                  <a:lnTo>
                    <a:pt x="1424" y="1078"/>
                  </a:lnTo>
                  <a:lnTo>
                    <a:pt x="1453" y="1068"/>
                  </a:lnTo>
                  <a:lnTo>
                    <a:pt x="1486" y="1057"/>
                  </a:lnTo>
                  <a:lnTo>
                    <a:pt x="1521" y="1041"/>
                  </a:lnTo>
                  <a:lnTo>
                    <a:pt x="1557" y="1022"/>
                  </a:lnTo>
                  <a:lnTo>
                    <a:pt x="1605" y="999"/>
                  </a:lnTo>
                  <a:lnTo>
                    <a:pt x="1656" y="974"/>
                  </a:lnTo>
                  <a:lnTo>
                    <a:pt x="1709" y="949"/>
                  </a:lnTo>
                  <a:lnTo>
                    <a:pt x="1762" y="924"/>
                  </a:lnTo>
                  <a:lnTo>
                    <a:pt x="1815" y="900"/>
                  </a:lnTo>
                  <a:lnTo>
                    <a:pt x="1863" y="877"/>
                  </a:lnTo>
                  <a:lnTo>
                    <a:pt x="1893" y="866"/>
                  </a:lnTo>
                  <a:lnTo>
                    <a:pt x="1922" y="859"/>
                  </a:lnTo>
                  <a:lnTo>
                    <a:pt x="1950" y="858"/>
                  </a:lnTo>
                  <a:lnTo>
                    <a:pt x="1975" y="860"/>
                  </a:lnTo>
                  <a:lnTo>
                    <a:pt x="1999" y="864"/>
                  </a:lnTo>
                  <a:lnTo>
                    <a:pt x="2021" y="872"/>
                  </a:lnTo>
                  <a:lnTo>
                    <a:pt x="2040" y="880"/>
                  </a:lnTo>
                  <a:lnTo>
                    <a:pt x="2057" y="890"/>
                  </a:lnTo>
                  <a:lnTo>
                    <a:pt x="2071" y="899"/>
                  </a:lnTo>
                  <a:lnTo>
                    <a:pt x="2083" y="907"/>
                  </a:lnTo>
                  <a:lnTo>
                    <a:pt x="2091" y="915"/>
                  </a:lnTo>
                  <a:lnTo>
                    <a:pt x="2096" y="919"/>
                  </a:lnTo>
                  <a:lnTo>
                    <a:pt x="2099" y="921"/>
                  </a:lnTo>
                  <a:lnTo>
                    <a:pt x="2124" y="948"/>
                  </a:lnTo>
                  <a:lnTo>
                    <a:pt x="2147" y="972"/>
                  </a:lnTo>
                  <a:lnTo>
                    <a:pt x="2169" y="995"/>
                  </a:lnTo>
                  <a:lnTo>
                    <a:pt x="2187" y="1014"/>
                  </a:lnTo>
                  <a:lnTo>
                    <a:pt x="2204" y="1031"/>
                  </a:lnTo>
                  <a:lnTo>
                    <a:pt x="2219" y="1047"/>
                  </a:lnTo>
                  <a:lnTo>
                    <a:pt x="2232" y="1061"/>
                  </a:lnTo>
                  <a:lnTo>
                    <a:pt x="2243" y="1073"/>
                  </a:lnTo>
                  <a:lnTo>
                    <a:pt x="2254" y="1084"/>
                  </a:lnTo>
                  <a:lnTo>
                    <a:pt x="2263" y="1094"/>
                  </a:lnTo>
                  <a:lnTo>
                    <a:pt x="2272" y="1102"/>
                  </a:lnTo>
                  <a:lnTo>
                    <a:pt x="2279" y="1110"/>
                  </a:lnTo>
                  <a:lnTo>
                    <a:pt x="2287" y="1117"/>
                  </a:lnTo>
                  <a:lnTo>
                    <a:pt x="2293" y="1125"/>
                  </a:lnTo>
                  <a:lnTo>
                    <a:pt x="2300" y="1131"/>
                  </a:lnTo>
                  <a:lnTo>
                    <a:pt x="2306" y="1139"/>
                  </a:lnTo>
                  <a:lnTo>
                    <a:pt x="2313" y="1145"/>
                  </a:lnTo>
                  <a:lnTo>
                    <a:pt x="2320" y="1153"/>
                  </a:lnTo>
                  <a:lnTo>
                    <a:pt x="2327" y="1160"/>
                  </a:lnTo>
                  <a:lnTo>
                    <a:pt x="2336" y="1170"/>
                  </a:lnTo>
                  <a:lnTo>
                    <a:pt x="2345" y="1179"/>
                  </a:lnTo>
                  <a:lnTo>
                    <a:pt x="2355" y="1190"/>
                  </a:lnTo>
                  <a:lnTo>
                    <a:pt x="2367" y="1202"/>
                  </a:lnTo>
                  <a:lnTo>
                    <a:pt x="2379" y="1216"/>
                  </a:lnTo>
                  <a:lnTo>
                    <a:pt x="2394" y="1230"/>
                  </a:lnTo>
                  <a:lnTo>
                    <a:pt x="2411" y="1248"/>
                  </a:lnTo>
                  <a:lnTo>
                    <a:pt x="2429" y="1267"/>
                  </a:lnTo>
                  <a:lnTo>
                    <a:pt x="2450" y="1288"/>
                  </a:lnTo>
                  <a:lnTo>
                    <a:pt x="2473" y="1312"/>
                  </a:lnTo>
                  <a:lnTo>
                    <a:pt x="2498" y="1338"/>
                  </a:lnTo>
                  <a:lnTo>
                    <a:pt x="2527" y="1368"/>
                  </a:lnTo>
                  <a:lnTo>
                    <a:pt x="2558" y="1400"/>
                  </a:lnTo>
                  <a:lnTo>
                    <a:pt x="2592" y="1436"/>
                  </a:lnTo>
                  <a:lnTo>
                    <a:pt x="2630" y="1476"/>
                  </a:lnTo>
                  <a:lnTo>
                    <a:pt x="2671" y="1519"/>
                  </a:lnTo>
                  <a:lnTo>
                    <a:pt x="2715" y="1565"/>
                  </a:lnTo>
                  <a:lnTo>
                    <a:pt x="2764" y="1616"/>
                  </a:lnTo>
                  <a:lnTo>
                    <a:pt x="2768" y="1618"/>
                  </a:lnTo>
                  <a:lnTo>
                    <a:pt x="2770" y="1620"/>
                  </a:lnTo>
                  <a:lnTo>
                    <a:pt x="2788" y="1642"/>
                  </a:lnTo>
                  <a:lnTo>
                    <a:pt x="2801" y="1666"/>
                  </a:lnTo>
                  <a:lnTo>
                    <a:pt x="2810" y="1693"/>
                  </a:lnTo>
                  <a:lnTo>
                    <a:pt x="2814" y="1719"/>
                  </a:lnTo>
                  <a:lnTo>
                    <a:pt x="2814" y="1747"/>
                  </a:lnTo>
                  <a:lnTo>
                    <a:pt x="2809" y="1774"/>
                  </a:lnTo>
                  <a:lnTo>
                    <a:pt x="2801" y="1799"/>
                  </a:lnTo>
                  <a:lnTo>
                    <a:pt x="2788" y="1824"/>
                  </a:lnTo>
                  <a:lnTo>
                    <a:pt x="2770" y="1846"/>
                  </a:lnTo>
                  <a:lnTo>
                    <a:pt x="2748" y="1864"/>
                  </a:lnTo>
                  <a:lnTo>
                    <a:pt x="2725" y="1878"/>
                  </a:lnTo>
                  <a:lnTo>
                    <a:pt x="2701" y="1887"/>
                  </a:lnTo>
                  <a:lnTo>
                    <a:pt x="2674" y="1892"/>
                  </a:lnTo>
                  <a:lnTo>
                    <a:pt x="2648" y="1892"/>
                  </a:lnTo>
                  <a:lnTo>
                    <a:pt x="2622" y="1888"/>
                  </a:lnTo>
                  <a:lnTo>
                    <a:pt x="2597" y="1878"/>
                  </a:lnTo>
                  <a:lnTo>
                    <a:pt x="2574" y="1864"/>
                  </a:lnTo>
                  <a:lnTo>
                    <a:pt x="2553" y="1846"/>
                  </a:lnTo>
                  <a:lnTo>
                    <a:pt x="2552" y="1844"/>
                  </a:lnTo>
                  <a:lnTo>
                    <a:pt x="2550" y="1842"/>
                  </a:lnTo>
                  <a:lnTo>
                    <a:pt x="2514" y="1805"/>
                  </a:lnTo>
                  <a:lnTo>
                    <a:pt x="2481" y="1772"/>
                  </a:lnTo>
                  <a:lnTo>
                    <a:pt x="2453" y="1742"/>
                  </a:lnTo>
                  <a:lnTo>
                    <a:pt x="2426" y="1715"/>
                  </a:lnTo>
                  <a:lnTo>
                    <a:pt x="2404" y="1692"/>
                  </a:lnTo>
                  <a:lnTo>
                    <a:pt x="2384" y="1670"/>
                  </a:lnTo>
                  <a:lnTo>
                    <a:pt x="2366" y="1653"/>
                  </a:lnTo>
                  <a:lnTo>
                    <a:pt x="2351" y="1638"/>
                  </a:lnTo>
                  <a:lnTo>
                    <a:pt x="2338" y="1625"/>
                  </a:lnTo>
                  <a:lnTo>
                    <a:pt x="2326" y="1615"/>
                  </a:lnTo>
                  <a:lnTo>
                    <a:pt x="2318" y="1607"/>
                  </a:lnTo>
                  <a:lnTo>
                    <a:pt x="2309" y="1601"/>
                  </a:lnTo>
                  <a:lnTo>
                    <a:pt x="2303" y="1597"/>
                  </a:lnTo>
                  <a:lnTo>
                    <a:pt x="2299" y="1593"/>
                  </a:lnTo>
                  <a:lnTo>
                    <a:pt x="2294" y="1591"/>
                  </a:lnTo>
                  <a:lnTo>
                    <a:pt x="2290" y="1591"/>
                  </a:lnTo>
                  <a:lnTo>
                    <a:pt x="2288" y="1592"/>
                  </a:lnTo>
                  <a:lnTo>
                    <a:pt x="2286" y="1593"/>
                  </a:lnTo>
                  <a:lnTo>
                    <a:pt x="2283" y="1595"/>
                  </a:lnTo>
                  <a:lnTo>
                    <a:pt x="2280" y="1598"/>
                  </a:lnTo>
                  <a:lnTo>
                    <a:pt x="2278" y="1600"/>
                  </a:lnTo>
                  <a:lnTo>
                    <a:pt x="2276" y="1602"/>
                  </a:lnTo>
                  <a:lnTo>
                    <a:pt x="2275" y="1605"/>
                  </a:lnTo>
                  <a:lnTo>
                    <a:pt x="2274" y="1608"/>
                  </a:lnTo>
                  <a:lnTo>
                    <a:pt x="2274" y="1611"/>
                  </a:lnTo>
                  <a:lnTo>
                    <a:pt x="2275" y="1616"/>
                  </a:lnTo>
                  <a:lnTo>
                    <a:pt x="2277" y="1622"/>
                  </a:lnTo>
                  <a:lnTo>
                    <a:pt x="2282" y="1629"/>
                  </a:lnTo>
                  <a:lnTo>
                    <a:pt x="2287" y="1637"/>
                  </a:lnTo>
                  <a:lnTo>
                    <a:pt x="2294" y="1648"/>
                  </a:lnTo>
                  <a:lnTo>
                    <a:pt x="2303" y="1660"/>
                  </a:lnTo>
                  <a:lnTo>
                    <a:pt x="2314" y="1673"/>
                  </a:lnTo>
                  <a:lnTo>
                    <a:pt x="2329" y="1690"/>
                  </a:lnTo>
                  <a:lnTo>
                    <a:pt x="2345" y="1709"/>
                  </a:lnTo>
                  <a:lnTo>
                    <a:pt x="2366" y="1731"/>
                  </a:lnTo>
                  <a:lnTo>
                    <a:pt x="2388" y="1756"/>
                  </a:lnTo>
                  <a:lnTo>
                    <a:pt x="2413" y="1783"/>
                  </a:lnTo>
                  <a:lnTo>
                    <a:pt x="2443" y="1814"/>
                  </a:lnTo>
                  <a:lnTo>
                    <a:pt x="2476" y="1849"/>
                  </a:lnTo>
                  <a:lnTo>
                    <a:pt x="2513" y="1888"/>
                  </a:lnTo>
                  <a:lnTo>
                    <a:pt x="2516" y="1891"/>
                  </a:lnTo>
                  <a:lnTo>
                    <a:pt x="2518" y="1894"/>
                  </a:lnTo>
                  <a:lnTo>
                    <a:pt x="2519" y="1899"/>
                  </a:lnTo>
                  <a:lnTo>
                    <a:pt x="2535" y="1923"/>
                  </a:lnTo>
                  <a:lnTo>
                    <a:pt x="2545" y="1950"/>
                  </a:lnTo>
                  <a:lnTo>
                    <a:pt x="2552" y="1978"/>
                  </a:lnTo>
                  <a:lnTo>
                    <a:pt x="2553" y="2006"/>
                  </a:lnTo>
                  <a:lnTo>
                    <a:pt x="2548" y="2035"/>
                  </a:lnTo>
                  <a:lnTo>
                    <a:pt x="2540" y="2063"/>
                  </a:lnTo>
                  <a:lnTo>
                    <a:pt x="2527" y="2089"/>
                  </a:lnTo>
                  <a:lnTo>
                    <a:pt x="2508" y="2112"/>
                  </a:lnTo>
                  <a:lnTo>
                    <a:pt x="2488" y="2129"/>
                  </a:lnTo>
                  <a:lnTo>
                    <a:pt x="2466" y="2143"/>
                  </a:lnTo>
                  <a:lnTo>
                    <a:pt x="2441" y="2153"/>
                  </a:lnTo>
                  <a:lnTo>
                    <a:pt x="2417" y="2157"/>
                  </a:lnTo>
                  <a:lnTo>
                    <a:pt x="2391" y="2158"/>
                  </a:lnTo>
                  <a:lnTo>
                    <a:pt x="2366" y="2154"/>
                  </a:lnTo>
                  <a:lnTo>
                    <a:pt x="2341" y="2145"/>
                  </a:lnTo>
                  <a:lnTo>
                    <a:pt x="2318" y="2133"/>
                  </a:lnTo>
                  <a:lnTo>
                    <a:pt x="2297" y="2116"/>
                  </a:lnTo>
                  <a:lnTo>
                    <a:pt x="2296" y="2116"/>
                  </a:lnTo>
                  <a:lnTo>
                    <a:pt x="2295" y="2116"/>
                  </a:lnTo>
                  <a:lnTo>
                    <a:pt x="2251" y="2069"/>
                  </a:lnTo>
                  <a:lnTo>
                    <a:pt x="2209" y="2026"/>
                  </a:lnTo>
                  <a:lnTo>
                    <a:pt x="2171" y="1986"/>
                  </a:lnTo>
                  <a:lnTo>
                    <a:pt x="2137" y="1950"/>
                  </a:lnTo>
                  <a:lnTo>
                    <a:pt x="2106" y="1918"/>
                  </a:lnTo>
                  <a:lnTo>
                    <a:pt x="2078" y="1890"/>
                  </a:lnTo>
                  <a:lnTo>
                    <a:pt x="2055" y="1867"/>
                  </a:lnTo>
                  <a:lnTo>
                    <a:pt x="2034" y="1846"/>
                  </a:lnTo>
                  <a:lnTo>
                    <a:pt x="2017" y="1831"/>
                  </a:lnTo>
                  <a:lnTo>
                    <a:pt x="2002" y="1820"/>
                  </a:lnTo>
                  <a:lnTo>
                    <a:pt x="1991" y="1813"/>
                  </a:lnTo>
                  <a:lnTo>
                    <a:pt x="1983" y="1810"/>
                  </a:lnTo>
                  <a:lnTo>
                    <a:pt x="1977" y="1812"/>
                  </a:lnTo>
                  <a:lnTo>
                    <a:pt x="1974" y="1815"/>
                  </a:lnTo>
                  <a:lnTo>
                    <a:pt x="1973" y="1820"/>
                  </a:lnTo>
                  <a:lnTo>
                    <a:pt x="1973" y="1825"/>
                  </a:lnTo>
                  <a:lnTo>
                    <a:pt x="1975" y="1831"/>
                  </a:lnTo>
                  <a:lnTo>
                    <a:pt x="1978" y="1840"/>
                  </a:lnTo>
                  <a:lnTo>
                    <a:pt x="1984" y="1848"/>
                  </a:lnTo>
                  <a:lnTo>
                    <a:pt x="1991" y="1860"/>
                  </a:lnTo>
                  <a:lnTo>
                    <a:pt x="2001" y="1874"/>
                  </a:lnTo>
                  <a:lnTo>
                    <a:pt x="2013" y="1890"/>
                  </a:lnTo>
                  <a:lnTo>
                    <a:pt x="2028" y="1908"/>
                  </a:lnTo>
                  <a:lnTo>
                    <a:pt x="2046" y="1930"/>
                  </a:lnTo>
                  <a:lnTo>
                    <a:pt x="2068" y="1953"/>
                  </a:lnTo>
                  <a:lnTo>
                    <a:pt x="2093" y="1981"/>
                  </a:lnTo>
                  <a:lnTo>
                    <a:pt x="2122" y="2012"/>
                  </a:lnTo>
                  <a:lnTo>
                    <a:pt x="2154" y="2046"/>
                  </a:lnTo>
                  <a:lnTo>
                    <a:pt x="2190" y="2083"/>
                  </a:lnTo>
                  <a:lnTo>
                    <a:pt x="2195" y="2090"/>
                  </a:lnTo>
                  <a:lnTo>
                    <a:pt x="2200" y="2095"/>
                  </a:lnTo>
                  <a:lnTo>
                    <a:pt x="2205" y="2099"/>
                  </a:lnTo>
                  <a:lnTo>
                    <a:pt x="2210" y="2103"/>
                  </a:lnTo>
                  <a:lnTo>
                    <a:pt x="2227" y="2126"/>
                  </a:lnTo>
                  <a:lnTo>
                    <a:pt x="2241" y="2149"/>
                  </a:lnTo>
                  <a:lnTo>
                    <a:pt x="2250" y="2176"/>
                  </a:lnTo>
                  <a:lnTo>
                    <a:pt x="2254" y="2203"/>
                  </a:lnTo>
                  <a:lnTo>
                    <a:pt x="2254" y="2230"/>
                  </a:lnTo>
                  <a:lnTo>
                    <a:pt x="2250" y="2257"/>
                  </a:lnTo>
                  <a:lnTo>
                    <a:pt x="2241" y="2283"/>
                  </a:lnTo>
                  <a:lnTo>
                    <a:pt x="2227" y="2307"/>
                  </a:lnTo>
                  <a:lnTo>
                    <a:pt x="2210" y="2330"/>
                  </a:lnTo>
                  <a:lnTo>
                    <a:pt x="2189" y="2348"/>
                  </a:lnTo>
                  <a:lnTo>
                    <a:pt x="2166" y="2362"/>
                  </a:lnTo>
                  <a:lnTo>
                    <a:pt x="2140" y="2371"/>
                  </a:lnTo>
                  <a:lnTo>
                    <a:pt x="2115" y="2376"/>
                  </a:lnTo>
                  <a:lnTo>
                    <a:pt x="2088" y="2376"/>
                  </a:lnTo>
                  <a:lnTo>
                    <a:pt x="2062" y="2371"/>
                  </a:lnTo>
                  <a:lnTo>
                    <a:pt x="2038" y="2362"/>
                  </a:lnTo>
                  <a:lnTo>
                    <a:pt x="2015" y="2348"/>
                  </a:lnTo>
                  <a:lnTo>
                    <a:pt x="1993" y="2330"/>
                  </a:lnTo>
                  <a:lnTo>
                    <a:pt x="1985" y="2320"/>
                  </a:lnTo>
                  <a:lnTo>
                    <a:pt x="1978" y="2310"/>
                  </a:lnTo>
                  <a:lnTo>
                    <a:pt x="1976" y="2309"/>
                  </a:lnTo>
                  <a:lnTo>
                    <a:pt x="1974" y="2307"/>
                  </a:lnTo>
                  <a:lnTo>
                    <a:pt x="1936" y="2268"/>
                  </a:lnTo>
                  <a:lnTo>
                    <a:pt x="1902" y="2233"/>
                  </a:lnTo>
                  <a:lnTo>
                    <a:pt x="1872" y="2201"/>
                  </a:lnTo>
                  <a:lnTo>
                    <a:pt x="1845" y="2172"/>
                  </a:lnTo>
                  <a:lnTo>
                    <a:pt x="1821" y="2146"/>
                  </a:lnTo>
                  <a:lnTo>
                    <a:pt x="1801" y="2124"/>
                  </a:lnTo>
                  <a:lnTo>
                    <a:pt x="1782" y="2105"/>
                  </a:lnTo>
                  <a:lnTo>
                    <a:pt x="1767" y="2089"/>
                  </a:lnTo>
                  <a:lnTo>
                    <a:pt x="1753" y="2075"/>
                  </a:lnTo>
                  <a:lnTo>
                    <a:pt x="1741" y="2064"/>
                  </a:lnTo>
                  <a:lnTo>
                    <a:pt x="1732" y="2055"/>
                  </a:lnTo>
                  <a:lnTo>
                    <a:pt x="1724" y="2049"/>
                  </a:lnTo>
                  <a:lnTo>
                    <a:pt x="1717" y="2046"/>
                  </a:lnTo>
                  <a:lnTo>
                    <a:pt x="1711" y="2044"/>
                  </a:lnTo>
                  <a:lnTo>
                    <a:pt x="1707" y="2043"/>
                  </a:lnTo>
                  <a:lnTo>
                    <a:pt x="1703" y="2045"/>
                  </a:lnTo>
                  <a:lnTo>
                    <a:pt x="1699" y="2048"/>
                  </a:lnTo>
                  <a:lnTo>
                    <a:pt x="1695" y="2051"/>
                  </a:lnTo>
                  <a:lnTo>
                    <a:pt x="1693" y="2054"/>
                  </a:lnTo>
                  <a:lnTo>
                    <a:pt x="1692" y="2059"/>
                  </a:lnTo>
                  <a:lnTo>
                    <a:pt x="1692" y="2064"/>
                  </a:lnTo>
                  <a:lnTo>
                    <a:pt x="1693" y="2069"/>
                  </a:lnTo>
                  <a:lnTo>
                    <a:pt x="1697" y="2076"/>
                  </a:lnTo>
                  <a:lnTo>
                    <a:pt x="1701" y="2084"/>
                  </a:lnTo>
                  <a:lnTo>
                    <a:pt x="1708" y="2094"/>
                  </a:lnTo>
                  <a:lnTo>
                    <a:pt x="1717" y="2106"/>
                  </a:lnTo>
                  <a:lnTo>
                    <a:pt x="1728" y="2119"/>
                  </a:lnTo>
                  <a:lnTo>
                    <a:pt x="1742" y="2135"/>
                  </a:lnTo>
                  <a:lnTo>
                    <a:pt x="1759" y="2154"/>
                  </a:lnTo>
                  <a:lnTo>
                    <a:pt x="1778" y="2175"/>
                  </a:lnTo>
                  <a:lnTo>
                    <a:pt x="1802" y="2200"/>
                  </a:lnTo>
                  <a:lnTo>
                    <a:pt x="1827" y="2227"/>
                  </a:lnTo>
                  <a:lnTo>
                    <a:pt x="1857" y="2258"/>
                  </a:lnTo>
                  <a:lnTo>
                    <a:pt x="1891" y="2293"/>
                  </a:lnTo>
                  <a:lnTo>
                    <a:pt x="1891" y="2294"/>
                  </a:lnTo>
                  <a:lnTo>
                    <a:pt x="1894" y="2298"/>
                  </a:lnTo>
                  <a:lnTo>
                    <a:pt x="1898" y="2300"/>
                  </a:lnTo>
                  <a:lnTo>
                    <a:pt x="1915" y="2322"/>
                  </a:lnTo>
                  <a:lnTo>
                    <a:pt x="1928" y="2347"/>
                  </a:lnTo>
                  <a:lnTo>
                    <a:pt x="1937" y="2372"/>
                  </a:lnTo>
                  <a:lnTo>
                    <a:pt x="1941" y="2399"/>
                  </a:lnTo>
                  <a:lnTo>
                    <a:pt x="1941" y="2427"/>
                  </a:lnTo>
                  <a:lnTo>
                    <a:pt x="1937" y="2453"/>
                  </a:lnTo>
                  <a:lnTo>
                    <a:pt x="1928" y="2479"/>
                  </a:lnTo>
                  <a:lnTo>
                    <a:pt x="1915" y="2504"/>
                  </a:lnTo>
                  <a:lnTo>
                    <a:pt x="1898" y="2526"/>
                  </a:lnTo>
                  <a:lnTo>
                    <a:pt x="1876" y="2544"/>
                  </a:lnTo>
                  <a:lnTo>
                    <a:pt x="1853" y="2558"/>
                  </a:lnTo>
                  <a:lnTo>
                    <a:pt x="1827" y="2568"/>
                  </a:lnTo>
                  <a:lnTo>
                    <a:pt x="1802" y="2572"/>
                  </a:lnTo>
                  <a:lnTo>
                    <a:pt x="1775" y="2572"/>
                  </a:lnTo>
                  <a:lnTo>
                    <a:pt x="1750" y="2568"/>
                  </a:lnTo>
                  <a:lnTo>
                    <a:pt x="1724" y="2558"/>
                  </a:lnTo>
                  <a:lnTo>
                    <a:pt x="1701" y="2544"/>
                  </a:lnTo>
                  <a:lnTo>
                    <a:pt x="1681" y="2526"/>
                  </a:lnTo>
                  <a:lnTo>
                    <a:pt x="1670" y="2514"/>
                  </a:lnTo>
                  <a:lnTo>
                    <a:pt x="1658" y="2503"/>
                  </a:lnTo>
                  <a:lnTo>
                    <a:pt x="1647" y="2490"/>
                  </a:lnTo>
                  <a:lnTo>
                    <a:pt x="1635" y="2477"/>
                  </a:lnTo>
                  <a:lnTo>
                    <a:pt x="1624" y="2464"/>
                  </a:lnTo>
                  <a:lnTo>
                    <a:pt x="1615" y="2453"/>
                  </a:lnTo>
                  <a:lnTo>
                    <a:pt x="1607" y="2445"/>
                  </a:lnTo>
                  <a:lnTo>
                    <a:pt x="1602" y="2439"/>
                  </a:lnTo>
                  <a:lnTo>
                    <a:pt x="1600" y="2435"/>
                  </a:lnTo>
                  <a:lnTo>
                    <a:pt x="1599" y="2435"/>
                  </a:lnTo>
                  <a:lnTo>
                    <a:pt x="1599" y="2435"/>
                  </a:lnTo>
                  <a:lnTo>
                    <a:pt x="1603" y="2393"/>
                  </a:lnTo>
                  <a:lnTo>
                    <a:pt x="1603" y="2350"/>
                  </a:lnTo>
                  <a:lnTo>
                    <a:pt x="1599" y="2307"/>
                  </a:lnTo>
                  <a:lnTo>
                    <a:pt x="1590" y="2266"/>
                  </a:lnTo>
                  <a:lnTo>
                    <a:pt x="1576" y="2226"/>
                  </a:lnTo>
                  <a:lnTo>
                    <a:pt x="1557" y="2188"/>
                  </a:lnTo>
                  <a:lnTo>
                    <a:pt x="1535" y="2151"/>
                  </a:lnTo>
                  <a:lnTo>
                    <a:pt x="1507" y="2117"/>
                  </a:lnTo>
                  <a:lnTo>
                    <a:pt x="1481" y="2093"/>
                  </a:lnTo>
                  <a:lnTo>
                    <a:pt x="1453" y="2070"/>
                  </a:lnTo>
                  <a:lnTo>
                    <a:pt x="1422" y="2052"/>
                  </a:lnTo>
                  <a:lnTo>
                    <a:pt x="1390" y="2036"/>
                  </a:lnTo>
                  <a:lnTo>
                    <a:pt x="1357" y="2024"/>
                  </a:lnTo>
                  <a:lnTo>
                    <a:pt x="1347" y="1987"/>
                  </a:lnTo>
                  <a:lnTo>
                    <a:pt x="1333" y="1951"/>
                  </a:lnTo>
                  <a:lnTo>
                    <a:pt x="1315" y="1917"/>
                  </a:lnTo>
                  <a:lnTo>
                    <a:pt x="1293" y="1885"/>
                  </a:lnTo>
                  <a:lnTo>
                    <a:pt x="1269" y="1855"/>
                  </a:lnTo>
                  <a:lnTo>
                    <a:pt x="1237" y="1826"/>
                  </a:lnTo>
                  <a:lnTo>
                    <a:pt x="1203" y="1800"/>
                  </a:lnTo>
                  <a:lnTo>
                    <a:pt x="1166" y="1780"/>
                  </a:lnTo>
                  <a:lnTo>
                    <a:pt x="1125" y="1764"/>
                  </a:lnTo>
                  <a:lnTo>
                    <a:pt x="1112" y="1722"/>
                  </a:lnTo>
                  <a:lnTo>
                    <a:pt x="1093" y="1682"/>
                  </a:lnTo>
                  <a:lnTo>
                    <a:pt x="1070" y="1645"/>
                  </a:lnTo>
                  <a:lnTo>
                    <a:pt x="1042" y="1610"/>
                  </a:lnTo>
                  <a:lnTo>
                    <a:pt x="1010" y="1581"/>
                  </a:lnTo>
                  <a:lnTo>
                    <a:pt x="976" y="1556"/>
                  </a:lnTo>
                  <a:lnTo>
                    <a:pt x="938" y="1535"/>
                  </a:lnTo>
                  <a:lnTo>
                    <a:pt x="899" y="1520"/>
                  </a:lnTo>
                  <a:lnTo>
                    <a:pt x="885" y="1477"/>
                  </a:lnTo>
                  <a:lnTo>
                    <a:pt x="867" y="1438"/>
                  </a:lnTo>
                  <a:lnTo>
                    <a:pt x="843" y="1400"/>
                  </a:lnTo>
                  <a:lnTo>
                    <a:pt x="816" y="1365"/>
                  </a:lnTo>
                  <a:lnTo>
                    <a:pt x="785" y="1337"/>
                  </a:lnTo>
                  <a:lnTo>
                    <a:pt x="751" y="1313"/>
                  </a:lnTo>
                  <a:lnTo>
                    <a:pt x="716" y="1292"/>
                  </a:lnTo>
                  <a:lnTo>
                    <a:pt x="678" y="1277"/>
                  </a:lnTo>
                  <a:lnTo>
                    <a:pt x="638" y="1267"/>
                  </a:lnTo>
                  <a:lnTo>
                    <a:pt x="598" y="1260"/>
                  </a:lnTo>
                  <a:lnTo>
                    <a:pt x="556" y="1258"/>
                  </a:lnTo>
                  <a:lnTo>
                    <a:pt x="515" y="1260"/>
                  </a:lnTo>
                  <a:lnTo>
                    <a:pt x="473" y="1268"/>
                  </a:lnTo>
                  <a:lnTo>
                    <a:pt x="433" y="1280"/>
                  </a:lnTo>
                  <a:lnTo>
                    <a:pt x="394" y="1295"/>
                  </a:lnTo>
                  <a:lnTo>
                    <a:pt x="355" y="1316"/>
                  </a:lnTo>
                  <a:lnTo>
                    <a:pt x="320" y="1340"/>
                  </a:lnTo>
                  <a:lnTo>
                    <a:pt x="287" y="1369"/>
                  </a:lnTo>
                  <a:lnTo>
                    <a:pt x="261" y="1398"/>
                  </a:lnTo>
                  <a:lnTo>
                    <a:pt x="238" y="1429"/>
                  </a:lnTo>
                  <a:lnTo>
                    <a:pt x="219" y="1461"/>
                  </a:lnTo>
                  <a:lnTo>
                    <a:pt x="202" y="1495"/>
                  </a:lnTo>
                  <a:lnTo>
                    <a:pt x="188" y="1530"/>
                  </a:lnTo>
                  <a:lnTo>
                    <a:pt x="162" y="1520"/>
                  </a:lnTo>
                  <a:lnTo>
                    <a:pt x="135" y="1509"/>
                  </a:lnTo>
                  <a:lnTo>
                    <a:pt x="108" y="1499"/>
                  </a:lnTo>
                  <a:lnTo>
                    <a:pt x="84" y="1490"/>
                  </a:lnTo>
                  <a:lnTo>
                    <a:pt x="61" y="1482"/>
                  </a:lnTo>
                  <a:lnTo>
                    <a:pt x="40" y="1475"/>
                  </a:lnTo>
                  <a:lnTo>
                    <a:pt x="23" y="1470"/>
                  </a:lnTo>
                  <a:lnTo>
                    <a:pt x="11" y="1465"/>
                  </a:lnTo>
                  <a:lnTo>
                    <a:pt x="3" y="1463"/>
                  </a:lnTo>
                  <a:lnTo>
                    <a:pt x="0" y="1462"/>
                  </a:lnTo>
                  <a:lnTo>
                    <a:pt x="0" y="203"/>
                  </a:lnTo>
                  <a:lnTo>
                    <a:pt x="348" y="329"/>
                  </a:lnTo>
                  <a:lnTo>
                    <a:pt x="389" y="344"/>
                  </a:lnTo>
                  <a:lnTo>
                    <a:pt x="428" y="353"/>
                  </a:lnTo>
                  <a:lnTo>
                    <a:pt x="464" y="359"/>
                  </a:lnTo>
                  <a:lnTo>
                    <a:pt x="498" y="361"/>
                  </a:lnTo>
                  <a:lnTo>
                    <a:pt x="529" y="360"/>
                  </a:lnTo>
                  <a:lnTo>
                    <a:pt x="556" y="355"/>
                  </a:lnTo>
                  <a:lnTo>
                    <a:pt x="582" y="350"/>
                  </a:lnTo>
                  <a:lnTo>
                    <a:pt x="603" y="344"/>
                  </a:lnTo>
                  <a:lnTo>
                    <a:pt x="622" y="337"/>
                  </a:lnTo>
                  <a:lnTo>
                    <a:pt x="636" y="331"/>
                  </a:lnTo>
                  <a:lnTo>
                    <a:pt x="647" y="326"/>
                  </a:lnTo>
                  <a:lnTo>
                    <a:pt x="653" y="321"/>
                  </a:lnTo>
                  <a:lnTo>
                    <a:pt x="655" y="320"/>
                  </a:lnTo>
                  <a:lnTo>
                    <a:pt x="658" y="319"/>
                  </a:lnTo>
                  <a:lnTo>
                    <a:pt x="665" y="315"/>
                  </a:lnTo>
                  <a:lnTo>
                    <a:pt x="675" y="307"/>
                  </a:lnTo>
                  <a:lnTo>
                    <a:pt x="689" y="298"/>
                  </a:lnTo>
                  <a:lnTo>
                    <a:pt x="707" y="286"/>
                  </a:lnTo>
                  <a:lnTo>
                    <a:pt x="729" y="273"/>
                  </a:lnTo>
                  <a:lnTo>
                    <a:pt x="753" y="257"/>
                  </a:lnTo>
                  <a:lnTo>
                    <a:pt x="780" y="241"/>
                  </a:lnTo>
                  <a:lnTo>
                    <a:pt x="808" y="224"/>
                  </a:lnTo>
                  <a:lnTo>
                    <a:pt x="839" y="206"/>
                  </a:lnTo>
                  <a:lnTo>
                    <a:pt x="872" y="187"/>
                  </a:lnTo>
                  <a:lnTo>
                    <a:pt x="906" y="168"/>
                  </a:lnTo>
                  <a:lnTo>
                    <a:pt x="941" y="148"/>
                  </a:lnTo>
                  <a:lnTo>
                    <a:pt x="976" y="130"/>
                  </a:lnTo>
                  <a:lnTo>
                    <a:pt x="1014" y="112"/>
                  </a:lnTo>
                  <a:lnTo>
                    <a:pt x="1050" y="95"/>
                  </a:lnTo>
                  <a:lnTo>
                    <a:pt x="1087" y="78"/>
                  </a:lnTo>
                  <a:lnTo>
                    <a:pt x="1123" y="63"/>
                  </a:lnTo>
                  <a:lnTo>
                    <a:pt x="1158" y="49"/>
                  </a:lnTo>
                  <a:lnTo>
                    <a:pt x="1193" y="38"/>
                  </a:lnTo>
                  <a:lnTo>
                    <a:pt x="1226" y="29"/>
                  </a:lnTo>
                  <a:lnTo>
                    <a:pt x="1258" y="21"/>
                  </a:lnTo>
                  <a:lnTo>
                    <a:pt x="1288" y="17"/>
                  </a:lnTo>
                  <a:lnTo>
                    <a:pt x="1317" y="15"/>
                  </a:lnTo>
                  <a:close/>
                  <a:moveTo>
                    <a:pt x="2226" y="0"/>
                  </a:moveTo>
                  <a:lnTo>
                    <a:pt x="2251" y="0"/>
                  </a:lnTo>
                  <a:lnTo>
                    <a:pt x="2275" y="3"/>
                  </a:lnTo>
                  <a:lnTo>
                    <a:pt x="2301" y="11"/>
                  </a:lnTo>
                  <a:lnTo>
                    <a:pt x="2326" y="21"/>
                  </a:lnTo>
                  <a:lnTo>
                    <a:pt x="2355" y="36"/>
                  </a:lnTo>
                  <a:lnTo>
                    <a:pt x="2385" y="56"/>
                  </a:lnTo>
                  <a:lnTo>
                    <a:pt x="2416" y="79"/>
                  </a:lnTo>
                  <a:lnTo>
                    <a:pt x="2450" y="108"/>
                  </a:lnTo>
                  <a:lnTo>
                    <a:pt x="2487" y="141"/>
                  </a:lnTo>
                  <a:lnTo>
                    <a:pt x="2524" y="173"/>
                  </a:lnTo>
                  <a:lnTo>
                    <a:pt x="2559" y="204"/>
                  </a:lnTo>
                  <a:lnTo>
                    <a:pt x="2593" y="234"/>
                  </a:lnTo>
                  <a:lnTo>
                    <a:pt x="2625" y="263"/>
                  </a:lnTo>
                  <a:lnTo>
                    <a:pt x="2656" y="289"/>
                  </a:lnTo>
                  <a:lnTo>
                    <a:pt x="2685" y="315"/>
                  </a:lnTo>
                  <a:lnTo>
                    <a:pt x="2710" y="338"/>
                  </a:lnTo>
                  <a:lnTo>
                    <a:pt x="2734" y="359"/>
                  </a:lnTo>
                  <a:lnTo>
                    <a:pt x="2755" y="377"/>
                  </a:lnTo>
                  <a:lnTo>
                    <a:pt x="2772" y="393"/>
                  </a:lnTo>
                  <a:lnTo>
                    <a:pt x="2786" y="406"/>
                  </a:lnTo>
                  <a:lnTo>
                    <a:pt x="2796" y="414"/>
                  </a:lnTo>
                  <a:lnTo>
                    <a:pt x="2803" y="420"/>
                  </a:lnTo>
                  <a:lnTo>
                    <a:pt x="2805" y="423"/>
                  </a:lnTo>
                  <a:lnTo>
                    <a:pt x="2807" y="424"/>
                  </a:lnTo>
                  <a:lnTo>
                    <a:pt x="2813" y="426"/>
                  </a:lnTo>
                  <a:lnTo>
                    <a:pt x="2823" y="430"/>
                  </a:lnTo>
                  <a:lnTo>
                    <a:pt x="2837" y="434"/>
                  </a:lnTo>
                  <a:lnTo>
                    <a:pt x="2852" y="440"/>
                  </a:lnTo>
                  <a:lnTo>
                    <a:pt x="2869" y="445"/>
                  </a:lnTo>
                  <a:lnTo>
                    <a:pt x="2888" y="448"/>
                  </a:lnTo>
                  <a:lnTo>
                    <a:pt x="2907" y="451"/>
                  </a:lnTo>
                  <a:lnTo>
                    <a:pt x="2927" y="451"/>
                  </a:lnTo>
                  <a:lnTo>
                    <a:pt x="2946" y="450"/>
                  </a:lnTo>
                  <a:lnTo>
                    <a:pt x="2968" y="447"/>
                  </a:lnTo>
                  <a:lnTo>
                    <a:pt x="2993" y="442"/>
                  </a:lnTo>
                  <a:lnTo>
                    <a:pt x="3022" y="436"/>
                  </a:lnTo>
                  <a:lnTo>
                    <a:pt x="3054" y="430"/>
                  </a:lnTo>
                  <a:lnTo>
                    <a:pt x="3088" y="423"/>
                  </a:lnTo>
                  <a:lnTo>
                    <a:pt x="3123" y="415"/>
                  </a:lnTo>
                  <a:lnTo>
                    <a:pt x="3159" y="407"/>
                  </a:lnTo>
                  <a:lnTo>
                    <a:pt x="3196" y="398"/>
                  </a:lnTo>
                  <a:lnTo>
                    <a:pt x="3233" y="390"/>
                  </a:lnTo>
                  <a:lnTo>
                    <a:pt x="3270" y="381"/>
                  </a:lnTo>
                  <a:lnTo>
                    <a:pt x="3306" y="372"/>
                  </a:lnTo>
                  <a:lnTo>
                    <a:pt x="3340" y="364"/>
                  </a:lnTo>
                  <a:lnTo>
                    <a:pt x="3372" y="355"/>
                  </a:lnTo>
                  <a:lnTo>
                    <a:pt x="3400" y="349"/>
                  </a:lnTo>
                  <a:lnTo>
                    <a:pt x="3427" y="343"/>
                  </a:lnTo>
                  <a:lnTo>
                    <a:pt x="3450" y="336"/>
                  </a:lnTo>
                  <a:lnTo>
                    <a:pt x="3469" y="332"/>
                  </a:lnTo>
                  <a:lnTo>
                    <a:pt x="3482" y="329"/>
                  </a:lnTo>
                  <a:lnTo>
                    <a:pt x="3492" y="326"/>
                  </a:lnTo>
                  <a:lnTo>
                    <a:pt x="3494" y="326"/>
                  </a:lnTo>
                  <a:lnTo>
                    <a:pt x="3494" y="1427"/>
                  </a:lnTo>
                  <a:lnTo>
                    <a:pt x="3491" y="1427"/>
                  </a:lnTo>
                  <a:lnTo>
                    <a:pt x="3481" y="1429"/>
                  </a:lnTo>
                  <a:lnTo>
                    <a:pt x="3467" y="1432"/>
                  </a:lnTo>
                  <a:lnTo>
                    <a:pt x="3448" y="1435"/>
                  </a:lnTo>
                  <a:lnTo>
                    <a:pt x="3426" y="1441"/>
                  </a:lnTo>
                  <a:lnTo>
                    <a:pt x="3402" y="1445"/>
                  </a:lnTo>
                  <a:lnTo>
                    <a:pt x="3375" y="1450"/>
                  </a:lnTo>
                  <a:lnTo>
                    <a:pt x="3348" y="1456"/>
                  </a:lnTo>
                  <a:lnTo>
                    <a:pt x="3322" y="1461"/>
                  </a:lnTo>
                  <a:lnTo>
                    <a:pt x="3296" y="1466"/>
                  </a:lnTo>
                  <a:lnTo>
                    <a:pt x="3272" y="1471"/>
                  </a:lnTo>
                  <a:lnTo>
                    <a:pt x="3252" y="1474"/>
                  </a:lnTo>
                  <a:lnTo>
                    <a:pt x="3235" y="1477"/>
                  </a:lnTo>
                  <a:lnTo>
                    <a:pt x="3222" y="1479"/>
                  </a:lnTo>
                  <a:lnTo>
                    <a:pt x="3208" y="1481"/>
                  </a:lnTo>
                  <a:lnTo>
                    <a:pt x="3191" y="1484"/>
                  </a:lnTo>
                  <a:lnTo>
                    <a:pt x="3170" y="1489"/>
                  </a:lnTo>
                  <a:lnTo>
                    <a:pt x="3147" y="1492"/>
                  </a:lnTo>
                  <a:lnTo>
                    <a:pt x="3122" y="1495"/>
                  </a:lnTo>
                  <a:lnTo>
                    <a:pt x="3094" y="1495"/>
                  </a:lnTo>
                  <a:lnTo>
                    <a:pt x="3066" y="1494"/>
                  </a:lnTo>
                  <a:lnTo>
                    <a:pt x="3037" y="1490"/>
                  </a:lnTo>
                  <a:lnTo>
                    <a:pt x="3008" y="1481"/>
                  </a:lnTo>
                  <a:lnTo>
                    <a:pt x="2978" y="1470"/>
                  </a:lnTo>
                  <a:lnTo>
                    <a:pt x="2951" y="1451"/>
                  </a:lnTo>
                  <a:lnTo>
                    <a:pt x="2923" y="1428"/>
                  </a:lnTo>
                  <a:lnTo>
                    <a:pt x="2905" y="1410"/>
                  </a:lnTo>
                  <a:lnTo>
                    <a:pt x="2884" y="1388"/>
                  </a:lnTo>
                  <a:lnTo>
                    <a:pt x="2860" y="1365"/>
                  </a:lnTo>
                  <a:lnTo>
                    <a:pt x="2835" y="1338"/>
                  </a:lnTo>
                  <a:lnTo>
                    <a:pt x="2806" y="1311"/>
                  </a:lnTo>
                  <a:lnTo>
                    <a:pt x="2777" y="1280"/>
                  </a:lnTo>
                  <a:lnTo>
                    <a:pt x="2745" y="1249"/>
                  </a:lnTo>
                  <a:lnTo>
                    <a:pt x="2713" y="1216"/>
                  </a:lnTo>
                  <a:lnTo>
                    <a:pt x="2680" y="1181"/>
                  </a:lnTo>
                  <a:lnTo>
                    <a:pt x="2646" y="1146"/>
                  </a:lnTo>
                  <a:lnTo>
                    <a:pt x="2611" y="1111"/>
                  </a:lnTo>
                  <a:lnTo>
                    <a:pt x="2576" y="1075"/>
                  </a:lnTo>
                  <a:lnTo>
                    <a:pt x="2542" y="1038"/>
                  </a:lnTo>
                  <a:lnTo>
                    <a:pt x="2507" y="1003"/>
                  </a:lnTo>
                  <a:lnTo>
                    <a:pt x="2473" y="968"/>
                  </a:lnTo>
                  <a:lnTo>
                    <a:pt x="2439" y="933"/>
                  </a:lnTo>
                  <a:lnTo>
                    <a:pt x="2407" y="900"/>
                  </a:lnTo>
                  <a:lnTo>
                    <a:pt x="2375" y="868"/>
                  </a:lnTo>
                  <a:lnTo>
                    <a:pt x="2345" y="837"/>
                  </a:lnTo>
                  <a:lnTo>
                    <a:pt x="2317" y="807"/>
                  </a:lnTo>
                  <a:lnTo>
                    <a:pt x="2291" y="780"/>
                  </a:lnTo>
                  <a:lnTo>
                    <a:pt x="2267" y="756"/>
                  </a:lnTo>
                  <a:lnTo>
                    <a:pt x="2245" y="733"/>
                  </a:lnTo>
                  <a:lnTo>
                    <a:pt x="2226" y="713"/>
                  </a:lnTo>
                  <a:lnTo>
                    <a:pt x="2209" y="696"/>
                  </a:lnTo>
                  <a:lnTo>
                    <a:pt x="2196" y="683"/>
                  </a:lnTo>
                  <a:lnTo>
                    <a:pt x="2187" y="673"/>
                  </a:lnTo>
                  <a:lnTo>
                    <a:pt x="2182" y="667"/>
                  </a:lnTo>
                  <a:lnTo>
                    <a:pt x="2179" y="665"/>
                  </a:lnTo>
                  <a:lnTo>
                    <a:pt x="2177" y="663"/>
                  </a:lnTo>
                  <a:lnTo>
                    <a:pt x="2173" y="660"/>
                  </a:lnTo>
                  <a:lnTo>
                    <a:pt x="2166" y="653"/>
                  </a:lnTo>
                  <a:lnTo>
                    <a:pt x="2156" y="647"/>
                  </a:lnTo>
                  <a:lnTo>
                    <a:pt x="2142" y="639"/>
                  </a:lnTo>
                  <a:lnTo>
                    <a:pt x="2127" y="632"/>
                  </a:lnTo>
                  <a:lnTo>
                    <a:pt x="2109" y="624"/>
                  </a:lnTo>
                  <a:lnTo>
                    <a:pt x="2089" y="619"/>
                  </a:lnTo>
                  <a:lnTo>
                    <a:pt x="2066" y="616"/>
                  </a:lnTo>
                  <a:lnTo>
                    <a:pt x="2040" y="615"/>
                  </a:lnTo>
                  <a:lnTo>
                    <a:pt x="2013" y="618"/>
                  </a:lnTo>
                  <a:lnTo>
                    <a:pt x="1984" y="624"/>
                  </a:lnTo>
                  <a:lnTo>
                    <a:pt x="1952" y="635"/>
                  </a:lnTo>
                  <a:lnTo>
                    <a:pt x="1919" y="651"/>
                  </a:lnTo>
                  <a:lnTo>
                    <a:pt x="1881" y="672"/>
                  </a:lnTo>
                  <a:lnTo>
                    <a:pt x="1840" y="694"/>
                  </a:lnTo>
                  <a:lnTo>
                    <a:pt x="1799" y="717"/>
                  </a:lnTo>
                  <a:lnTo>
                    <a:pt x="1755" y="740"/>
                  </a:lnTo>
                  <a:lnTo>
                    <a:pt x="1712" y="763"/>
                  </a:lnTo>
                  <a:lnTo>
                    <a:pt x="1670" y="787"/>
                  </a:lnTo>
                  <a:lnTo>
                    <a:pt x="1628" y="809"/>
                  </a:lnTo>
                  <a:lnTo>
                    <a:pt x="1589" y="830"/>
                  </a:lnTo>
                  <a:lnTo>
                    <a:pt x="1552" y="850"/>
                  </a:lnTo>
                  <a:lnTo>
                    <a:pt x="1518" y="868"/>
                  </a:lnTo>
                  <a:lnTo>
                    <a:pt x="1488" y="883"/>
                  </a:lnTo>
                  <a:lnTo>
                    <a:pt x="1463" y="896"/>
                  </a:lnTo>
                  <a:lnTo>
                    <a:pt x="1436" y="912"/>
                  </a:lnTo>
                  <a:lnTo>
                    <a:pt x="1408" y="924"/>
                  </a:lnTo>
                  <a:lnTo>
                    <a:pt x="1378" y="932"/>
                  </a:lnTo>
                  <a:lnTo>
                    <a:pt x="1347" y="934"/>
                  </a:lnTo>
                  <a:lnTo>
                    <a:pt x="1310" y="931"/>
                  </a:lnTo>
                  <a:lnTo>
                    <a:pt x="1276" y="921"/>
                  </a:lnTo>
                  <a:lnTo>
                    <a:pt x="1246" y="905"/>
                  </a:lnTo>
                  <a:lnTo>
                    <a:pt x="1218" y="885"/>
                  </a:lnTo>
                  <a:lnTo>
                    <a:pt x="1193" y="859"/>
                  </a:lnTo>
                  <a:lnTo>
                    <a:pt x="1173" y="830"/>
                  </a:lnTo>
                  <a:lnTo>
                    <a:pt x="1158" y="798"/>
                  </a:lnTo>
                  <a:lnTo>
                    <a:pt x="1150" y="762"/>
                  </a:lnTo>
                  <a:lnTo>
                    <a:pt x="1147" y="725"/>
                  </a:lnTo>
                  <a:lnTo>
                    <a:pt x="1149" y="692"/>
                  </a:lnTo>
                  <a:lnTo>
                    <a:pt x="1156" y="660"/>
                  </a:lnTo>
                  <a:lnTo>
                    <a:pt x="1168" y="631"/>
                  </a:lnTo>
                  <a:lnTo>
                    <a:pt x="1184" y="604"/>
                  </a:lnTo>
                  <a:lnTo>
                    <a:pt x="1203" y="580"/>
                  </a:lnTo>
                  <a:lnTo>
                    <a:pt x="1225" y="558"/>
                  </a:lnTo>
                  <a:lnTo>
                    <a:pt x="1251" y="541"/>
                  </a:lnTo>
                  <a:lnTo>
                    <a:pt x="1278" y="528"/>
                  </a:lnTo>
                  <a:lnTo>
                    <a:pt x="1318" y="504"/>
                  </a:lnTo>
                  <a:lnTo>
                    <a:pt x="1361" y="477"/>
                  </a:lnTo>
                  <a:lnTo>
                    <a:pt x="1408" y="448"/>
                  </a:lnTo>
                  <a:lnTo>
                    <a:pt x="1458" y="418"/>
                  </a:lnTo>
                  <a:lnTo>
                    <a:pt x="1510" y="387"/>
                  </a:lnTo>
                  <a:lnTo>
                    <a:pt x="1564" y="355"/>
                  </a:lnTo>
                  <a:lnTo>
                    <a:pt x="1619" y="322"/>
                  </a:lnTo>
                  <a:lnTo>
                    <a:pt x="1675" y="289"/>
                  </a:lnTo>
                  <a:lnTo>
                    <a:pt x="1731" y="256"/>
                  </a:lnTo>
                  <a:lnTo>
                    <a:pt x="1786" y="224"/>
                  </a:lnTo>
                  <a:lnTo>
                    <a:pt x="1840" y="193"/>
                  </a:lnTo>
                  <a:lnTo>
                    <a:pt x="1892" y="163"/>
                  </a:lnTo>
                  <a:lnTo>
                    <a:pt x="1942" y="134"/>
                  </a:lnTo>
                  <a:lnTo>
                    <a:pt x="1989" y="107"/>
                  </a:lnTo>
                  <a:lnTo>
                    <a:pt x="2033" y="82"/>
                  </a:lnTo>
                  <a:lnTo>
                    <a:pt x="2072" y="61"/>
                  </a:lnTo>
                  <a:lnTo>
                    <a:pt x="2106" y="41"/>
                  </a:lnTo>
                  <a:lnTo>
                    <a:pt x="2132" y="28"/>
                  </a:lnTo>
                  <a:lnTo>
                    <a:pt x="2156" y="17"/>
                  </a:lnTo>
                  <a:lnTo>
                    <a:pt x="2179" y="9"/>
                  </a:lnTo>
                  <a:lnTo>
                    <a:pt x="2203" y="3"/>
                  </a:lnTo>
                  <a:lnTo>
                    <a:pt x="2226" y="0"/>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01" name="Content Placeholder 2">
              <a:extLst>
                <a:ext uri="{FF2B5EF4-FFF2-40B4-BE49-F238E27FC236}">
                  <a16:creationId xmlns:a16="http://schemas.microsoft.com/office/drawing/2014/main" xmlns="" id="{41B71486-3F25-46C7-88B3-95EEDFBD0443}"/>
                </a:ext>
              </a:extLst>
            </p:cNvPr>
            <p:cNvSpPr txBox="1">
              <a:spLocks/>
            </p:cNvSpPr>
            <p:nvPr/>
          </p:nvSpPr>
          <p:spPr bwMode="gray">
            <a:xfrm>
              <a:off x="2748120" y="2039009"/>
              <a:ext cx="2134159" cy="1384995"/>
            </a:xfrm>
            <a:prstGeom prst="rect">
              <a:avLst/>
            </a:prstGeom>
          </p:spPr>
          <p:txBody>
            <a:bodyPr wrap="square" lIns="0" tIns="0" rIns="0" bIns="0">
              <a:spAutoFit/>
            </a:bodyPr>
            <a:lstStyle>
              <a:lvl1pPr marL="225425" indent="-225425" algn="l" defTabSz="342900" rtl="0" eaLnBrk="1" fontAlgn="base" hangingPunct="1">
                <a:spcBef>
                  <a:spcPts val="6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63550" indent="-238125" algn="l" defTabSz="342900" rtl="0" eaLnBrk="1" fontAlgn="base" hangingPunct="1">
                <a:spcBef>
                  <a:spcPts val="6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8975" indent="-225425" algn="l" defTabSz="342900" rtl="0" eaLnBrk="1" fontAlgn="base" hangingPunct="1">
                <a:spcBef>
                  <a:spcPts val="6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5425" algn="l" defTabSz="342900" rtl="0" eaLnBrk="1" fontAlgn="base" hangingPunct="1">
                <a:spcBef>
                  <a:spcPts val="6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39825" indent="-225425" algn="l" defTabSz="342900" rtl="0" eaLnBrk="1" fontAlgn="base" hangingPunct="1">
                <a:spcBef>
                  <a:spcPts val="6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203200" marR="0" lvl="1" indent="-203200" algn="l" defTabSz="342900" rtl="0" eaLnBrk="1" fontAlgn="base" latinLnBrk="0" hangingPunct="1">
                <a:lnSpc>
                  <a:spcPct val="150000"/>
                </a:lnSpc>
                <a:spcBef>
                  <a:spcPts val="0"/>
                </a:spcBef>
                <a:spcAft>
                  <a:spcPct val="0"/>
                </a:spcAft>
                <a:buClrTx/>
                <a:buSzPct val="120000"/>
                <a:buFont typeface="Wingdings" panose="05000000000000000000" pitchFamily="2" charset="2"/>
                <a:buChar char="§"/>
                <a:tabLst>
                  <a:tab pos="188913" algn="l"/>
                </a:tabLst>
                <a:defRPr/>
              </a:pPr>
              <a:r>
                <a:rPr kumimoji="0" lang="en-US" sz="1200" b="0" i="0" u="none" strike="noStrike" kern="1200" cap="none" spc="0" normalizeH="0" baseline="0" noProof="0" dirty="0">
                  <a:ln>
                    <a:noFill/>
                  </a:ln>
                  <a:solidFill>
                    <a:schemeClr val="bg1">
                      <a:lumMod val="10000"/>
                    </a:schemeClr>
                  </a:solidFill>
                  <a:effectLst/>
                  <a:uLnTx/>
                  <a:uFillTx/>
                  <a:latin typeface="Calibri"/>
                  <a:ea typeface="MS PGothic" pitchFamily="34" charset="-128"/>
                  <a:cs typeface="Times New Roman" panose="02020603050405020304" pitchFamily="18" charset="0"/>
                </a:rPr>
                <a:t>Script development</a:t>
              </a:r>
            </a:p>
            <a:p>
              <a:pPr marL="203200" marR="0" lvl="1" indent="-203200" algn="l" defTabSz="342900" rtl="0" eaLnBrk="1" fontAlgn="base" latinLnBrk="0" hangingPunct="1">
                <a:lnSpc>
                  <a:spcPct val="150000"/>
                </a:lnSpc>
                <a:spcBef>
                  <a:spcPts val="0"/>
                </a:spcBef>
                <a:spcAft>
                  <a:spcPct val="0"/>
                </a:spcAft>
                <a:buClrTx/>
                <a:buSzPct val="120000"/>
                <a:buFont typeface="Wingdings" panose="05000000000000000000" pitchFamily="2" charset="2"/>
                <a:buChar char="§"/>
                <a:tabLst>
                  <a:tab pos="188913" algn="l"/>
                </a:tabLst>
                <a:defRPr/>
              </a:pPr>
              <a:r>
                <a:rPr kumimoji="0" lang="en-US" sz="1200" b="0" i="0" u="none" strike="noStrike" kern="1200" cap="none" spc="0" normalizeH="0" baseline="0" noProof="0" dirty="0">
                  <a:ln>
                    <a:noFill/>
                  </a:ln>
                  <a:solidFill>
                    <a:schemeClr val="bg1">
                      <a:lumMod val="10000"/>
                    </a:schemeClr>
                  </a:solidFill>
                  <a:effectLst/>
                  <a:uLnTx/>
                  <a:uFillTx/>
                  <a:latin typeface="Calibri"/>
                  <a:ea typeface="MS PGothic" pitchFamily="34" charset="-128"/>
                  <a:cs typeface="Times New Roman" panose="02020603050405020304" pitchFamily="18" charset="0"/>
                </a:rPr>
                <a:t>Script enhancements</a:t>
              </a:r>
            </a:p>
            <a:p>
              <a:pPr marL="203200" marR="0" lvl="1" indent="-203200" algn="l" defTabSz="342900" rtl="0" eaLnBrk="1" fontAlgn="base" latinLnBrk="0" hangingPunct="1">
                <a:lnSpc>
                  <a:spcPct val="150000"/>
                </a:lnSpc>
                <a:spcBef>
                  <a:spcPts val="0"/>
                </a:spcBef>
                <a:spcAft>
                  <a:spcPct val="0"/>
                </a:spcAft>
                <a:buClrTx/>
                <a:buSzPct val="120000"/>
                <a:buFont typeface="Wingdings" panose="05000000000000000000" pitchFamily="2" charset="2"/>
                <a:buChar char="§"/>
                <a:tabLst>
                  <a:tab pos="188913" algn="l"/>
                </a:tabLst>
                <a:defRPr/>
              </a:pPr>
              <a:r>
                <a:rPr kumimoji="0" lang="en-US" sz="1200" b="0" i="0" u="none" strike="noStrike" kern="1200" cap="none" spc="0" normalizeH="0" baseline="0" noProof="0" dirty="0">
                  <a:ln>
                    <a:noFill/>
                  </a:ln>
                  <a:solidFill>
                    <a:schemeClr val="bg1">
                      <a:lumMod val="10000"/>
                    </a:schemeClr>
                  </a:solidFill>
                  <a:effectLst/>
                  <a:uLnTx/>
                  <a:uFillTx/>
                  <a:latin typeface="Calibri"/>
                  <a:ea typeface="MS PGothic" pitchFamily="34" charset="-128"/>
                  <a:cs typeface="Times New Roman" panose="02020603050405020304" pitchFamily="18" charset="0"/>
                </a:rPr>
                <a:t>Identify Test data requirement</a:t>
              </a:r>
              <a:endParaRPr kumimoji="0" lang="en-IN" sz="1200" b="0" i="0" u="none" strike="noStrike" kern="1200" cap="none" spc="0" normalizeH="0" baseline="0" noProof="0" dirty="0">
                <a:ln>
                  <a:noFill/>
                </a:ln>
                <a:solidFill>
                  <a:schemeClr val="bg1">
                    <a:lumMod val="10000"/>
                  </a:schemeClr>
                </a:solidFill>
                <a:effectLst/>
                <a:uLnTx/>
                <a:uFillTx/>
                <a:latin typeface="Calibri"/>
                <a:ea typeface="MS PGothic" pitchFamily="34" charset="-128"/>
                <a:cs typeface="Times New Roman" panose="02020603050405020304" pitchFamily="18" charset="0"/>
              </a:endParaRPr>
            </a:p>
            <a:p>
              <a:pPr marL="203200" marR="0" lvl="1" indent="-203200" algn="l" defTabSz="342900" rtl="0" eaLnBrk="1" fontAlgn="base" latinLnBrk="0" hangingPunct="1">
                <a:lnSpc>
                  <a:spcPct val="150000"/>
                </a:lnSpc>
                <a:spcBef>
                  <a:spcPts val="0"/>
                </a:spcBef>
                <a:spcAft>
                  <a:spcPct val="0"/>
                </a:spcAft>
                <a:buClrTx/>
                <a:buSzPct val="120000"/>
                <a:buFont typeface="Wingdings" panose="05000000000000000000" pitchFamily="2" charset="2"/>
                <a:buChar char="§"/>
                <a:tabLst>
                  <a:tab pos="188913" algn="l"/>
                </a:tabLst>
                <a:defRPr/>
              </a:pPr>
              <a:r>
                <a:rPr kumimoji="0" lang="en-US" sz="1200" b="0" i="0" u="none" strike="noStrike" kern="1200" cap="none" spc="0" normalizeH="0" baseline="0" noProof="0" dirty="0">
                  <a:ln>
                    <a:noFill/>
                  </a:ln>
                  <a:solidFill>
                    <a:schemeClr val="bg1">
                      <a:lumMod val="10000"/>
                    </a:schemeClr>
                  </a:solidFill>
                  <a:effectLst/>
                  <a:uLnTx/>
                  <a:uFillTx/>
                  <a:latin typeface="Calibri"/>
                  <a:ea typeface="MS PGothic" pitchFamily="34" charset="-128"/>
                  <a:cs typeface="Times New Roman" panose="02020603050405020304" pitchFamily="18" charset="0"/>
                </a:rPr>
                <a:t>Test data setup and creation</a:t>
              </a:r>
            </a:p>
            <a:p>
              <a:pPr marL="203200" marR="0" lvl="1" indent="-203200" algn="l" defTabSz="342900" rtl="0" eaLnBrk="1" fontAlgn="base" latinLnBrk="0" hangingPunct="1">
                <a:lnSpc>
                  <a:spcPct val="150000"/>
                </a:lnSpc>
                <a:spcBef>
                  <a:spcPts val="0"/>
                </a:spcBef>
                <a:spcAft>
                  <a:spcPct val="0"/>
                </a:spcAft>
                <a:buClrTx/>
                <a:buSzPct val="120000"/>
                <a:buFont typeface="Wingdings" panose="05000000000000000000" pitchFamily="2" charset="2"/>
                <a:buChar char="§"/>
                <a:tabLst>
                  <a:tab pos="188913" algn="l"/>
                </a:tabLst>
                <a:defRPr/>
              </a:pPr>
              <a:r>
                <a:rPr kumimoji="0" lang="en-US" sz="1200" b="0" i="0" u="none" strike="noStrike" kern="1200" cap="none" spc="0" normalizeH="0" baseline="0" noProof="0" dirty="0">
                  <a:ln>
                    <a:noFill/>
                  </a:ln>
                  <a:solidFill>
                    <a:schemeClr val="bg1">
                      <a:lumMod val="10000"/>
                    </a:schemeClr>
                  </a:solidFill>
                  <a:effectLst/>
                  <a:uLnTx/>
                  <a:uFillTx/>
                  <a:latin typeface="Calibri"/>
                  <a:ea typeface="MS PGothic" pitchFamily="34" charset="-128"/>
                  <a:cs typeface="Times New Roman" panose="02020603050405020304" pitchFamily="18" charset="0"/>
                </a:rPr>
                <a:t>Test environment readiness</a:t>
              </a:r>
            </a:p>
          </p:txBody>
        </p:sp>
        <p:sp>
          <p:nvSpPr>
            <p:cNvPr id="102" name="Content Placeholder 2">
              <a:extLst>
                <a:ext uri="{FF2B5EF4-FFF2-40B4-BE49-F238E27FC236}">
                  <a16:creationId xmlns:a16="http://schemas.microsoft.com/office/drawing/2014/main" xmlns="" id="{37B0CE5B-7454-4CA7-BF98-1F38D645B709}"/>
                </a:ext>
              </a:extLst>
            </p:cNvPr>
            <p:cNvSpPr txBox="1">
              <a:spLocks/>
            </p:cNvSpPr>
            <p:nvPr/>
          </p:nvSpPr>
          <p:spPr bwMode="gray">
            <a:xfrm>
              <a:off x="4984296" y="2039009"/>
              <a:ext cx="2146652" cy="2215991"/>
            </a:xfrm>
            <a:prstGeom prst="rect">
              <a:avLst/>
            </a:prstGeom>
          </p:spPr>
          <p:txBody>
            <a:bodyPr wrap="square" lIns="0" tIns="0" rIns="0" bIns="0">
              <a:spAutoFit/>
            </a:bodyPr>
            <a:lstStyle>
              <a:lvl1pPr marL="225425" indent="-225425" algn="l" defTabSz="342900" rtl="0" eaLnBrk="1" fontAlgn="base" hangingPunct="1">
                <a:spcBef>
                  <a:spcPts val="6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63550" indent="-238125" algn="l" defTabSz="342900" rtl="0" eaLnBrk="1" fontAlgn="base" hangingPunct="1">
                <a:spcBef>
                  <a:spcPts val="6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8975" indent="-225425" algn="l" defTabSz="342900" rtl="0" eaLnBrk="1" fontAlgn="base" hangingPunct="1">
                <a:spcBef>
                  <a:spcPts val="6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5425" algn="l" defTabSz="342900" rtl="0" eaLnBrk="1" fontAlgn="base" hangingPunct="1">
                <a:spcBef>
                  <a:spcPts val="6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39825" indent="-225425" algn="l" defTabSz="342900" rtl="0" eaLnBrk="1" fontAlgn="base" hangingPunct="1">
                <a:spcBef>
                  <a:spcPts val="6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203200" lvl="1" indent="-203200">
                <a:lnSpc>
                  <a:spcPct val="150000"/>
                </a:lnSpc>
                <a:spcBef>
                  <a:spcPts val="0"/>
                </a:spcBef>
                <a:buClrTx/>
                <a:buSzPct val="120000"/>
                <a:buFont typeface="Wingdings" panose="05000000000000000000" pitchFamily="2" charset="2"/>
                <a:buChar char="§"/>
                <a:tabLst>
                  <a:tab pos="188913" algn="l"/>
                </a:tabLst>
                <a:defRPr/>
              </a:pPr>
              <a:r>
                <a:rPr lang="en-US" sz="1200" dirty="0">
                  <a:solidFill>
                    <a:schemeClr val="bg1">
                      <a:lumMod val="10000"/>
                    </a:schemeClr>
                  </a:solidFill>
                  <a:cs typeface="Times New Roman" panose="02020603050405020304" pitchFamily="18" charset="0"/>
                </a:rPr>
                <a:t>Script and environment health check</a:t>
              </a:r>
            </a:p>
            <a:p>
              <a:pPr marL="203200" lvl="1" indent="-203200">
                <a:lnSpc>
                  <a:spcPct val="150000"/>
                </a:lnSpc>
                <a:spcBef>
                  <a:spcPts val="0"/>
                </a:spcBef>
                <a:buClrTx/>
                <a:buSzPct val="120000"/>
                <a:buFont typeface="Wingdings" panose="05000000000000000000" pitchFamily="2" charset="2"/>
                <a:buChar char="§"/>
                <a:tabLst>
                  <a:tab pos="188913" algn="l"/>
                </a:tabLst>
                <a:defRPr/>
              </a:pPr>
              <a:r>
                <a:rPr lang="en-US" sz="1200" dirty="0">
                  <a:solidFill>
                    <a:schemeClr val="bg1">
                      <a:lumMod val="10000"/>
                    </a:schemeClr>
                  </a:solidFill>
                  <a:cs typeface="Times New Roman" panose="02020603050405020304" pitchFamily="18" charset="0"/>
                </a:rPr>
                <a:t>Test execution in profiling approach</a:t>
              </a:r>
            </a:p>
            <a:p>
              <a:pPr marL="203200" lvl="1" indent="-203200">
                <a:lnSpc>
                  <a:spcPct val="150000"/>
                </a:lnSpc>
                <a:spcBef>
                  <a:spcPts val="0"/>
                </a:spcBef>
                <a:buClrTx/>
                <a:buSzPct val="120000"/>
                <a:buFont typeface="Wingdings" panose="05000000000000000000" pitchFamily="2" charset="2"/>
                <a:buChar char="§"/>
                <a:tabLst>
                  <a:tab pos="188913" algn="l"/>
                </a:tabLst>
                <a:defRPr/>
              </a:pPr>
              <a:r>
                <a:rPr lang="en-US" sz="1200" dirty="0">
                  <a:solidFill>
                    <a:schemeClr val="bg1">
                      <a:lumMod val="10000"/>
                    </a:schemeClr>
                  </a:solidFill>
                  <a:cs typeface="Times New Roman" panose="02020603050405020304" pitchFamily="18" charset="0"/>
                </a:rPr>
                <a:t>Monitor execution</a:t>
              </a:r>
            </a:p>
            <a:p>
              <a:pPr marL="203200" lvl="1" indent="-203200">
                <a:lnSpc>
                  <a:spcPct val="150000"/>
                </a:lnSpc>
                <a:spcBef>
                  <a:spcPts val="0"/>
                </a:spcBef>
                <a:buClrTx/>
                <a:buSzPct val="120000"/>
                <a:buFont typeface="Wingdings" panose="05000000000000000000" pitchFamily="2" charset="2"/>
                <a:buChar char="§"/>
                <a:tabLst>
                  <a:tab pos="188913" algn="l"/>
                </a:tabLst>
                <a:defRPr/>
              </a:pPr>
              <a:r>
                <a:rPr lang="en-US" sz="1200" dirty="0">
                  <a:solidFill>
                    <a:schemeClr val="bg1">
                      <a:lumMod val="10000"/>
                    </a:schemeClr>
                  </a:solidFill>
                  <a:cs typeface="Times New Roman" panose="02020603050405020304" pitchFamily="18" charset="0"/>
                </a:rPr>
                <a:t>Collate test results</a:t>
              </a:r>
            </a:p>
            <a:p>
              <a:pPr marL="203200" lvl="1" indent="-203200">
                <a:lnSpc>
                  <a:spcPct val="150000"/>
                </a:lnSpc>
                <a:spcBef>
                  <a:spcPts val="0"/>
                </a:spcBef>
                <a:buClrTx/>
                <a:buSzPct val="120000"/>
                <a:buFont typeface="Wingdings" panose="05000000000000000000" pitchFamily="2" charset="2"/>
                <a:buChar char="§"/>
                <a:tabLst>
                  <a:tab pos="188913" algn="l"/>
                </a:tabLst>
                <a:defRPr/>
              </a:pPr>
              <a:r>
                <a:rPr lang="en-US" sz="1200" dirty="0">
                  <a:solidFill>
                    <a:schemeClr val="bg1">
                      <a:lumMod val="10000"/>
                    </a:schemeClr>
                  </a:solidFill>
                  <a:cs typeface="Times New Roman" panose="02020603050405020304" pitchFamily="18" charset="0"/>
                </a:rPr>
                <a:t>Analyze test results</a:t>
              </a:r>
            </a:p>
            <a:p>
              <a:pPr marL="203200" lvl="1" indent="-203200">
                <a:lnSpc>
                  <a:spcPct val="150000"/>
                </a:lnSpc>
                <a:spcBef>
                  <a:spcPts val="0"/>
                </a:spcBef>
                <a:buClrTx/>
                <a:buSzPct val="120000"/>
                <a:buFont typeface="Wingdings" panose="05000000000000000000" pitchFamily="2" charset="2"/>
                <a:buChar char="§"/>
                <a:tabLst>
                  <a:tab pos="188913" algn="l"/>
                </a:tabLst>
                <a:defRPr/>
              </a:pPr>
              <a:r>
                <a:rPr lang="en-US" sz="1200" dirty="0">
                  <a:solidFill>
                    <a:schemeClr val="bg1">
                      <a:lumMod val="10000"/>
                    </a:schemeClr>
                  </a:solidFill>
                  <a:cs typeface="Times New Roman" panose="02020603050405020304" pitchFamily="18" charset="0"/>
                </a:rPr>
                <a:t>Execution summary report</a:t>
              </a:r>
            </a:p>
          </p:txBody>
        </p:sp>
        <p:sp>
          <p:nvSpPr>
            <p:cNvPr id="103" name="Content Placeholder 2">
              <a:extLst>
                <a:ext uri="{FF2B5EF4-FFF2-40B4-BE49-F238E27FC236}">
                  <a16:creationId xmlns:a16="http://schemas.microsoft.com/office/drawing/2014/main" xmlns="" id="{CDCB66EA-F100-48F5-BA24-ABA1A6B88697}"/>
                </a:ext>
              </a:extLst>
            </p:cNvPr>
            <p:cNvSpPr txBox="1">
              <a:spLocks/>
            </p:cNvSpPr>
            <p:nvPr/>
          </p:nvSpPr>
          <p:spPr bwMode="gray">
            <a:xfrm>
              <a:off x="9495674" y="2100689"/>
              <a:ext cx="2133439" cy="796821"/>
            </a:xfrm>
            <a:prstGeom prst="rect">
              <a:avLst/>
            </a:prstGeom>
          </p:spPr>
          <p:txBody>
            <a:bodyPr wrap="square" lIns="0" tIns="0" rIns="0" bIns="0">
              <a:spAutoFit/>
            </a:bodyPr>
            <a:lstStyle>
              <a:lvl1pPr marL="225425" indent="-225425" algn="l" defTabSz="342900" rtl="0" eaLnBrk="1" fontAlgn="base" hangingPunct="1">
                <a:spcBef>
                  <a:spcPts val="6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63550" indent="-238125" algn="l" defTabSz="342900" rtl="0" eaLnBrk="1" fontAlgn="base" hangingPunct="1">
                <a:spcBef>
                  <a:spcPts val="6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8975" indent="-225425" algn="l" defTabSz="342900" rtl="0" eaLnBrk="1" fontAlgn="base" hangingPunct="1">
                <a:spcBef>
                  <a:spcPts val="6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5425" algn="l" defTabSz="342900" rtl="0" eaLnBrk="1" fontAlgn="base" hangingPunct="1">
                <a:spcBef>
                  <a:spcPts val="6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39825" indent="-225425" algn="l" defTabSz="342900" rtl="0" eaLnBrk="1" fontAlgn="base" hangingPunct="1">
                <a:spcBef>
                  <a:spcPts val="6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203200" lvl="1" indent="-203200">
                <a:lnSpc>
                  <a:spcPct val="150000"/>
                </a:lnSpc>
                <a:spcBef>
                  <a:spcPts val="0"/>
                </a:spcBef>
                <a:buClrTx/>
                <a:buSzPct val="120000"/>
                <a:buFont typeface="Wingdings" panose="05000000000000000000" pitchFamily="2" charset="2"/>
                <a:buChar char="§"/>
                <a:tabLst>
                  <a:tab pos="188913" algn="l"/>
                </a:tabLst>
                <a:defRPr/>
              </a:pPr>
              <a:r>
                <a:rPr lang="en-US" sz="1200" dirty="0">
                  <a:solidFill>
                    <a:schemeClr val="bg1">
                      <a:lumMod val="10000"/>
                    </a:schemeClr>
                  </a:solidFill>
                  <a:cs typeface="Times New Roman" panose="02020603050405020304" pitchFamily="18" charset="0"/>
                </a:rPr>
                <a:t>Test results consolidation</a:t>
              </a:r>
            </a:p>
            <a:p>
              <a:pPr marL="203200" lvl="1" indent="-203200">
                <a:lnSpc>
                  <a:spcPct val="150000"/>
                </a:lnSpc>
                <a:spcBef>
                  <a:spcPts val="0"/>
                </a:spcBef>
                <a:buClrTx/>
                <a:buSzPct val="120000"/>
                <a:buFont typeface="Wingdings" panose="05000000000000000000" pitchFamily="2" charset="2"/>
                <a:buChar char="§"/>
                <a:tabLst>
                  <a:tab pos="188913" algn="l"/>
                </a:tabLst>
                <a:defRPr/>
              </a:pPr>
              <a:r>
                <a:rPr lang="en-US" sz="1200" dirty="0">
                  <a:solidFill>
                    <a:schemeClr val="bg1">
                      <a:lumMod val="10000"/>
                    </a:schemeClr>
                  </a:solidFill>
                  <a:cs typeface="Times New Roman" panose="02020603050405020304" pitchFamily="18" charset="0"/>
                </a:rPr>
                <a:t>Final Performance Test report preparation &amp; presentation</a:t>
              </a:r>
            </a:p>
          </p:txBody>
        </p:sp>
        <p:sp>
          <p:nvSpPr>
            <p:cNvPr id="104" name="Content Placeholder 2">
              <a:extLst>
                <a:ext uri="{FF2B5EF4-FFF2-40B4-BE49-F238E27FC236}">
                  <a16:creationId xmlns:a16="http://schemas.microsoft.com/office/drawing/2014/main" xmlns="" id="{DDF03202-5C61-431E-8360-B57D4A9596DE}"/>
                </a:ext>
              </a:extLst>
            </p:cNvPr>
            <p:cNvSpPr txBox="1">
              <a:spLocks/>
            </p:cNvSpPr>
            <p:nvPr/>
          </p:nvSpPr>
          <p:spPr bwMode="gray">
            <a:xfrm>
              <a:off x="500576" y="2039009"/>
              <a:ext cx="2096814" cy="3046988"/>
            </a:xfrm>
            <a:prstGeom prst="rect">
              <a:avLst/>
            </a:prstGeom>
          </p:spPr>
          <p:txBody>
            <a:bodyPr wrap="square" lIns="0" tIns="0" rIns="0" bIns="0">
              <a:spAutoFit/>
            </a:bodyPr>
            <a:lstStyle>
              <a:lvl1pPr marL="225425" indent="-225425" algn="l" defTabSz="342900" rtl="0" eaLnBrk="1" fontAlgn="base" hangingPunct="1">
                <a:spcBef>
                  <a:spcPts val="6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63550" indent="-238125" algn="l" defTabSz="342900" rtl="0" eaLnBrk="1" fontAlgn="base" hangingPunct="1">
                <a:spcBef>
                  <a:spcPts val="6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8975" indent="-225425" algn="l" defTabSz="342900" rtl="0" eaLnBrk="1" fontAlgn="base" hangingPunct="1">
                <a:spcBef>
                  <a:spcPts val="6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5425" algn="l" defTabSz="342900" rtl="0" eaLnBrk="1" fontAlgn="base" hangingPunct="1">
                <a:spcBef>
                  <a:spcPts val="6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39825" indent="-225425" algn="l" defTabSz="342900" rtl="0" eaLnBrk="1" fontAlgn="base" hangingPunct="1">
                <a:spcBef>
                  <a:spcPts val="6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203200" marR="0" lvl="1" indent="-203200" algn="l" defTabSz="342900" rtl="0" eaLnBrk="1" fontAlgn="base" latinLnBrk="0" hangingPunct="1">
                <a:lnSpc>
                  <a:spcPct val="150000"/>
                </a:lnSpc>
                <a:spcBef>
                  <a:spcPts val="0"/>
                </a:spcBef>
                <a:spcAft>
                  <a:spcPct val="0"/>
                </a:spcAft>
                <a:buClrTx/>
                <a:buSzPct val="120000"/>
                <a:buFont typeface="Wingdings" panose="05000000000000000000" pitchFamily="2" charset="2"/>
                <a:buChar char="§"/>
                <a:tabLst>
                  <a:tab pos="188913" algn="l"/>
                </a:tabLst>
                <a:defRPr/>
              </a:pPr>
              <a:r>
                <a:rPr kumimoji="0" lang="en-US" sz="1200" b="0" i="0" u="none" strike="noStrike" kern="1200" cap="none" spc="0" normalizeH="0" baseline="0" noProof="0" dirty="0">
                  <a:ln>
                    <a:noFill/>
                  </a:ln>
                  <a:solidFill>
                    <a:schemeClr val="bg1">
                      <a:lumMod val="10000"/>
                    </a:schemeClr>
                  </a:solidFill>
                  <a:effectLst/>
                  <a:uLnTx/>
                  <a:uFillTx/>
                  <a:latin typeface="Calibri"/>
                  <a:ea typeface="MS PGothic" pitchFamily="34" charset="-128"/>
                  <a:cs typeface="Times New Roman" panose="02020603050405020304" pitchFamily="18" charset="0"/>
                </a:rPr>
                <a:t>Define scope &amp; objective</a:t>
              </a:r>
            </a:p>
            <a:p>
              <a:pPr marL="203200" marR="0" lvl="1" indent="-203200" algn="l" defTabSz="342900" rtl="0" eaLnBrk="1" fontAlgn="base" latinLnBrk="0" hangingPunct="1">
                <a:lnSpc>
                  <a:spcPct val="150000"/>
                </a:lnSpc>
                <a:spcBef>
                  <a:spcPts val="0"/>
                </a:spcBef>
                <a:spcAft>
                  <a:spcPct val="0"/>
                </a:spcAft>
                <a:buClrTx/>
                <a:buSzPct val="120000"/>
                <a:buFont typeface="Wingdings" panose="05000000000000000000" pitchFamily="2" charset="2"/>
                <a:buChar char="§"/>
                <a:tabLst>
                  <a:tab pos="188913" algn="l"/>
                </a:tabLst>
                <a:defRPr/>
              </a:pPr>
              <a:r>
                <a:rPr kumimoji="0" lang="en-US" sz="1200" b="0" i="0" u="none" strike="noStrike" kern="1200" cap="none" spc="0" normalizeH="0" baseline="0" noProof="0" dirty="0">
                  <a:ln>
                    <a:noFill/>
                  </a:ln>
                  <a:solidFill>
                    <a:schemeClr val="bg1">
                      <a:lumMod val="10000"/>
                    </a:schemeClr>
                  </a:solidFill>
                  <a:effectLst/>
                  <a:uLnTx/>
                  <a:uFillTx/>
                  <a:latin typeface="Calibri"/>
                  <a:ea typeface="MS PGothic" pitchFamily="34" charset="-128"/>
                  <a:cs typeface="Times New Roman" panose="02020603050405020304" pitchFamily="18" charset="0"/>
                </a:rPr>
                <a:t>NFR gathering &amp; understanding</a:t>
              </a:r>
            </a:p>
            <a:p>
              <a:pPr marL="203200" marR="0" lvl="1" indent="-203200" algn="l" defTabSz="342900" rtl="0" eaLnBrk="1" fontAlgn="base" latinLnBrk="0" hangingPunct="1">
                <a:lnSpc>
                  <a:spcPct val="150000"/>
                </a:lnSpc>
                <a:spcBef>
                  <a:spcPts val="0"/>
                </a:spcBef>
                <a:spcAft>
                  <a:spcPct val="0"/>
                </a:spcAft>
                <a:buClrTx/>
                <a:buSzPct val="120000"/>
                <a:buFont typeface="Wingdings" panose="05000000000000000000" pitchFamily="2" charset="2"/>
                <a:buChar char="§"/>
                <a:tabLst>
                  <a:tab pos="188913" algn="l"/>
                </a:tabLst>
                <a:defRPr/>
              </a:pPr>
              <a:r>
                <a:rPr kumimoji="0" lang="en-US" sz="1200" b="0" i="0" u="none" strike="noStrike" kern="1200" cap="none" spc="0" normalizeH="0" baseline="0" noProof="0" dirty="0">
                  <a:ln>
                    <a:noFill/>
                  </a:ln>
                  <a:solidFill>
                    <a:schemeClr val="bg1">
                      <a:lumMod val="10000"/>
                    </a:schemeClr>
                  </a:solidFill>
                  <a:effectLst/>
                  <a:uLnTx/>
                  <a:uFillTx/>
                  <a:latin typeface="Calibri"/>
                  <a:ea typeface="MS PGothic" pitchFamily="34" charset="-128"/>
                  <a:cs typeface="Times New Roman" panose="02020603050405020304" pitchFamily="18" charset="0"/>
                </a:rPr>
                <a:t>Tool compatibility check</a:t>
              </a:r>
            </a:p>
            <a:p>
              <a:pPr marL="203200" marR="0" lvl="1" indent="-203200" algn="l" defTabSz="342900" rtl="0" eaLnBrk="1" fontAlgn="base" latinLnBrk="0" hangingPunct="1">
                <a:lnSpc>
                  <a:spcPct val="150000"/>
                </a:lnSpc>
                <a:spcBef>
                  <a:spcPts val="0"/>
                </a:spcBef>
                <a:spcAft>
                  <a:spcPct val="0"/>
                </a:spcAft>
                <a:buClrTx/>
                <a:buSzPct val="120000"/>
                <a:buFont typeface="Wingdings" panose="05000000000000000000" pitchFamily="2" charset="2"/>
                <a:buChar char="§"/>
                <a:tabLst>
                  <a:tab pos="188913" algn="l"/>
                </a:tabLst>
                <a:defRPr/>
              </a:pPr>
              <a:r>
                <a:rPr kumimoji="0" lang="en-US" sz="1200" b="0" i="0" u="none" strike="noStrike" kern="1200" cap="none" spc="0" normalizeH="0" baseline="0" noProof="0" dirty="0">
                  <a:ln>
                    <a:noFill/>
                  </a:ln>
                  <a:solidFill>
                    <a:schemeClr val="bg1">
                      <a:lumMod val="10000"/>
                    </a:schemeClr>
                  </a:solidFill>
                  <a:effectLst/>
                  <a:uLnTx/>
                  <a:uFillTx/>
                  <a:latin typeface="Calibri"/>
                  <a:ea typeface="MS PGothic" pitchFamily="34" charset="-128"/>
                  <a:cs typeface="Times New Roman" panose="02020603050405020304" pitchFamily="18" charset="0"/>
                </a:rPr>
                <a:t>Application walkthrough</a:t>
              </a:r>
              <a:endParaRPr kumimoji="0" lang="en-IN" sz="1200" b="0" i="0" u="none" strike="noStrike" kern="1200" cap="none" spc="0" normalizeH="0" baseline="0" noProof="0" dirty="0">
                <a:ln>
                  <a:noFill/>
                </a:ln>
                <a:solidFill>
                  <a:schemeClr val="bg1">
                    <a:lumMod val="10000"/>
                  </a:schemeClr>
                </a:solidFill>
                <a:effectLst/>
                <a:uLnTx/>
                <a:uFillTx/>
                <a:latin typeface="Calibri"/>
                <a:ea typeface="MS PGothic" pitchFamily="34" charset="-128"/>
                <a:cs typeface="Times New Roman" panose="02020603050405020304" pitchFamily="18" charset="0"/>
              </a:endParaRPr>
            </a:p>
            <a:p>
              <a:pPr marL="203200" marR="0" lvl="1" indent="-203200" algn="l" defTabSz="342900" rtl="0" eaLnBrk="1" fontAlgn="base" latinLnBrk="0" hangingPunct="1">
                <a:lnSpc>
                  <a:spcPct val="150000"/>
                </a:lnSpc>
                <a:spcBef>
                  <a:spcPts val="0"/>
                </a:spcBef>
                <a:spcAft>
                  <a:spcPct val="0"/>
                </a:spcAft>
                <a:buClrTx/>
                <a:buSzPct val="120000"/>
                <a:buFont typeface="Wingdings" panose="05000000000000000000" pitchFamily="2" charset="2"/>
                <a:buChar char="§"/>
                <a:tabLst>
                  <a:tab pos="188913" algn="l"/>
                </a:tabLst>
                <a:defRPr/>
              </a:pPr>
              <a:r>
                <a:rPr kumimoji="0" lang="en-US" sz="1200" b="0" i="0" u="none" strike="noStrike" kern="1200" cap="none" spc="0" normalizeH="0" baseline="0" noProof="0" dirty="0">
                  <a:ln>
                    <a:noFill/>
                  </a:ln>
                  <a:solidFill>
                    <a:schemeClr val="bg1">
                      <a:lumMod val="10000"/>
                    </a:schemeClr>
                  </a:solidFill>
                  <a:effectLst/>
                  <a:uLnTx/>
                  <a:uFillTx/>
                  <a:latin typeface="Calibri"/>
                  <a:ea typeface="MS PGothic" pitchFamily="34" charset="-128"/>
                  <a:cs typeface="Times New Roman" panose="02020603050405020304" pitchFamily="18" charset="0"/>
                </a:rPr>
                <a:t>Technical architecture</a:t>
              </a:r>
            </a:p>
            <a:p>
              <a:pPr marL="203200" marR="0" lvl="1" indent="-203200" algn="l" defTabSz="342900" rtl="0" eaLnBrk="1" fontAlgn="base" latinLnBrk="0" hangingPunct="1">
                <a:lnSpc>
                  <a:spcPct val="150000"/>
                </a:lnSpc>
                <a:spcBef>
                  <a:spcPts val="0"/>
                </a:spcBef>
                <a:spcAft>
                  <a:spcPct val="0"/>
                </a:spcAft>
                <a:buClrTx/>
                <a:buSzPct val="120000"/>
                <a:buFont typeface="Wingdings" panose="05000000000000000000" pitchFamily="2" charset="2"/>
                <a:buChar char="§"/>
                <a:tabLst>
                  <a:tab pos="188913" algn="l"/>
                </a:tabLst>
                <a:defRPr/>
              </a:pPr>
              <a:r>
                <a:rPr kumimoji="0" lang="en-US" sz="1200" b="0" i="0" u="none" strike="noStrike" kern="1200" cap="none" spc="0" normalizeH="0" baseline="0" noProof="0" dirty="0">
                  <a:ln>
                    <a:noFill/>
                  </a:ln>
                  <a:solidFill>
                    <a:schemeClr val="bg1">
                      <a:lumMod val="10000"/>
                    </a:schemeClr>
                  </a:solidFill>
                  <a:effectLst/>
                  <a:uLnTx/>
                  <a:uFillTx/>
                  <a:latin typeface="Calibri"/>
                  <a:ea typeface="MS PGothic" pitchFamily="34" charset="-128"/>
                  <a:cs typeface="Times New Roman" panose="02020603050405020304" pitchFamily="18" charset="0"/>
                </a:rPr>
                <a:t>Finalize Transaction scope</a:t>
              </a:r>
            </a:p>
            <a:p>
              <a:pPr marL="203200" marR="0" lvl="1" indent="-203200" algn="l" defTabSz="342900" rtl="0" eaLnBrk="1" fontAlgn="base" latinLnBrk="0" hangingPunct="1">
                <a:lnSpc>
                  <a:spcPct val="150000"/>
                </a:lnSpc>
                <a:spcBef>
                  <a:spcPts val="0"/>
                </a:spcBef>
                <a:spcAft>
                  <a:spcPct val="0"/>
                </a:spcAft>
                <a:buClrTx/>
                <a:buSzPct val="120000"/>
                <a:buFont typeface="Wingdings" panose="05000000000000000000" pitchFamily="2" charset="2"/>
                <a:buChar char="§"/>
                <a:tabLst>
                  <a:tab pos="188913" algn="l"/>
                </a:tabLst>
                <a:defRPr/>
              </a:pPr>
              <a:r>
                <a:rPr kumimoji="0" lang="en-US" sz="1200" b="0" i="0" u="none" strike="noStrike" kern="1200" cap="none" spc="0" normalizeH="0" baseline="0" noProof="0" dirty="0">
                  <a:ln>
                    <a:noFill/>
                  </a:ln>
                  <a:solidFill>
                    <a:schemeClr val="bg1">
                      <a:lumMod val="10000"/>
                    </a:schemeClr>
                  </a:solidFill>
                  <a:effectLst/>
                  <a:uLnTx/>
                  <a:uFillTx/>
                  <a:latin typeface="Calibri"/>
                  <a:ea typeface="MS PGothic" pitchFamily="34" charset="-128"/>
                  <a:cs typeface="Times New Roman" panose="02020603050405020304" pitchFamily="18" charset="0"/>
                </a:rPr>
                <a:t>Environment analysis</a:t>
              </a:r>
            </a:p>
            <a:p>
              <a:pPr marL="203200" marR="0" lvl="1" indent="-203200" algn="l" defTabSz="342900" rtl="0" eaLnBrk="1" fontAlgn="base" latinLnBrk="0" hangingPunct="1">
                <a:lnSpc>
                  <a:spcPct val="150000"/>
                </a:lnSpc>
                <a:spcBef>
                  <a:spcPts val="0"/>
                </a:spcBef>
                <a:spcAft>
                  <a:spcPct val="0"/>
                </a:spcAft>
                <a:buClrTx/>
                <a:buSzPct val="120000"/>
                <a:buFont typeface="Wingdings" panose="05000000000000000000" pitchFamily="2" charset="2"/>
                <a:buChar char="§"/>
                <a:tabLst>
                  <a:tab pos="188913" algn="l"/>
                </a:tabLst>
                <a:defRPr/>
              </a:pPr>
              <a:r>
                <a:rPr kumimoji="0" lang="en-US" sz="1200" b="0" i="0" u="none" strike="noStrike" kern="1200" cap="none" spc="0" normalizeH="0" baseline="0" noProof="0" dirty="0">
                  <a:ln>
                    <a:noFill/>
                  </a:ln>
                  <a:solidFill>
                    <a:schemeClr val="bg1">
                      <a:lumMod val="10000"/>
                    </a:schemeClr>
                  </a:solidFill>
                  <a:effectLst/>
                  <a:uLnTx/>
                  <a:uFillTx/>
                  <a:latin typeface="Calibri"/>
                  <a:ea typeface="MS PGothic" pitchFamily="34" charset="-128"/>
                  <a:cs typeface="Times New Roman" panose="02020603050405020304" pitchFamily="18" charset="0"/>
                </a:rPr>
                <a:t>Define work load model</a:t>
              </a:r>
            </a:p>
            <a:p>
              <a:pPr marL="203200" marR="0" lvl="1" indent="-203200" algn="l" defTabSz="342900" rtl="0" eaLnBrk="1" fontAlgn="base" latinLnBrk="0" hangingPunct="1">
                <a:lnSpc>
                  <a:spcPct val="150000"/>
                </a:lnSpc>
                <a:spcBef>
                  <a:spcPts val="0"/>
                </a:spcBef>
                <a:spcAft>
                  <a:spcPct val="0"/>
                </a:spcAft>
                <a:buClrTx/>
                <a:buSzPct val="120000"/>
                <a:buFont typeface="Wingdings" panose="05000000000000000000" pitchFamily="2" charset="2"/>
                <a:buChar char="§"/>
                <a:tabLst>
                  <a:tab pos="188913" algn="l"/>
                </a:tabLst>
                <a:defRPr/>
              </a:pPr>
              <a:r>
                <a:rPr kumimoji="0" lang="en-US" sz="1200" b="0" i="0" u="none" strike="noStrike" kern="1200" cap="none" spc="0" normalizeH="0" baseline="0" noProof="0" dirty="0">
                  <a:ln>
                    <a:noFill/>
                  </a:ln>
                  <a:solidFill>
                    <a:schemeClr val="bg1">
                      <a:lumMod val="10000"/>
                    </a:schemeClr>
                  </a:solidFill>
                  <a:effectLst/>
                  <a:uLnTx/>
                  <a:uFillTx/>
                  <a:latin typeface="Calibri"/>
                  <a:ea typeface="MS PGothic" pitchFamily="34" charset="-128"/>
                  <a:cs typeface="Times New Roman" panose="02020603050405020304" pitchFamily="18" charset="0"/>
                </a:rPr>
                <a:t>Risk analysis &amp; mitigation</a:t>
              </a:r>
            </a:p>
            <a:p>
              <a:pPr marL="203200" marR="0" lvl="1" indent="-203200" algn="l" defTabSz="342900" rtl="0" eaLnBrk="1" fontAlgn="base" latinLnBrk="0" hangingPunct="1">
                <a:lnSpc>
                  <a:spcPct val="150000"/>
                </a:lnSpc>
                <a:spcBef>
                  <a:spcPts val="0"/>
                </a:spcBef>
                <a:spcAft>
                  <a:spcPct val="0"/>
                </a:spcAft>
                <a:buClrTx/>
                <a:buSzPct val="120000"/>
                <a:buFont typeface="Wingdings" panose="05000000000000000000" pitchFamily="2" charset="2"/>
                <a:buChar char="§"/>
                <a:tabLst>
                  <a:tab pos="188913" algn="l"/>
                </a:tabLst>
                <a:defRPr/>
              </a:pPr>
              <a:r>
                <a:rPr kumimoji="0" lang="en-US" sz="1200" b="0" i="0" u="none" strike="noStrike" kern="1200" cap="none" spc="0" normalizeH="0" baseline="0" noProof="0" dirty="0">
                  <a:ln>
                    <a:noFill/>
                  </a:ln>
                  <a:solidFill>
                    <a:schemeClr val="bg1">
                      <a:lumMod val="10000"/>
                    </a:schemeClr>
                  </a:solidFill>
                  <a:effectLst/>
                  <a:uLnTx/>
                  <a:uFillTx/>
                  <a:latin typeface="Calibri"/>
                  <a:ea typeface="MS PGothic" pitchFamily="34" charset="-128"/>
                  <a:cs typeface="Times New Roman" panose="02020603050405020304" pitchFamily="18" charset="0"/>
                </a:rPr>
                <a:t>Publish Test plan</a:t>
              </a:r>
            </a:p>
          </p:txBody>
        </p:sp>
        <p:cxnSp>
          <p:nvCxnSpPr>
            <p:cNvPr id="105" name="Straight Connector 104">
              <a:extLst>
                <a:ext uri="{FF2B5EF4-FFF2-40B4-BE49-F238E27FC236}">
                  <a16:creationId xmlns:a16="http://schemas.microsoft.com/office/drawing/2014/main" xmlns="" id="{020450F1-5312-4BD3-A15B-3A94E491B9C5}"/>
                </a:ext>
              </a:extLst>
            </p:cNvPr>
            <p:cNvCxnSpPr/>
            <p:nvPr/>
          </p:nvCxnSpPr>
          <p:spPr>
            <a:xfrm>
              <a:off x="2653331" y="2024584"/>
              <a:ext cx="3572" cy="2784414"/>
            </a:xfrm>
            <a:prstGeom prst="line">
              <a:avLst/>
            </a:prstGeom>
            <a:noFill/>
            <a:ln w="9525" cap="flat" cmpd="sng" algn="ctr">
              <a:solidFill>
                <a:sysClr val="window" lastClr="FFFFFF">
                  <a:lumMod val="65000"/>
                </a:sysClr>
              </a:solidFill>
              <a:prstDash val="sysDash"/>
            </a:ln>
            <a:effectLst/>
          </p:spPr>
        </p:cxnSp>
        <p:cxnSp>
          <p:nvCxnSpPr>
            <p:cNvPr id="106" name="Straight Connector 105">
              <a:extLst>
                <a:ext uri="{FF2B5EF4-FFF2-40B4-BE49-F238E27FC236}">
                  <a16:creationId xmlns:a16="http://schemas.microsoft.com/office/drawing/2014/main" xmlns="" id="{BF36DBEB-C1FC-4228-9F3F-A961C7C17C99}"/>
                </a:ext>
              </a:extLst>
            </p:cNvPr>
            <p:cNvCxnSpPr/>
            <p:nvPr/>
          </p:nvCxnSpPr>
          <p:spPr>
            <a:xfrm flipH="1">
              <a:off x="7165740" y="2021609"/>
              <a:ext cx="1126" cy="2787389"/>
            </a:xfrm>
            <a:prstGeom prst="line">
              <a:avLst/>
            </a:prstGeom>
            <a:noFill/>
            <a:ln w="9525" cap="flat" cmpd="sng" algn="ctr">
              <a:solidFill>
                <a:sysClr val="window" lastClr="FFFFFF">
                  <a:lumMod val="65000"/>
                </a:sysClr>
              </a:solidFill>
              <a:prstDash val="sysDash"/>
            </a:ln>
            <a:effectLst/>
          </p:spPr>
        </p:cxnSp>
        <p:cxnSp>
          <p:nvCxnSpPr>
            <p:cNvPr id="107" name="Straight Connector 106">
              <a:extLst>
                <a:ext uri="{FF2B5EF4-FFF2-40B4-BE49-F238E27FC236}">
                  <a16:creationId xmlns:a16="http://schemas.microsoft.com/office/drawing/2014/main" xmlns="" id="{51ECDE12-4375-4A75-AF49-54C13DA4E213}"/>
                </a:ext>
              </a:extLst>
            </p:cNvPr>
            <p:cNvCxnSpPr/>
            <p:nvPr/>
          </p:nvCxnSpPr>
          <p:spPr>
            <a:xfrm>
              <a:off x="9414410" y="2021609"/>
              <a:ext cx="16690" cy="2787389"/>
            </a:xfrm>
            <a:prstGeom prst="line">
              <a:avLst/>
            </a:prstGeom>
            <a:noFill/>
            <a:ln w="9525" cap="flat" cmpd="sng" algn="ctr">
              <a:solidFill>
                <a:sysClr val="window" lastClr="FFFFFF">
                  <a:lumMod val="65000"/>
                </a:sysClr>
              </a:solidFill>
              <a:prstDash val="sysDash"/>
            </a:ln>
            <a:effectLst/>
          </p:spPr>
        </p:cxnSp>
        <p:pic>
          <p:nvPicPr>
            <p:cNvPr id="108" name="Picture 107">
              <a:extLst>
                <a:ext uri="{FF2B5EF4-FFF2-40B4-BE49-F238E27FC236}">
                  <a16:creationId xmlns:a16="http://schemas.microsoft.com/office/drawing/2014/main" xmlns="" id="{55E8BB7B-160A-4F11-B758-3F0B9F1BC35E}"/>
                </a:ext>
              </a:extLst>
            </p:cNvPr>
            <p:cNvPicPr>
              <a:picLocks noChangeAspect="1"/>
            </p:cNvPicPr>
            <p:nvPr/>
          </p:nvPicPr>
          <p:blipFill>
            <a:blip r:embed="rId2"/>
            <a:stretch>
              <a:fillRect/>
            </a:stretch>
          </p:blipFill>
          <p:spPr>
            <a:xfrm>
              <a:off x="2462338" y="1378885"/>
              <a:ext cx="297373" cy="455237"/>
            </a:xfrm>
            <a:prstGeom prst="rect">
              <a:avLst/>
            </a:prstGeom>
          </p:spPr>
        </p:pic>
        <p:sp>
          <p:nvSpPr>
            <p:cNvPr id="109" name="Chevron 40">
              <a:extLst>
                <a:ext uri="{FF2B5EF4-FFF2-40B4-BE49-F238E27FC236}">
                  <a16:creationId xmlns:a16="http://schemas.microsoft.com/office/drawing/2014/main" xmlns="" id="{7CB00E46-2A0F-4503-8FB2-5386F5F5010F}"/>
                </a:ext>
              </a:extLst>
            </p:cNvPr>
            <p:cNvSpPr/>
            <p:nvPr/>
          </p:nvSpPr>
          <p:spPr bwMode="gray">
            <a:xfrm>
              <a:off x="453581" y="5309119"/>
              <a:ext cx="2328326" cy="469899"/>
            </a:xfrm>
            <a:prstGeom prst="chevron">
              <a:avLst>
                <a:gd name="adj" fmla="val 25676"/>
              </a:avLst>
            </a:prstGeom>
            <a:solidFill>
              <a:srgbClr val="08338F">
                <a:hueOff val="0"/>
                <a:satOff val="0"/>
                <a:lumOff val="0"/>
                <a:alphaOff val="0"/>
              </a:srgbClr>
            </a:solidFill>
            <a:ln w="25400" cap="flat" cmpd="sng" algn="ctr">
              <a:solidFill>
                <a:sysClr val="window" lastClr="FFFFFF">
                  <a:hueOff val="0"/>
                  <a:satOff val="0"/>
                  <a:lumOff val="0"/>
                  <a:alphaOff val="0"/>
                </a:sysClr>
              </a:solidFill>
              <a:prstDash val="solid"/>
            </a:ln>
            <a:effectLst/>
          </p:spPr>
          <p:txBody>
            <a:bodyPr spcFirstLastPara="0" vert="horz" wrap="square" lIns="0" tIns="0" rIns="0" bIns="0" numCol="1" spcCol="1270" anchor="ctr" anchorCtr="0">
              <a:noAutofit/>
            </a:bodyPr>
            <a:lstStyle/>
            <a:p>
              <a:pPr marL="0" marR="0" lvl="0" indent="0" algn="ctr" defTabSz="666750" eaLnBrk="1" fontAlgn="auto" latinLnBrk="0" hangingPunct="1">
                <a:lnSpc>
                  <a:spcPct val="90000"/>
                </a:lnSpc>
                <a:spcBef>
                  <a:spcPct val="0"/>
                </a:spcBef>
                <a:spcAft>
                  <a:spcPct val="35000"/>
                </a:spcAft>
                <a:buClrTx/>
                <a:buSzTx/>
                <a:buFontTx/>
                <a:buNone/>
                <a:tabLst/>
                <a:defRPr/>
              </a:pPr>
              <a:r>
                <a:rPr kumimoji="0" lang="en-US" sz="1400" b="1" i="0" u="none" strike="noStrike" kern="0" cap="none" spc="0" normalizeH="0" baseline="0" noProof="0" dirty="0">
                  <a:ln>
                    <a:noFill/>
                  </a:ln>
                  <a:solidFill>
                    <a:sysClr val="window" lastClr="FFFFFF"/>
                  </a:solidFill>
                  <a:effectLst/>
                  <a:uLnTx/>
                  <a:uFillTx/>
                  <a:latin typeface="Calibri"/>
                  <a:ea typeface="+mn-ea"/>
                  <a:cs typeface="+mn-cs"/>
                </a:rPr>
                <a:t>Test Plan</a:t>
              </a:r>
              <a:endParaRPr kumimoji="0" lang="en-IN" sz="1400" b="1"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110" name="Chevron 41">
              <a:extLst>
                <a:ext uri="{FF2B5EF4-FFF2-40B4-BE49-F238E27FC236}">
                  <a16:creationId xmlns:a16="http://schemas.microsoft.com/office/drawing/2014/main" xmlns="" id="{EBFF43D5-B3EF-4FF8-B135-0AF4FB66FAFB}"/>
                </a:ext>
              </a:extLst>
            </p:cNvPr>
            <p:cNvSpPr/>
            <p:nvPr/>
          </p:nvSpPr>
          <p:spPr bwMode="gray">
            <a:xfrm>
              <a:off x="2733670" y="5316970"/>
              <a:ext cx="2250584" cy="469899"/>
            </a:xfrm>
            <a:prstGeom prst="chevron">
              <a:avLst>
                <a:gd name="adj" fmla="val 25676"/>
              </a:avLst>
            </a:prstGeom>
            <a:solidFill>
              <a:srgbClr val="4BACC6"/>
            </a:solidFill>
            <a:ln w="25400" cap="flat" cmpd="sng" algn="ctr">
              <a:solidFill>
                <a:sysClr val="window" lastClr="FFFFFF">
                  <a:hueOff val="0"/>
                  <a:satOff val="0"/>
                  <a:lumOff val="0"/>
                  <a:alphaOff val="0"/>
                </a:sysClr>
              </a:solidFill>
              <a:prstDash val="solid"/>
            </a:ln>
            <a:effectLst/>
          </p:spPr>
          <p:txBody>
            <a:bodyPr spcFirstLastPara="0" vert="horz" wrap="square" lIns="0" tIns="0" rIns="0" bIns="0" numCol="1" spcCol="1270" anchor="ctr" anchorCtr="0">
              <a:noAutofit/>
            </a:bodyPr>
            <a:lstStyle/>
            <a:p>
              <a:pPr marL="0" marR="0" lvl="0" indent="0" algn="ctr" defTabSz="666750" eaLnBrk="1" fontAlgn="auto" latinLnBrk="0" hangingPunct="1">
                <a:lnSpc>
                  <a:spcPct val="90000"/>
                </a:lnSpc>
                <a:spcBef>
                  <a:spcPts val="0"/>
                </a:spcBef>
                <a:spcAft>
                  <a:spcPct val="35000"/>
                </a:spcAft>
                <a:buClrTx/>
                <a:buSzTx/>
                <a:buFontTx/>
                <a:buNone/>
                <a:tabLst/>
                <a:defRPr/>
              </a:pPr>
              <a:r>
                <a:rPr kumimoji="0" lang="en-US" sz="1400" b="1" i="0" u="none" strike="noStrike" kern="0" cap="none" spc="0" normalizeH="0" baseline="0" noProof="0" dirty="0">
                  <a:ln>
                    <a:noFill/>
                  </a:ln>
                  <a:solidFill>
                    <a:sysClr val="window" lastClr="FFFFFF"/>
                  </a:solidFill>
                  <a:effectLst/>
                  <a:uLnTx/>
                  <a:uFillTx/>
                  <a:latin typeface="Calibri"/>
                  <a:ea typeface="+mn-ea"/>
                  <a:cs typeface="+mn-cs"/>
                </a:rPr>
                <a:t>Scripts </a:t>
              </a:r>
              <a:endParaRPr kumimoji="0" lang="en-IN" sz="1400" b="1"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111" name="Chevron 42">
              <a:extLst>
                <a:ext uri="{FF2B5EF4-FFF2-40B4-BE49-F238E27FC236}">
                  <a16:creationId xmlns:a16="http://schemas.microsoft.com/office/drawing/2014/main" xmlns="" id="{BE7EEA74-087A-45E8-B308-4E911DB8A5E3}"/>
                </a:ext>
              </a:extLst>
            </p:cNvPr>
            <p:cNvSpPr/>
            <p:nvPr/>
          </p:nvSpPr>
          <p:spPr bwMode="gray">
            <a:xfrm>
              <a:off x="4917679" y="5309946"/>
              <a:ext cx="4577995" cy="469899"/>
            </a:xfrm>
            <a:prstGeom prst="chevron">
              <a:avLst>
                <a:gd name="adj" fmla="val 25676"/>
              </a:avLst>
            </a:prstGeom>
            <a:solidFill>
              <a:sysClr val="windowText" lastClr="000000">
                <a:lumMod val="50000"/>
                <a:lumOff val="50000"/>
              </a:sysClr>
            </a:solidFill>
            <a:ln w="25400" cap="flat" cmpd="sng" algn="ctr">
              <a:solidFill>
                <a:sysClr val="window" lastClr="FFFFFF">
                  <a:hueOff val="0"/>
                  <a:satOff val="0"/>
                  <a:lumOff val="0"/>
                  <a:alphaOff val="0"/>
                </a:sysClr>
              </a:solidFill>
              <a:prstDash val="solid"/>
            </a:ln>
            <a:effectLst/>
          </p:spPr>
          <p:txBody>
            <a:bodyPr spcFirstLastPara="0" vert="horz" wrap="square" lIns="0" tIns="0" rIns="0" bIns="0" numCol="1" spcCol="1270" anchor="ctr" anchorCtr="0">
              <a:noAutofit/>
            </a:bodyPr>
            <a:lstStyle/>
            <a:p>
              <a:pPr marL="0" marR="0" lvl="0" indent="0" algn="ctr" defTabSz="666750" eaLnBrk="1" fontAlgn="auto" latinLnBrk="0" hangingPunct="1">
                <a:lnSpc>
                  <a:spcPct val="90000"/>
                </a:lnSpc>
                <a:spcBef>
                  <a:spcPts val="0"/>
                </a:spcBef>
                <a:spcAft>
                  <a:spcPct val="35000"/>
                </a:spcAft>
                <a:buClrTx/>
                <a:buSzTx/>
                <a:buFontTx/>
                <a:buNone/>
                <a:tabLst/>
                <a:defRPr/>
              </a:pPr>
              <a:r>
                <a:rPr kumimoji="0" lang="en-US" sz="1400" b="1" i="0" u="none" strike="noStrike" kern="0" cap="none" spc="0" normalizeH="0" baseline="0" noProof="0" dirty="0">
                  <a:ln>
                    <a:noFill/>
                  </a:ln>
                  <a:solidFill>
                    <a:sysClr val="window" lastClr="FFFFFF"/>
                  </a:solidFill>
                  <a:effectLst/>
                  <a:uLnTx/>
                  <a:uFillTx/>
                  <a:latin typeface="Calibri"/>
                  <a:ea typeface="+mn-ea"/>
                  <a:cs typeface="+mn-cs"/>
                </a:rPr>
                <a:t>Execution Summary Report</a:t>
              </a:r>
              <a:endParaRPr kumimoji="0" lang="en-IN" sz="1400" b="1"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112" name="Chevron 43">
              <a:extLst>
                <a:ext uri="{FF2B5EF4-FFF2-40B4-BE49-F238E27FC236}">
                  <a16:creationId xmlns:a16="http://schemas.microsoft.com/office/drawing/2014/main" xmlns="" id="{78614950-4601-4254-973D-612BC9CD3312}"/>
                </a:ext>
              </a:extLst>
            </p:cNvPr>
            <p:cNvSpPr/>
            <p:nvPr/>
          </p:nvSpPr>
          <p:spPr bwMode="gray">
            <a:xfrm>
              <a:off x="9431100" y="5316971"/>
              <a:ext cx="2610651" cy="469899"/>
            </a:xfrm>
            <a:prstGeom prst="chevron">
              <a:avLst>
                <a:gd name="adj" fmla="val 25676"/>
              </a:avLst>
            </a:prstGeom>
            <a:solidFill>
              <a:srgbClr val="B42359"/>
            </a:solidFill>
            <a:ln w="25400" cap="flat" cmpd="sng" algn="ctr">
              <a:solidFill>
                <a:sysClr val="window" lastClr="FFFFFF">
                  <a:hueOff val="0"/>
                  <a:satOff val="0"/>
                  <a:lumOff val="0"/>
                  <a:alphaOff val="0"/>
                </a:sysClr>
              </a:solidFill>
              <a:prstDash val="solid"/>
            </a:ln>
            <a:effectLst/>
          </p:spPr>
          <p:txBody>
            <a:bodyPr spcFirstLastPara="0" vert="horz" wrap="square" lIns="0" tIns="0" rIns="0" bIns="0" numCol="1" spcCol="1270" anchor="ctr" anchorCtr="0">
              <a:noAutofit/>
            </a:bodyPr>
            <a:lstStyle/>
            <a:p>
              <a:pPr marL="0" marR="0" lvl="0" indent="0" algn="ctr" defTabSz="666750" eaLnBrk="1" fontAlgn="auto" latinLnBrk="0" hangingPunct="1">
                <a:lnSpc>
                  <a:spcPct val="90000"/>
                </a:lnSpc>
                <a:spcBef>
                  <a:spcPts val="0"/>
                </a:spcBef>
                <a:spcAft>
                  <a:spcPct val="35000"/>
                </a:spcAft>
                <a:buClrTx/>
                <a:buSzTx/>
                <a:buFontTx/>
                <a:buNone/>
                <a:tabLst/>
                <a:defRPr/>
              </a:pPr>
              <a:r>
                <a:rPr kumimoji="0" lang="en-IN" sz="1400" b="1" i="0" u="none" strike="noStrike" kern="0" cap="none" spc="0" normalizeH="0" baseline="0" noProof="0" dirty="0">
                  <a:ln>
                    <a:noFill/>
                  </a:ln>
                  <a:solidFill>
                    <a:sysClr val="window" lastClr="FFFFFF"/>
                  </a:solidFill>
                  <a:effectLst/>
                  <a:uLnTx/>
                  <a:uFillTx/>
                  <a:latin typeface="Calibri"/>
                  <a:ea typeface="+mn-ea"/>
                  <a:cs typeface="+mn-cs"/>
                </a:rPr>
                <a:t>Test Report</a:t>
              </a:r>
            </a:p>
          </p:txBody>
        </p:sp>
        <p:cxnSp>
          <p:nvCxnSpPr>
            <p:cNvPr id="113" name="Straight Connector 112">
              <a:extLst>
                <a:ext uri="{FF2B5EF4-FFF2-40B4-BE49-F238E27FC236}">
                  <a16:creationId xmlns:a16="http://schemas.microsoft.com/office/drawing/2014/main" xmlns="" id="{C58DF501-32F9-4C9D-9DE0-864996571118}"/>
                </a:ext>
              </a:extLst>
            </p:cNvPr>
            <p:cNvCxnSpPr/>
            <p:nvPr/>
          </p:nvCxnSpPr>
          <p:spPr>
            <a:xfrm>
              <a:off x="4917679" y="2024584"/>
              <a:ext cx="13522" cy="2784414"/>
            </a:xfrm>
            <a:prstGeom prst="line">
              <a:avLst/>
            </a:prstGeom>
            <a:noFill/>
            <a:ln w="9525" cap="flat" cmpd="sng" algn="ctr">
              <a:solidFill>
                <a:sysClr val="window" lastClr="FFFFFF">
                  <a:lumMod val="65000"/>
                </a:sysClr>
              </a:solidFill>
              <a:prstDash val="sysDash"/>
            </a:ln>
            <a:effectLst/>
          </p:spPr>
        </p:cxnSp>
        <p:cxnSp>
          <p:nvCxnSpPr>
            <p:cNvPr id="114" name="Straight Arrow Connector 113">
              <a:extLst>
                <a:ext uri="{FF2B5EF4-FFF2-40B4-BE49-F238E27FC236}">
                  <a16:creationId xmlns:a16="http://schemas.microsoft.com/office/drawing/2014/main" xmlns="" id="{D5D416BB-49F5-4720-8830-501453C1828D}"/>
                </a:ext>
              </a:extLst>
            </p:cNvPr>
            <p:cNvCxnSpPr/>
            <p:nvPr/>
          </p:nvCxnSpPr>
          <p:spPr>
            <a:xfrm flipV="1">
              <a:off x="521725" y="5164428"/>
              <a:ext cx="11334987" cy="12879"/>
            </a:xfrm>
            <a:prstGeom prst="straightConnector1">
              <a:avLst/>
            </a:prstGeom>
            <a:noFill/>
            <a:ln w="9525" cap="flat" cmpd="sng" algn="ctr">
              <a:solidFill>
                <a:sysClr val="windowText" lastClr="000000"/>
              </a:solidFill>
              <a:prstDash val="solid"/>
              <a:headEnd type="triangle"/>
              <a:tailEnd type="triangle"/>
            </a:ln>
            <a:effectLst/>
          </p:spPr>
        </p:cxnSp>
        <p:sp>
          <p:nvSpPr>
            <p:cNvPr id="115" name="Rounded Rectangle 46">
              <a:extLst>
                <a:ext uri="{FF2B5EF4-FFF2-40B4-BE49-F238E27FC236}">
                  <a16:creationId xmlns:a16="http://schemas.microsoft.com/office/drawing/2014/main" xmlns="" id="{F98D9625-B73F-429A-9C05-17769B9A118C}"/>
                </a:ext>
              </a:extLst>
            </p:cNvPr>
            <p:cNvSpPr/>
            <p:nvPr/>
          </p:nvSpPr>
          <p:spPr>
            <a:xfrm>
              <a:off x="5546620" y="4893972"/>
              <a:ext cx="1098878" cy="397241"/>
            </a:xfrm>
            <a:prstGeom prst="roundRect">
              <a:avLst/>
            </a:prstGeom>
            <a:solidFill>
              <a:sysClr val="window" lastClr="FFFFFF"/>
            </a:solidFill>
            <a:ln w="952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16" name="Freeform 47">
              <a:extLst>
                <a:ext uri="{FF2B5EF4-FFF2-40B4-BE49-F238E27FC236}">
                  <a16:creationId xmlns:a16="http://schemas.microsoft.com/office/drawing/2014/main" xmlns="" id="{D424C897-57EF-4CA4-B4D2-7CFBE31F91ED}"/>
                </a:ext>
              </a:extLst>
            </p:cNvPr>
            <p:cNvSpPr/>
            <p:nvPr/>
          </p:nvSpPr>
          <p:spPr bwMode="gray">
            <a:xfrm>
              <a:off x="5434412" y="5023028"/>
              <a:ext cx="1609415" cy="246221"/>
            </a:xfrm>
            <a:custGeom>
              <a:avLst/>
              <a:gdLst>
                <a:gd name="connsiteX0" fmla="*/ 0 w 1016748"/>
                <a:gd name="connsiteY0" fmla="*/ 0 h 390143"/>
                <a:gd name="connsiteX1" fmla="*/ 1016748 w 1016748"/>
                <a:gd name="connsiteY1" fmla="*/ 0 h 390143"/>
                <a:gd name="connsiteX2" fmla="*/ 1016748 w 1016748"/>
                <a:gd name="connsiteY2" fmla="*/ 390143 h 390143"/>
                <a:gd name="connsiteX3" fmla="*/ 0 w 1016748"/>
                <a:gd name="connsiteY3" fmla="*/ 390143 h 390143"/>
                <a:gd name="connsiteX4" fmla="*/ 0 w 1016748"/>
                <a:gd name="connsiteY4" fmla="*/ 0 h 390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748" h="390143">
                  <a:moveTo>
                    <a:pt x="0" y="0"/>
                  </a:moveTo>
                  <a:lnTo>
                    <a:pt x="1016748" y="0"/>
                  </a:lnTo>
                  <a:lnTo>
                    <a:pt x="1016748" y="390143"/>
                  </a:lnTo>
                  <a:lnTo>
                    <a:pt x="0" y="390143"/>
                  </a:lnTo>
                  <a:lnTo>
                    <a:pt x="0" y="0"/>
                  </a:lnTo>
                  <a:close/>
                </a:path>
              </a:pathLst>
            </a:custGeom>
            <a:solidFill>
              <a:sysClr val="window" lastClr="FFFFFF"/>
            </a:solidFill>
            <a:ln>
              <a:noFill/>
            </a:ln>
            <a:effectLst/>
          </p:spPr>
          <p:txBody>
            <a:bodyPr spcFirstLastPara="0" vert="horz" wrap="none" lIns="0" tIns="0" rIns="0" bIns="0" numCol="1" spcCol="1270" anchor="ctr" anchorCtr="0">
              <a:spAutoFit/>
            </a:bodyPr>
            <a:lstStyle/>
            <a:p>
              <a:pPr marL="0" marR="0" lvl="0" indent="0" defTabSz="533400" eaLnBrk="1" fontAlgn="auto" latinLnBrk="0" hangingPunct="1">
                <a:lnSpc>
                  <a:spcPct val="100000"/>
                </a:lnSpc>
                <a:spcBef>
                  <a:spcPct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hueOff val="0"/>
                      <a:satOff val="0"/>
                      <a:lumOff val="0"/>
                      <a:alphaOff val="0"/>
                    </a:sysClr>
                  </a:solidFill>
                  <a:effectLst/>
                  <a:uLnTx/>
                  <a:uFillTx/>
                  <a:latin typeface="Calibri"/>
                  <a:ea typeface="+mn-ea"/>
                  <a:cs typeface="+mn-cs"/>
                </a:rPr>
                <a:t>Major Deliverables</a:t>
              </a:r>
            </a:p>
          </p:txBody>
        </p:sp>
        <p:sp>
          <p:nvSpPr>
            <p:cNvPr id="117" name="Content Placeholder 2">
              <a:extLst>
                <a:ext uri="{FF2B5EF4-FFF2-40B4-BE49-F238E27FC236}">
                  <a16:creationId xmlns:a16="http://schemas.microsoft.com/office/drawing/2014/main" xmlns="" id="{DA0C84DB-66F4-4D44-9D5D-8165F2B290A9}"/>
                </a:ext>
              </a:extLst>
            </p:cNvPr>
            <p:cNvSpPr txBox="1">
              <a:spLocks/>
            </p:cNvSpPr>
            <p:nvPr/>
          </p:nvSpPr>
          <p:spPr bwMode="gray">
            <a:xfrm>
              <a:off x="7302444" y="2039009"/>
              <a:ext cx="2146652" cy="1107996"/>
            </a:xfrm>
            <a:prstGeom prst="rect">
              <a:avLst/>
            </a:prstGeom>
          </p:spPr>
          <p:txBody>
            <a:bodyPr wrap="square" lIns="0" tIns="0" rIns="0" bIns="0">
              <a:spAutoFit/>
            </a:bodyPr>
            <a:lstStyle>
              <a:lvl1pPr marL="225425" indent="-225425" algn="l" defTabSz="342900" rtl="0" eaLnBrk="1" fontAlgn="base" hangingPunct="1">
                <a:spcBef>
                  <a:spcPts val="600"/>
                </a:spcBef>
                <a:spcAft>
                  <a:spcPct val="0"/>
                </a:spcAft>
                <a:buClr>
                  <a:srgbClr val="2F82BF"/>
                </a:buClr>
                <a:buSzPct val="120000"/>
                <a:buFont typeface="Lucida Grande"/>
                <a:buChar char="▸"/>
                <a:defRPr sz="2000" kern="1200">
                  <a:solidFill>
                    <a:schemeClr val="tx1"/>
                  </a:solidFill>
                  <a:latin typeface="Calibri"/>
                  <a:ea typeface="MS PGothic" pitchFamily="34" charset="-128"/>
                  <a:cs typeface="Calibri"/>
                </a:defRPr>
              </a:lvl1pPr>
              <a:lvl2pPr marL="463550" indent="-238125" algn="l" defTabSz="342900" rtl="0" eaLnBrk="1" fontAlgn="base" hangingPunct="1">
                <a:spcBef>
                  <a:spcPts val="600"/>
                </a:spcBef>
                <a:spcAft>
                  <a:spcPct val="0"/>
                </a:spcAft>
                <a:buClr>
                  <a:srgbClr val="2F82BF"/>
                </a:buClr>
                <a:buSzPct val="110000"/>
                <a:buFont typeface="Lucida Grande"/>
                <a:buChar char="»"/>
                <a:defRPr sz="2000" kern="1200">
                  <a:solidFill>
                    <a:schemeClr val="tx1"/>
                  </a:solidFill>
                  <a:latin typeface="Calibri"/>
                  <a:ea typeface="MS PGothic" pitchFamily="34" charset="-128"/>
                  <a:cs typeface="Calibri"/>
                </a:defRPr>
              </a:lvl2pPr>
              <a:lvl3pPr marL="688975" indent="-225425" algn="l" defTabSz="342900" rtl="0" eaLnBrk="1" fontAlgn="base" hangingPunct="1">
                <a:spcBef>
                  <a:spcPts val="600"/>
                </a:spcBef>
                <a:spcAft>
                  <a:spcPct val="0"/>
                </a:spcAft>
                <a:buClr>
                  <a:srgbClr val="2F82BF"/>
                </a:buClr>
                <a:buFont typeface="Lucida Grande"/>
                <a:buChar char="»"/>
                <a:defRPr sz="2000" kern="1200">
                  <a:solidFill>
                    <a:schemeClr val="tx1"/>
                  </a:solidFill>
                  <a:latin typeface="Calibri"/>
                  <a:ea typeface="MS PGothic" pitchFamily="34" charset="-128"/>
                  <a:cs typeface="Calibri"/>
                </a:defRPr>
              </a:lvl3pPr>
              <a:lvl4pPr marL="914400" indent="-225425" algn="l" defTabSz="342900" rtl="0" eaLnBrk="1" fontAlgn="base" hangingPunct="1">
                <a:spcBef>
                  <a:spcPts val="600"/>
                </a:spcBef>
                <a:spcAft>
                  <a:spcPct val="0"/>
                </a:spcAft>
                <a:buClr>
                  <a:srgbClr val="2F82BF"/>
                </a:buClr>
                <a:buSzPct val="90000"/>
                <a:buFont typeface="Lucida Grande"/>
                <a:buChar char="»"/>
                <a:defRPr sz="2000" kern="1200">
                  <a:solidFill>
                    <a:schemeClr val="tx1"/>
                  </a:solidFill>
                  <a:latin typeface="Calibri"/>
                  <a:ea typeface="MS PGothic" pitchFamily="34" charset="-128"/>
                  <a:cs typeface="Calibri"/>
                </a:defRPr>
              </a:lvl4pPr>
              <a:lvl5pPr marL="1139825" indent="-225425" algn="l" defTabSz="342900" rtl="0" eaLnBrk="1" fontAlgn="base" hangingPunct="1">
                <a:spcBef>
                  <a:spcPts val="600"/>
                </a:spcBef>
                <a:spcAft>
                  <a:spcPct val="0"/>
                </a:spcAft>
                <a:buClr>
                  <a:srgbClr val="2F82BF"/>
                </a:buClr>
                <a:buFont typeface="Arial" pitchFamily="34" charset="0"/>
                <a:buChar char="»"/>
                <a:defRPr sz="2000" kern="1200">
                  <a:solidFill>
                    <a:schemeClr val="tx1"/>
                  </a:solidFill>
                  <a:latin typeface="Calibri"/>
                  <a:ea typeface="MS PGothic" pitchFamily="34" charset="-128"/>
                  <a:cs typeface="Calibri"/>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203200" marR="0" lvl="1" indent="-203200">
                <a:lnSpc>
                  <a:spcPct val="150000"/>
                </a:lnSpc>
                <a:spcBef>
                  <a:spcPts val="0"/>
                </a:spcBef>
                <a:buClrTx/>
                <a:buSzPct val="120000"/>
                <a:buFont typeface="Wingdings" panose="05000000000000000000" pitchFamily="2" charset="2"/>
                <a:buChar char="§"/>
                <a:tabLst>
                  <a:tab pos="188913" algn="l"/>
                </a:tabLst>
                <a:defRPr/>
              </a:pPr>
              <a:r>
                <a:rPr lang="en-US" sz="1200" dirty="0">
                  <a:solidFill>
                    <a:schemeClr val="bg1">
                      <a:lumMod val="10000"/>
                    </a:schemeClr>
                  </a:solidFill>
                  <a:cs typeface="Times New Roman" panose="02020603050405020304" pitchFamily="18" charset="0"/>
                </a:rPr>
                <a:t>Bottleneck isolation &amp; identification</a:t>
              </a:r>
            </a:p>
            <a:p>
              <a:pPr marL="203200" marR="0" lvl="1" indent="-203200">
                <a:lnSpc>
                  <a:spcPct val="150000"/>
                </a:lnSpc>
                <a:spcBef>
                  <a:spcPts val="0"/>
                </a:spcBef>
                <a:buClrTx/>
                <a:buSzPct val="120000"/>
                <a:buFont typeface="Wingdings" panose="05000000000000000000" pitchFamily="2" charset="2"/>
                <a:buChar char="§"/>
                <a:tabLst>
                  <a:tab pos="188913" algn="l"/>
                </a:tabLst>
                <a:defRPr/>
              </a:pPr>
              <a:r>
                <a:rPr lang="en-US" sz="1200" dirty="0">
                  <a:solidFill>
                    <a:schemeClr val="bg1">
                      <a:lumMod val="10000"/>
                    </a:schemeClr>
                  </a:solidFill>
                  <a:cs typeface="Times New Roman" panose="02020603050405020304" pitchFamily="18" charset="0"/>
                </a:rPr>
                <a:t>Root cause analysis</a:t>
              </a:r>
            </a:p>
            <a:p>
              <a:pPr marL="203200" marR="0" lvl="1" indent="-203200">
                <a:lnSpc>
                  <a:spcPct val="150000"/>
                </a:lnSpc>
                <a:spcBef>
                  <a:spcPts val="0"/>
                </a:spcBef>
                <a:buClrTx/>
                <a:buSzPct val="120000"/>
                <a:buFont typeface="Wingdings" panose="05000000000000000000" pitchFamily="2" charset="2"/>
                <a:buChar char="§"/>
                <a:tabLst>
                  <a:tab pos="188913" algn="l"/>
                </a:tabLst>
                <a:defRPr/>
              </a:pPr>
              <a:r>
                <a:rPr lang="en-US" sz="1200" dirty="0">
                  <a:solidFill>
                    <a:schemeClr val="bg1">
                      <a:lumMod val="10000"/>
                    </a:schemeClr>
                  </a:solidFill>
                  <a:cs typeface="Times New Roman" panose="02020603050405020304" pitchFamily="18" charset="0"/>
                </a:rPr>
                <a:t>Tuning Recommendations</a:t>
              </a:r>
            </a:p>
          </p:txBody>
        </p:sp>
        <p:sp>
          <p:nvSpPr>
            <p:cNvPr id="118" name="TextBox 117">
              <a:extLst>
                <a:ext uri="{FF2B5EF4-FFF2-40B4-BE49-F238E27FC236}">
                  <a16:creationId xmlns:a16="http://schemas.microsoft.com/office/drawing/2014/main" xmlns="" id="{5D1D88C0-4EF9-48BB-8D06-544DC3678EF2}"/>
                </a:ext>
              </a:extLst>
            </p:cNvPr>
            <p:cNvSpPr txBox="1"/>
            <p:nvPr/>
          </p:nvSpPr>
          <p:spPr>
            <a:xfrm>
              <a:off x="7726595" y="1435294"/>
              <a:ext cx="1341673"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Body)"/>
                  <a:cs typeface="Arial" panose="020B0604020202020204" pitchFamily="34" charset="0"/>
                </a:rPr>
                <a:t>ENGINEERING</a:t>
              </a:r>
              <a:endParaRPr kumimoji="0" lang="id-ID" sz="1200" b="1" i="0" u="none" strike="noStrike" kern="0" cap="none" spc="0" normalizeH="0" baseline="0" noProof="0" dirty="0">
                <a:ln>
                  <a:noFill/>
                </a:ln>
                <a:solidFill>
                  <a:prstClr val="white"/>
                </a:solidFill>
                <a:effectLst/>
                <a:uLnTx/>
                <a:uFillTx/>
                <a:latin typeface="Calibri (Body)"/>
                <a:cs typeface="Arial" panose="020B0604020202020204" pitchFamily="34" charset="0"/>
              </a:endParaRPr>
            </a:p>
          </p:txBody>
        </p:sp>
        <p:pic>
          <p:nvPicPr>
            <p:cNvPr id="119" name="Picture 118">
              <a:extLst>
                <a:ext uri="{FF2B5EF4-FFF2-40B4-BE49-F238E27FC236}">
                  <a16:creationId xmlns:a16="http://schemas.microsoft.com/office/drawing/2014/main" xmlns="" id="{B3F500C4-FDEF-45BE-8F7C-CD66D8214000}"/>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9001861" y="1296293"/>
              <a:ext cx="582507" cy="594977"/>
            </a:xfrm>
            <a:prstGeom prst="rect">
              <a:avLst/>
            </a:prstGeom>
          </p:spPr>
        </p:pic>
      </p:grpSp>
      <p:sp>
        <p:nvSpPr>
          <p:cNvPr id="126" name="Rectangle 125">
            <a:extLst>
              <a:ext uri="{FF2B5EF4-FFF2-40B4-BE49-F238E27FC236}">
                <a16:creationId xmlns:a16="http://schemas.microsoft.com/office/drawing/2014/main" xmlns="" id="{023527F5-9B9A-4083-BCB7-E2F1507700CA}"/>
              </a:ext>
            </a:extLst>
          </p:cNvPr>
          <p:cNvSpPr/>
          <p:nvPr/>
        </p:nvSpPr>
        <p:spPr>
          <a:xfrm>
            <a:off x="373242" y="5950744"/>
            <a:ext cx="4395757" cy="469899"/>
          </a:xfrm>
          <a:prstGeom prst="rect">
            <a:avLst/>
          </a:prstGeom>
          <a:solidFill>
            <a:sysClr val="window" lastClr="FFFFFF">
              <a:lumMod val="85000"/>
            </a:sysClr>
          </a:solidFill>
          <a:ln w="9525" cap="flat" cmpd="sng" algn="ctr">
            <a:solidFill>
              <a:sysClr val="window" lastClr="FFFFFF">
                <a:lumMod val="85000"/>
              </a:sys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0" dirty="0">
                <a:solidFill>
                  <a:prstClr val="black"/>
                </a:solidFill>
                <a:latin typeface="Calibri"/>
                <a:cs typeface="Arial" panose="020B0604020202020204" pitchFamily="34" charset="0"/>
              </a:rPr>
              <a:t>E</a:t>
            </a:r>
            <a:r>
              <a:rPr kumimoji="0" lang="en-US" sz="1200" b="0" i="0" u="none" strike="noStrike" kern="0" cap="none" spc="0" normalizeH="0" baseline="0" noProof="0" dirty="0" err="1">
                <a:ln>
                  <a:noFill/>
                </a:ln>
                <a:solidFill>
                  <a:prstClr val="black"/>
                </a:solidFill>
                <a:effectLst/>
                <a:uLnTx/>
                <a:uFillTx/>
                <a:latin typeface="Calibri"/>
                <a:ea typeface="+mn-ea"/>
                <a:cs typeface="Arial" panose="020B0604020202020204" pitchFamily="34" charset="0"/>
              </a:rPr>
              <a:t>ngineering</a:t>
            </a:r>
            <a:r>
              <a:rPr kumimoji="0" lang="en-US" sz="1200" b="0" i="0" u="none" strike="noStrike" kern="0" cap="none" spc="0" normalizeH="0" baseline="0" noProof="0" dirty="0">
                <a:ln>
                  <a:noFill/>
                </a:ln>
                <a:solidFill>
                  <a:prstClr val="black"/>
                </a:solidFill>
                <a:effectLst/>
                <a:uLnTx/>
                <a:uFillTx/>
                <a:latin typeface="Calibri"/>
                <a:ea typeface="+mn-ea"/>
                <a:cs typeface="Arial" panose="020B0604020202020204" pitchFamily="34" charset="0"/>
              </a:rPr>
              <a:t> phase is excluded as part of phase 1 </a:t>
            </a:r>
            <a:endParaRPr kumimoji="0" lang="en-GB" sz="1200" b="0" i="0" u="none" strike="noStrike" kern="0" cap="none" spc="0" normalizeH="0" baseline="0" noProof="0" dirty="0">
              <a:ln>
                <a:noFill/>
              </a:ln>
              <a:solidFill>
                <a:prstClr val="black"/>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61018664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BB7F5A57-1C21-4328-9D4B-26AE68D4F4A7}"/>
              </a:ext>
            </a:extLst>
          </p:cNvPr>
          <p:cNvSpPr>
            <a:spLocks noGrp="1"/>
          </p:cNvSpPr>
          <p:nvPr>
            <p:ph type="body" sz="quarter" idx="12"/>
          </p:nvPr>
        </p:nvSpPr>
        <p:spPr/>
        <p:txBody>
          <a:bodyPr/>
          <a:lstStyle/>
          <a:p>
            <a:r>
              <a:rPr lang="en-US" dirty="0"/>
              <a:t>Tentative Project Timeline and Cost</a:t>
            </a:r>
            <a:endParaRPr lang="en-GB" dirty="0"/>
          </a:p>
        </p:txBody>
      </p:sp>
      <p:sp>
        <p:nvSpPr>
          <p:cNvPr id="6" name="Rectangle 5">
            <a:extLst>
              <a:ext uri="{FF2B5EF4-FFF2-40B4-BE49-F238E27FC236}">
                <a16:creationId xmlns:a16="http://schemas.microsoft.com/office/drawing/2014/main" xmlns="" id="{A10E6CB1-F028-44E8-8EC1-3A5E9C8AFF39}"/>
              </a:ext>
            </a:extLst>
          </p:cNvPr>
          <p:cNvSpPr/>
          <p:nvPr/>
        </p:nvSpPr>
        <p:spPr>
          <a:xfrm>
            <a:off x="901127" y="4159875"/>
            <a:ext cx="10974925" cy="2308324"/>
          </a:xfrm>
          <a:prstGeom prst="rect">
            <a:avLst/>
          </a:prstGeom>
        </p:spPr>
        <p:txBody>
          <a:bodyPr wrap="square">
            <a:spAutoFit/>
          </a:bodyPr>
          <a:lstStyle/>
          <a:p>
            <a:pPr marL="0" lvl="1" defTabSz="342900" fontAlgn="base">
              <a:lnSpc>
                <a:spcPct val="150000"/>
              </a:lnSpc>
              <a:spcAft>
                <a:spcPct val="0"/>
              </a:spcAft>
              <a:buSzPct val="120000"/>
              <a:tabLst>
                <a:tab pos="188913" algn="l"/>
              </a:tabLst>
              <a:defRPr/>
            </a:pPr>
            <a:r>
              <a:rPr lang="en-US" sz="1200" b="1" u="sng" dirty="0">
                <a:solidFill>
                  <a:schemeClr val="bg1">
                    <a:lumMod val="10000"/>
                  </a:schemeClr>
                </a:solidFill>
                <a:latin typeface="Calibri"/>
                <a:cs typeface="Times New Roman" panose="02020603050405020304" pitchFamily="18" charset="0"/>
              </a:rPr>
              <a:t>Note:</a:t>
            </a:r>
          </a:p>
          <a:p>
            <a:pPr marL="285750" lvl="1" indent="-285750" defTabSz="342900" fontAlgn="base">
              <a:lnSpc>
                <a:spcPct val="150000"/>
              </a:lnSpc>
              <a:spcAft>
                <a:spcPct val="0"/>
              </a:spcAft>
              <a:buSzPct val="120000"/>
              <a:buFont typeface="Wingdings" panose="05000000000000000000" pitchFamily="2" charset="2"/>
              <a:buChar char="§"/>
              <a:tabLst>
                <a:tab pos="188913" algn="l"/>
              </a:tabLst>
              <a:defRPr/>
            </a:pPr>
            <a:r>
              <a:rPr lang="en-US" sz="1200" dirty="0">
                <a:solidFill>
                  <a:schemeClr val="bg1">
                    <a:lumMod val="10000"/>
                  </a:schemeClr>
                </a:solidFill>
                <a:latin typeface="Calibri"/>
                <a:cs typeface="Times New Roman" panose="02020603050405020304" pitchFamily="18" charset="0"/>
              </a:rPr>
              <a:t>The above provided timeline &amp; cost are tentative and derived based on below scope:</a:t>
            </a:r>
          </a:p>
          <a:p>
            <a:pPr marL="742950" lvl="2" indent="-285750" defTabSz="342900" fontAlgn="base">
              <a:lnSpc>
                <a:spcPct val="150000"/>
              </a:lnSpc>
              <a:spcAft>
                <a:spcPct val="0"/>
              </a:spcAft>
              <a:buSzPct val="120000"/>
              <a:buFont typeface="Wingdings" panose="05000000000000000000" pitchFamily="2" charset="2"/>
              <a:buChar char="§"/>
              <a:tabLst>
                <a:tab pos="188913" algn="l"/>
              </a:tabLst>
              <a:defRPr/>
            </a:pPr>
            <a:r>
              <a:rPr lang="en-US" sz="1200" dirty="0">
                <a:solidFill>
                  <a:schemeClr val="bg1">
                    <a:lumMod val="10000"/>
                  </a:schemeClr>
                </a:solidFill>
                <a:latin typeface="Calibri"/>
                <a:cs typeface="Times New Roman" panose="02020603050405020304" pitchFamily="18" charset="0"/>
              </a:rPr>
              <a:t>Internet Banking  - 6 Transactions(Max.)</a:t>
            </a:r>
          </a:p>
          <a:p>
            <a:pPr marL="742950" lvl="2" indent="-285750" defTabSz="342900" fontAlgn="base">
              <a:lnSpc>
                <a:spcPct val="150000"/>
              </a:lnSpc>
              <a:spcAft>
                <a:spcPct val="0"/>
              </a:spcAft>
              <a:buSzPct val="120000"/>
              <a:buFont typeface="Wingdings" panose="05000000000000000000" pitchFamily="2" charset="2"/>
              <a:buChar char="§"/>
              <a:tabLst>
                <a:tab pos="188913" algn="l"/>
              </a:tabLst>
              <a:defRPr/>
            </a:pPr>
            <a:r>
              <a:rPr lang="en-US" sz="1200" dirty="0">
                <a:solidFill>
                  <a:schemeClr val="bg1">
                    <a:lumMod val="10000"/>
                  </a:schemeClr>
                </a:solidFill>
                <a:latin typeface="Calibri"/>
                <a:cs typeface="Times New Roman" panose="02020603050405020304" pitchFamily="18" charset="0"/>
              </a:rPr>
              <a:t>Mobile Banking - 6 Transactions(Max.)</a:t>
            </a:r>
          </a:p>
          <a:p>
            <a:pPr marL="285750" lvl="1" indent="-285750" defTabSz="342900" fontAlgn="base">
              <a:lnSpc>
                <a:spcPct val="150000"/>
              </a:lnSpc>
              <a:spcAft>
                <a:spcPct val="0"/>
              </a:spcAft>
              <a:buSzPct val="120000"/>
              <a:buFont typeface="Wingdings" panose="05000000000000000000" pitchFamily="2" charset="2"/>
              <a:buChar char="§"/>
              <a:tabLst>
                <a:tab pos="188913" algn="l"/>
              </a:tabLst>
              <a:defRPr/>
            </a:pPr>
            <a:r>
              <a:rPr lang="en-US" sz="1200" dirty="0">
                <a:solidFill>
                  <a:schemeClr val="bg1">
                    <a:lumMod val="10000"/>
                  </a:schemeClr>
                </a:solidFill>
                <a:latin typeface="Calibri"/>
                <a:cs typeface="Times New Roman" panose="02020603050405020304" pitchFamily="18" charset="0"/>
              </a:rPr>
              <a:t>Scope of work shall be revisited and finalized during planning phase</a:t>
            </a:r>
          </a:p>
          <a:p>
            <a:pPr marL="285750" lvl="1" indent="-285750" defTabSz="342900" fontAlgn="base">
              <a:lnSpc>
                <a:spcPct val="150000"/>
              </a:lnSpc>
              <a:spcAft>
                <a:spcPct val="0"/>
              </a:spcAft>
              <a:buSzPct val="120000"/>
              <a:buFont typeface="Wingdings" panose="05000000000000000000" pitchFamily="2" charset="2"/>
              <a:buChar char="§"/>
              <a:tabLst>
                <a:tab pos="188913" algn="l"/>
              </a:tabLst>
              <a:defRPr/>
            </a:pPr>
            <a:r>
              <a:rPr lang="en-US" sz="1200" dirty="0">
                <a:solidFill>
                  <a:schemeClr val="bg1">
                    <a:lumMod val="10000"/>
                  </a:schemeClr>
                </a:solidFill>
                <a:latin typeface="Calibri"/>
                <a:cs typeface="Times New Roman" panose="02020603050405020304" pitchFamily="18" charset="0"/>
              </a:rPr>
              <a:t>Timeline does not included Turn Around Time for defect fixes. In case of stakeholders agrees to fix performance defects raised as part of execution phase, timeline and effort would be revisited accordingly</a:t>
            </a:r>
          </a:p>
          <a:p>
            <a:pPr marL="285750" lvl="1" indent="-285750" defTabSz="342900" fontAlgn="base">
              <a:lnSpc>
                <a:spcPct val="150000"/>
              </a:lnSpc>
              <a:spcAft>
                <a:spcPct val="0"/>
              </a:spcAft>
              <a:buSzPct val="120000"/>
              <a:buFont typeface="Wingdings" panose="05000000000000000000" pitchFamily="2" charset="2"/>
              <a:buChar char="§"/>
              <a:tabLst>
                <a:tab pos="188913" algn="l"/>
              </a:tabLst>
              <a:defRPr/>
            </a:pPr>
            <a:r>
              <a:rPr lang="en-US" sz="1200" dirty="0">
                <a:solidFill>
                  <a:schemeClr val="bg1">
                    <a:lumMod val="10000"/>
                  </a:schemeClr>
                </a:solidFill>
                <a:latin typeface="Calibri"/>
                <a:cs typeface="Times New Roman" panose="02020603050405020304" pitchFamily="18" charset="0"/>
              </a:rPr>
              <a:t>Cost specified is indicative and it is excluding tool cost</a:t>
            </a:r>
          </a:p>
        </p:txBody>
      </p:sp>
      <p:graphicFrame>
        <p:nvGraphicFramePr>
          <p:cNvPr id="11" name="Table 10"/>
          <p:cNvGraphicFramePr>
            <a:graphicFrameLocks noGrp="1"/>
          </p:cNvGraphicFramePr>
          <p:nvPr>
            <p:extLst>
              <p:ext uri="{D42A27DB-BD31-4B8C-83A1-F6EECF244321}">
                <p14:modId xmlns:p14="http://schemas.microsoft.com/office/powerpoint/2010/main" val="2921053881"/>
              </p:ext>
            </p:extLst>
          </p:nvPr>
        </p:nvGraphicFramePr>
        <p:xfrm>
          <a:off x="901122" y="1028307"/>
          <a:ext cx="10974929" cy="3131562"/>
        </p:xfrm>
        <a:graphic>
          <a:graphicData uri="http://schemas.openxmlformats.org/drawingml/2006/table">
            <a:tbl>
              <a:tblPr firstRow="1" firstCol="1" bandRow="1"/>
              <a:tblGrid>
                <a:gridCol w="2198266">
                  <a:extLst>
                    <a:ext uri="{9D8B030D-6E8A-4147-A177-3AD203B41FA5}">
                      <a16:colId xmlns:a16="http://schemas.microsoft.com/office/drawing/2014/main" xmlns="" val="20000"/>
                    </a:ext>
                  </a:extLst>
                </a:gridCol>
                <a:gridCol w="787439">
                  <a:extLst>
                    <a:ext uri="{9D8B030D-6E8A-4147-A177-3AD203B41FA5}">
                      <a16:colId xmlns:a16="http://schemas.microsoft.com/office/drawing/2014/main" xmlns="" val="20001"/>
                    </a:ext>
                  </a:extLst>
                </a:gridCol>
                <a:gridCol w="787439">
                  <a:extLst>
                    <a:ext uri="{9D8B030D-6E8A-4147-A177-3AD203B41FA5}">
                      <a16:colId xmlns:a16="http://schemas.microsoft.com/office/drawing/2014/main" xmlns="" val="20002"/>
                    </a:ext>
                  </a:extLst>
                </a:gridCol>
                <a:gridCol w="787439">
                  <a:extLst>
                    <a:ext uri="{9D8B030D-6E8A-4147-A177-3AD203B41FA5}">
                      <a16:colId xmlns:a16="http://schemas.microsoft.com/office/drawing/2014/main" xmlns="" val="20003"/>
                    </a:ext>
                  </a:extLst>
                </a:gridCol>
                <a:gridCol w="787439">
                  <a:extLst>
                    <a:ext uri="{9D8B030D-6E8A-4147-A177-3AD203B41FA5}">
                      <a16:colId xmlns:a16="http://schemas.microsoft.com/office/drawing/2014/main" xmlns="" val="20004"/>
                    </a:ext>
                  </a:extLst>
                </a:gridCol>
                <a:gridCol w="787439">
                  <a:extLst>
                    <a:ext uri="{9D8B030D-6E8A-4147-A177-3AD203B41FA5}">
                      <a16:colId xmlns:a16="http://schemas.microsoft.com/office/drawing/2014/main" xmlns="" val="20005"/>
                    </a:ext>
                  </a:extLst>
                </a:gridCol>
                <a:gridCol w="787439">
                  <a:extLst>
                    <a:ext uri="{9D8B030D-6E8A-4147-A177-3AD203B41FA5}">
                      <a16:colId xmlns:a16="http://schemas.microsoft.com/office/drawing/2014/main" xmlns="" val="20006"/>
                    </a:ext>
                  </a:extLst>
                </a:gridCol>
                <a:gridCol w="787439">
                  <a:extLst>
                    <a:ext uri="{9D8B030D-6E8A-4147-A177-3AD203B41FA5}">
                      <a16:colId xmlns:a16="http://schemas.microsoft.com/office/drawing/2014/main" xmlns="" val="20007"/>
                    </a:ext>
                  </a:extLst>
                </a:gridCol>
                <a:gridCol w="787439">
                  <a:extLst>
                    <a:ext uri="{9D8B030D-6E8A-4147-A177-3AD203B41FA5}">
                      <a16:colId xmlns:a16="http://schemas.microsoft.com/office/drawing/2014/main" xmlns="" val="20008"/>
                    </a:ext>
                  </a:extLst>
                </a:gridCol>
                <a:gridCol w="787439">
                  <a:extLst>
                    <a:ext uri="{9D8B030D-6E8A-4147-A177-3AD203B41FA5}">
                      <a16:colId xmlns:a16="http://schemas.microsoft.com/office/drawing/2014/main" xmlns="" val="20009"/>
                    </a:ext>
                  </a:extLst>
                </a:gridCol>
                <a:gridCol w="747914">
                  <a:extLst>
                    <a:ext uri="{9D8B030D-6E8A-4147-A177-3AD203B41FA5}">
                      <a16:colId xmlns:a16="http://schemas.microsoft.com/office/drawing/2014/main" xmlns="" val="20010"/>
                    </a:ext>
                  </a:extLst>
                </a:gridCol>
                <a:gridCol w="941798">
                  <a:extLst>
                    <a:ext uri="{9D8B030D-6E8A-4147-A177-3AD203B41FA5}">
                      <a16:colId xmlns:a16="http://schemas.microsoft.com/office/drawing/2014/main" xmlns="" val="20011"/>
                    </a:ext>
                  </a:extLst>
                </a:gridCol>
              </a:tblGrid>
              <a:tr h="223683">
                <a:tc rowSpan="2">
                  <a:txBody>
                    <a:bodyPr/>
                    <a:lstStyle/>
                    <a:p>
                      <a:pPr algn="l" rtl="0" fontAlgn="ctr"/>
                      <a:r>
                        <a:rPr lang="en-IN" sz="1200" b="0" i="0" u="none" strike="noStrike" dirty="0">
                          <a:solidFill>
                            <a:srgbClr val="000000"/>
                          </a:solidFill>
                          <a:effectLst/>
                          <a:latin typeface="Calibri" panose="020F0502020204030204" pitchFamily="34" charset="0"/>
                        </a:rPr>
                        <a:t>Phase</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solidFill>
                      <a:srgbClr val="D9D9D9"/>
                    </a:solidFill>
                  </a:tcPr>
                </a:tc>
                <a:tc gridSpan="5">
                  <a:txBody>
                    <a:bodyPr/>
                    <a:lstStyle/>
                    <a:p>
                      <a:pPr algn="ctr" rtl="0" fontAlgn="ctr"/>
                      <a:r>
                        <a:rPr lang="en-IN" sz="1000" b="1" i="0" u="none" strike="noStrike" dirty="0">
                          <a:solidFill>
                            <a:srgbClr val="000000"/>
                          </a:solidFill>
                          <a:effectLst/>
                          <a:latin typeface="Calibri" panose="020F0502020204030204" pitchFamily="34" charset="0"/>
                        </a:rPr>
                        <a:t>M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gridSpan="4">
                  <a:txBody>
                    <a:bodyPr/>
                    <a:lstStyle/>
                    <a:p>
                      <a:pPr algn="ctr" rtl="0" fontAlgn="ctr"/>
                      <a:r>
                        <a:rPr lang="en-IN" sz="1000" b="1" i="0" u="none" strike="noStrike" dirty="0">
                          <a:solidFill>
                            <a:srgbClr val="000000"/>
                          </a:solidFill>
                          <a:effectLst/>
                          <a:latin typeface="Calibri" panose="020F0502020204030204" pitchFamily="34" charset="0"/>
                        </a:rPr>
                        <a:t>M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endParaRPr lang="en-IN"/>
                    </a:p>
                  </a:txBody>
                  <a:tcPr/>
                </a:tc>
                <a:tc hMerge="1">
                  <a:txBody>
                    <a:bodyPr/>
                    <a:lstStyle/>
                    <a:p>
                      <a:endParaRPr lang="en-IN"/>
                    </a:p>
                  </a:txBody>
                  <a:tcPr/>
                </a:tc>
                <a:tc hMerge="1">
                  <a:txBody>
                    <a:bodyPr/>
                    <a:lstStyle/>
                    <a:p>
                      <a:endParaRPr lang="en-IN"/>
                    </a:p>
                  </a:txBody>
                  <a:tcPr/>
                </a:tc>
                <a:tc rowSpan="2">
                  <a:txBody>
                    <a:bodyPr/>
                    <a:lstStyle/>
                    <a:p>
                      <a:pPr algn="ctr" rtl="0" fontAlgn="ctr"/>
                      <a:r>
                        <a:rPr lang="en-IN" sz="1000" b="1" i="0" u="none" strike="noStrike" dirty="0">
                          <a:solidFill>
                            <a:srgbClr val="000000"/>
                          </a:solidFill>
                          <a:effectLst/>
                          <a:latin typeface="Calibri" panose="020F0502020204030204" pitchFamily="34" charset="0"/>
                        </a:rPr>
                        <a:t>Total Week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rowSpan="2">
                  <a:txBody>
                    <a:bodyPr/>
                    <a:lstStyle/>
                    <a:p>
                      <a:pPr algn="ctr" rtl="0" fontAlgn="ctr"/>
                      <a:r>
                        <a:rPr lang="en-IN" sz="1000" b="1" i="0" u="none" strike="noStrike" dirty="0">
                          <a:solidFill>
                            <a:srgbClr val="000000"/>
                          </a:solidFill>
                          <a:effectLst/>
                          <a:latin typeface="Calibri" panose="020F0502020204030204" pitchFamily="34" charset="0"/>
                        </a:rPr>
                        <a:t>Total Cos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xmlns="" val="10000"/>
                  </a:ext>
                </a:extLst>
              </a:tr>
              <a:tr h="223683">
                <a:tc vMerge="1">
                  <a:txBody>
                    <a:bodyPr/>
                    <a:lstStyle/>
                    <a:p>
                      <a:endParaRPr lang="en-IN"/>
                    </a:p>
                  </a:txBody>
                  <a:tcPr/>
                </a:tc>
                <a:tc>
                  <a:txBody>
                    <a:bodyPr/>
                    <a:lstStyle/>
                    <a:p>
                      <a:pPr algn="ctr" rtl="0" fontAlgn="ctr"/>
                      <a:r>
                        <a:rPr lang="en-IN" sz="1000" b="1" i="0" u="none" strike="noStrike" dirty="0">
                          <a:solidFill>
                            <a:srgbClr val="000000"/>
                          </a:solidFill>
                          <a:effectLst/>
                          <a:latin typeface="Calibri" panose="020F0502020204030204" pitchFamily="34" charset="0"/>
                        </a:rPr>
                        <a:t>W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en-IN" sz="1000" b="1" i="0" u="none" strike="noStrike" dirty="0">
                          <a:solidFill>
                            <a:srgbClr val="000000"/>
                          </a:solidFill>
                          <a:effectLst/>
                          <a:latin typeface="Calibri" panose="020F0502020204030204" pitchFamily="34" charset="0"/>
                        </a:rPr>
                        <a:t>W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en-IN" sz="1000" b="1" i="0" u="none" strike="noStrike" dirty="0">
                          <a:solidFill>
                            <a:srgbClr val="000000"/>
                          </a:solidFill>
                          <a:effectLst/>
                          <a:latin typeface="Calibri" panose="020F0502020204030204" pitchFamily="34" charset="0"/>
                        </a:rPr>
                        <a:t>W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en-IN" sz="1000" b="1" i="0" u="none" strike="noStrike" dirty="0">
                          <a:solidFill>
                            <a:srgbClr val="000000"/>
                          </a:solidFill>
                          <a:effectLst/>
                          <a:latin typeface="Calibri" panose="020F0502020204030204" pitchFamily="34" charset="0"/>
                        </a:rPr>
                        <a:t>W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en-IN" sz="1000" b="1" i="0" u="none" strike="noStrike" dirty="0">
                          <a:solidFill>
                            <a:srgbClr val="000000"/>
                          </a:solidFill>
                          <a:effectLst/>
                          <a:latin typeface="Calibri" panose="020F0502020204030204" pitchFamily="34" charset="0"/>
                        </a:rPr>
                        <a:t>W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en-IN" sz="1000" b="1" i="0" u="none" strike="noStrike" dirty="0">
                          <a:solidFill>
                            <a:srgbClr val="000000"/>
                          </a:solidFill>
                          <a:effectLst/>
                          <a:latin typeface="Calibri" panose="020F0502020204030204" pitchFamily="34" charset="0"/>
                        </a:rPr>
                        <a:t>W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en-IN" sz="1000" b="1" i="0" u="none" strike="noStrike" dirty="0">
                          <a:solidFill>
                            <a:srgbClr val="000000"/>
                          </a:solidFill>
                          <a:effectLst/>
                          <a:latin typeface="Calibri" panose="020F0502020204030204" pitchFamily="34" charset="0"/>
                        </a:rPr>
                        <a:t>W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en-IN" sz="1000" b="1" i="0" u="none" strike="noStrike" dirty="0">
                          <a:solidFill>
                            <a:srgbClr val="000000"/>
                          </a:solidFill>
                          <a:effectLst/>
                          <a:latin typeface="Calibri" panose="020F0502020204030204" pitchFamily="34" charset="0"/>
                        </a:rPr>
                        <a:t>W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en-IN" sz="1000" b="1" i="0" u="none" strike="noStrike" dirty="0">
                          <a:solidFill>
                            <a:srgbClr val="000000"/>
                          </a:solidFill>
                          <a:effectLst/>
                          <a:latin typeface="Calibri" panose="020F0502020204030204" pitchFamily="34" charset="0"/>
                        </a:rPr>
                        <a:t>W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vMerge="1">
                  <a:txBody>
                    <a:bodyPr/>
                    <a:lstStyle/>
                    <a:p>
                      <a:endParaRPr lang="en-IN"/>
                    </a:p>
                  </a:txBody>
                  <a:tcPr/>
                </a:tc>
                <a:tc vMerge="1">
                  <a:txBody>
                    <a:bodyPr/>
                    <a:lstStyle/>
                    <a:p>
                      <a:endParaRPr lang="en-IN"/>
                    </a:p>
                  </a:txBody>
                  <a:tcPr/>
                </a:tc>
                <a:extLst>
                  <a:ext uri="{0D108BD9-81ED-4DB2-BD59-A6C34878D82A}">
                    <a16:rowId xmlns:a16="http://schemas.microsoft.com/office/drawing/2014/main" xmlns="" val="10001"/>
                  </a:ext>
                </a:extLst>
              </a:tr>
              <a:tr h="223683">
                <a:tc>
                  <a:txBody>
                    <a:bodyPr/>
                    <a:lstStyle/>
                    <a:p>
                      <a:pPr algn="l" rtl="0" fontAlgn="ctr"/>
                      <a:r>
                        <a:rPr lang="en-IN" sz="1200" b="1" i="0" u="none" strike="noStrike" dirty="0">
                          <a:solidFill>
                            <a:srgbClr val="000000"/>
                          </a:solidFill>
                          <a:effectLst/>
                          <a:latin typeface="Calibri" panose="020F0502020204030204" pitchFamily="34" charset="0"/>
                        </a:rPr>
                        <a:t>Sprint 1</a:t>
                      </a:r>
                    </a:p>
                  </a:txBody>
                  <a:tcPr marL="9525" marR="9525" marT="9525" marB="0" anchor="ctr">
                    <a:lnL>
                      <a:noFill/>
                    </a:lnL>
                    <a:lnR>
                      <a:noFill/>
                    </a:lnR>
                    <a:lnT>
                      <a:noFill/>
                    </a:lnT>
                    <a:lnB>
                      <a:noFill/>
                    </a:lnB>
                    <a:solidFill>
                      <a:srgbClr val="9BC2E6"/>
                    </a:solidFill>
                  </a:tcPr>
                </a:tc>
                <a:tc gridSpan="2">
                  <a:txBody>
                    <a:bodyPr/>
                    <a:lstStyle/>
                    <a:p>
                      <a:pPr algn="ctr" rtl="0" fontAlgn="ctr"/>
                      <a:r>
                        <a:rPr lang="en-IN" sz="1000" b="0" i="0" u="none" strike="noStrike" dirty="0">
                          <a:solidFill>
                            <a:srgbClr val="000000"/>
                          </a:solidFill>
                          <a:effectLst/>
                          <a:latin typeface="Calibri" panose="020F0502020204030204" pitchFamily="34" charset="0"/>
                        </a:rPr>
                        <a:t>2</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FFE699"/>
                    </a:solidFill>
                  </a:tcPr>
                </a:tc>
                <a:tc hMerge="1">
                  <a:txBody>
                    <a:bodyPr/>
                    <a:lstStyle/>
                    <a:p>
                      <a:endParaRPr lang="en-IN"/>
                    </a:p>
                  </a:txBody>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9BC2E6"/>
                    </a:solidFill>
                  </a:tcPr>
                </a:tc>
                <a:tc rowSpan="12">
                  <a:txBody>
                    <a:bodyPr/>
                    <a:lstStyle/>
                    <a:p>
                      <a:pPr algn="ctr" fontAlgn="ctr"/>
                      <a:r>
                        <a:rPr lang="en-IN" sz="1100" b="0" i="0" u="none" strike="noStrike" dirty="0">
                          <a:solidFill>
                            <a:srgbClr val="000000"/>
                          </a:solidFill>
                          <a:effectLst/>
                          <a:latin typeface="Calibri" panose="020F0502020204030204" pitchFamily="34" charset="0"/>
                        </a:rPr>
                        <a:t>9</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rowSpan="12">
                  <a:txBody>
                    <a:bodyPr/>
                    <a:lstStyle/>
                    <a:p>
                      <a:pPr algn="ctr" fontAlgn="b"/>
                      <a:r>
                        <a:rPr lang="en-IN" sz="1100" b="0" i="0" u="none" strike="noStrike" dirty="0">
                          <a:solidFill>
                            <a:schemeClr val="bg1">
                              <a:lumMod val="10000"/>
                            </a:schemeClr>
                          </a:solidFill>
                          <a:effectLst/>
                          <a:latin typeface="Calibri" panose="020F0502020204030204" pitchFamily="34" charset="0"/>
                        </a:rPr>
                        <a:t>$40,156</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02"/>
                  </a:ext>
                </a:extLst>
              </a:tr>
              <a:tr h="223683">
                <a:tc>
                  <a:txBody>
                    <a:bodyPr/>
                    <a:lstStyle/>
                    <a:p>
                      <a:pPr algn="l" rtl="0" fontAlgn="ctr"/>
                      <a:r>
                        <a:rPr lang="en-IN" sz="1200" b="0" i="0" u="none" strike="noStrike" dirty="0">
                          <a:solidFill>
                            <a:srgbClr val="000000"/>
                          </a:solidFill>
                          <a:effectLst/>
                          <a:latin typeface="Calibri" panose="020F0502020204030204" pitchFamily="34" charset="0"/>
                        </a:rPr>
                        <a:t>Planning</a:t>
                      </a:r>
                    </a:p>
                  </a:txBody>
                  <a:tcPr marL="85725" marR="9525" marT="9525" marB="0" anchor="ctr">
                    <a:lnL>
                      <a:noFill/>
                    </a:lnL>
                    <a:lnR>
                      <a:noFill/>
                    </a:lnR>
                    <a:lnT>
                      <a:noFill/>
                    </a:lnT>
                    <a:lnB>
                      <a:noFill/>
                    </a:lnB>
                  </a:tcPr>
                </a:tc>
                <a:tc>
                  <a:txBody>
                    <a:bodyPr/>
                    <a:lstStyle/>
                    <a:p>
                      <a:pPr algn="ctr" rtl="0" fontAlgn="ctr"/>
                      <a:r>
                        <a:rPr lang="en-IN" sz="1000" b="0" i="0" u="none" strike="noStrike" dirty="0">
                          <a:solidFill>
                            <a:srgbClr val="000000"/>
                          </a:solidFill>
                          <a:effectLst/>
                          <a:latin typeface="Calibri" panose="020F0502020204030204" pitchFamily="34" charset="0"/>
                        </a:rPr>
                        <a:t>1</a:t>
                      </a:r>
                    </a:p>
                  </a:txBody>
                  <a:tcPr marL="9525" marR="9525" marT="9525" marB="0" anchor="ctr">
                    <a:lnL>
                      <a:noFill/>
                    </a:lnL>
                    <a:lnR>
                      <a:noFill/>
                    </a:lnR>
                    <a:lnT>
                      <a:noFill/>
                    </a:lnT>
                    <a:lnB>
                      <a:noFill/>
                    </a:lnB>
                    <a:solidFill>
                      <a:srgbClr val="FFE699"/>
                    </a:solidFill>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vMerge="1">
                  <a:txBody>
                    <a:bodyPr/>
                    <a:lstStyle/>
                    <a:p>
                      <a:endParaRPr lang="en-IN"/>
                    </a:p>
                  </a:txBody>
                  <a:tcPr/>
                </a:tc>
                <a:tc vMerge="1">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xmlns="" val="10003"/>
                  </a:ext>
                </a:extLst>
              </a:tr>
              <a:tr h="223683">
                <a:tc>
                  <a:txBody>
                    <a:bodyPr/>
                    <a:lstStyle/>
                    <a:p>
                      <a:pPr algn="l" rtl="0" fontAlgn="ctr"/>
                      <a:r>
                        <a:rPr lang="en-IN" sz="1200" b="0" i="0" u="none" strike="noStrike" dirty="0">
                          <a:solidFill>
                            <a:srgbClr val="000000"/>
                          </a:solidFill>
                          <a:effectLst/>
                          <a:latin typeface="Calibri" panose="020F0502020204030204" pitchFamily="34" charset="0"/>
                        </a:rPr>
                        <a:t>Design &amp; Execution</a:t>
                      </a:r>
                    </a:p>
                  </a:txBody>
                  <a:tcPr marL="857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ctr" rtl="0" fontAlgn="ctr"/>
                      <a:r>
                        <a:rPr lang="en-IN" sz="1000" b="0" i="0" u="none" strike="noStrike" dirty="0">
                          <a:solidFill>
                            <a:srgbClr val="000000"/>
                          </a:solidFill>
                          <a:effectLst/>
                          <a:latin typeface="Calibri" panose="020F0502020204030204" pitchFamily="34" charset="0"/>
                        </a:rPr>
                        <a:t>1</a:t>
                      </a:r>
                    </a:p>
                  </a:txBody>
                  <a:tcPr marL="9525" marR="9525" marT="9525" marB="0" anchor="ctr">
                    <a:lnL>
                      <a:noFill/>
                    </a:lnL>
                    <a:lnR>
                      <a:noFill/>
                    </a:lnR>
                    <a:lnT>
                      <a:noFill/>
                    </a:lnT>
                    <a:lnB>
                      <a:noFill/>
                    </a:lnB>
                    <a:solidFill>
                      <a:srgbClr val="FFE699"/>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vMerge="1">
                  <a:txBody>
                    <a:bodyPr/>
                    <a:lstStyle/>
                    <a:p>
                      <a:endParaRPr lang="en-IN"/>
                    </a:p>
                  </a:txBody>
                  <a:tcPr/>
                </a:tc>
                <a:tc vMerge="1">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xmlns="" val="10004"/>
                  </a:ext>
                </a:extLst>
              </a:tr>
              <a:tr h="223683">
                <a:tc>
                  <a:txBody>
                    <a:bodyPr/>
                    <a:lstStyle/>
                    <a:p>
                      <a:pPr algn="l" rtl="0" fontAlgn="ctr"/>
                      <a:r>
                        <a:rPr lang="en-IN" sz="1200" b="1" i="0" u="none" strike="noStrike" dirty="0">
                          <a:solidFill>
                            <a:srgbClr val="000000"/>
                          </a:solidFill>
                          <a:effectLst/>
                          <a:latin typeface="Calibri" panose="020F0502020204030204" pitchFamily="34" charset="0"/>
                        </a:rPr>
                        <a:t>Sprint 2</a:t>
                      </a: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gridSpan="2">
                  <a:txBody>
                    <a:bodyPr/>
                    <a:lstStyle/>
                    <a:p>
                      <a:pPr algn="ctr" rtl="0" fontAlgn="ctr"/>
                      <a:r>
                        <a:rPr lang="en-IN" sz="1000" b="0" i="0" u="none" strike="noStrike" dirty="0">
                          <a:solidFill>
                            <a:srgbClr val="000000"/>
                          </a:solidFill>
                          <a:effectLst/>
                          <a:latin typeface="Calibri" panose="020F0502020204030204" pitchFamily="34" charset="0"/>
                        </a:rPr>
                        <a:t>2</a:t>
                      </a:r>
                    </a:p>
                  </a:txBody>
                  <a:tcPr marL="9525" marR="9525" marT="9525" marB="0" anchor="ctr">
                    <a:lnL>
                      <a:noFill/>
                    </a:lnL>
                    <a:lnR>
                      <a:noFill/>
                    </a:lnR>
                    <a:lnT>
                      <a:noFill/>
                    </a:lnT>
                    <a:lnB>
                      <a:noFill/>
                    </a:lnB>
                    <a:solidFill>
                      <a:srgbClr val="FFE699"/>
                    </a:solidFill>
                  </a:tcPr>
                </a:tc>
                <a:tc hMerge="1">
                  <a:txBody>
                    <a:bodyPr/>
                    <a:lstStyle/>
                    <a:p>
                      <a:endParaRPr lang="en-IN"/>
                    </a:p>
                  </a:txBody>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vMerge="1">
                  <a:txBody>
                    <a:bodyPr/>
                    <a:lstStyle/>
                    <a:p>
                      <a:endParaRPr lang="en-IN"/>
                    </a:p>
                  </a:txBody>
                  <a:tcPr/>
                </a:tc>
                <a:tc vMerge="1">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xmlns="" val="10005"/>
                  </a:ext>
                </a:extLst>
              </a:tr>
              <a:tr h="223683">
                <a:tc>
                  <a:txBody>
                    <a:bodyPr/>
                    <a:lstStyle/>
                    <a:p>
                      <a:pPr algn="l" rtl="0" fontAlgn="ctr"/>
                      <a:r>
                        <a:rPr lang="en-IN" sz="1200" b="0" i="0" u="none" strike="noStrike" dirty="0">
                          <a:solidFill>
                            <a:srgbClr val="000000"/>
                          </a:solidFill>
                          <a:effectLst/>
                          <a:latin typeface="Calibri" panose="020F0502020204030204" pitchFamily="34" charset="0"/>
                        </a:rPr>
                        <a:t>Planning</a:t>
                      </a:r>
                    </a:p>
                  </a:txBody>
                  <a:tcPr marL="857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ctr" rtl="0" fontAlgn="ctr"/>
                      <a:r>
                        <a:rPr lang="en-IN" sz="1000" b="0" i="0" u="none" strike="noStrike" dirty="0">
                          <a:solidFill>
                            <a:srgbClr val="000000"/>
                          </a:solidFill>
                          <a:effectLst/>
                          <a:latin typeface="Calibri" panose="020F0502020204030204" pitchFamily="34" charset="0"/>
                        </a:rPr>
                        <a:t>1</a:t>
                      </a:r>
                    </a:p>
                  </a:txBody>
                  <a:tcPr marL="9525" marR="9525" marT="9525" marB="0" anchor="ctr">
                    <a:lnL>
                      <a:noFill/>
                    </a:lnL>
                    <a:lnR>
                      <a:noFill/>
                    </a:lnR>
                    <a:lnT>
                      <a:noFill/>
                    </a:lnT>
                    <a:lnB>
                      <a:noFill/>
                    </a:lnB>
                    <a:solidFill>
                      <a:srgbClr val="FFE699"/>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vMerge="1">
                  <a:txBody>
                    <a:bodyPr/>
                    <a:lstStyle/>
                    <a:p>
                      <a:endParaRPr lang="en-IN"/>
                    </a:p>
                  </a:txBody>
                  <a:tcPr/>
                </a:tc>
                <a:tc vMerge="1">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xmlns="" val="10006"/>
                  </a:ext>
                </a:extLst>
              </a:tr>
              <a:tr h="223683">
                <a:tc>
                  <a:txBody>
                    <a:bodyPr/>
                    <a:lstStyle/>
                    <a:p>
                      <a:pPr algn="l" rtl="0" fontAlgn="ctr"/>
                      <a:r>
                        <a:rPr lang="en-IN" sz="1200" b="0" i="0" u="none" strike="noStrike" dirty="0">
                          <a:solidFill>
                            <a:srgbClr val="000000"/>
                          </a:solidFill>
                          <a:effectLst/>
                          <a:latin typeface="Calibri" panose="020F0502020204030204" pitchFamily="34" charset="0"/>
                        </a:rPr>
                        <a:t>Design &amp; Execution</a:t>
                      </a:r>
                    </a:p>
                  </a:txBody>
                  <a:tcPr marL="857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rtl="0" fontAlgn="ctr"/>
                      <a:r>
                        <a:rPr lang="en-IN" sz="1000" b="0" i="0" u="none" strike="noStrike" dirty="0">
                          <a:solidFill>
                            <a:srgbClr val="000000"/>
                          </a:solidFill>
                          <a:effectLst/>
                          <a:latin typeface="Calibri" panose="020F0502020204030204" pitchFamily="34" charset="0"/>
                        </a:rPr>
                        <a:t>1</a:t>
                      </a:r>
                    </a:p>
                  </a:txBody>
                  <a:tcPr marL="9525" marR="9525" marT="9525" marB="0" anchor="ctr">
                    <a:lnL>
                      <a:noFill/>
                    </a:lnL>
                    <a:lnR>
                      <a:noFill/>
                    </a:lnR>
                    <a:lnT>
                      <a:noFill/>
                    </a:lnT>
                    <a:lnB>
                      <a:noFill/>
                    </a:lnB>
                    <a:solidFill>
                      <a:srgbClr val="FFE699"/>
                    </a:solidFill>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vMerge="1">
                  <a:txBody>
                    <a:bodyPr/>
                    <a:lstStyle/>
                    <a:p>
                      <a:endParaRPr lang="en-IN"/>
                    </a:p>
                  </a:txBody>
                  <a:tcPr/>
                </a:tc>
                <a:tc vMerge="1">
                  <a:txBody>
                    <a:bodyPr/>
                    <a:lstStyle/>
                    <a:p>
                      <a:pPr algn="ctr" fontAlgn="b"/>
                      <a:endParaRPr lang="en-IN"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xmlns="" val="10007"/>
                  </a:ext>
                </a:extLst>
              </a:tr>
              <a:tr h="223683">
                <a:tc>
                  <a:txBody>
                    <a:bodyPr/>
                    <a:lstStyle/>
                    <a:p>
                      <a:pPr algn="l" rtl="0" fontAlgn="ctr"/>
                      <a:r>
                        <a:rPr lang="en-IN" sz="1200" b="1" i="0" u="none" strike="noStrike" dirty="0">
                          <a:solidFill>
                            <a:srgbClr val="000000"/>
                          </a:solidFill>
                          <a:effectLst/>
                          <a:latin typeface="Calibri" panose="020F0502020204030204" pitchFamily="34" charset="0"/>
                        </a:rPr>
                        <a:t>Sprint 3</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gridSpan="2">
                  <a:txBody>
                    <a:bodyPr/>
                    <a:lstStyle/>
                    <a:p>
                      <a:pPr algn="ctr" rtl="0" fontAlgn="ctr"/>
                      <a:r>
                        <a:rPr lang="en-IN" sz="1000" b="0" i="0" u="none" strike="noStrike" dirty="0">
                          <a:solidFill>
                            <a:srgbClr val="000000"/>
                          </a:solidFill>
                          <a:effectLst/>
                          <a:latin typeface="Calibri" panose="020F0502020204030204" pitchFamily="34" charset="0"/>
                        </a:rPr>
                        <a:t>2</a:t>
                      </a:r>
                    </a:p>
                  </a:txBody>
                  <a:tcPr marL="9525" marR="9525" marT="9525" marB="0" anchor="ctr">
                    <a:lnL>
                      <a:noFill/>
                    </a:lnL>
                    <a:lnR>
                      <a:noFill/>
                    </a:lnR>
                    <a:lnT>
                      <a:noFill/>
                    </a:lnT>
                    <a:lnB>
                      <a:noFill/>
                    </a:lnB>
                    <a:solidFill>
                      <a:srgbClr val="FFE699"/>
                    </a:solidFill>
                  </a:tcPr>
                </a:tc>
                <a:tc hMerge="1">
                  <a:txBody>
                    <a:bodyPr/>
                    <a:lstStyle/>
                    <a:p>
                      <a:endParaRPr lang="en-IN"/>
                    </a:p>
                  </a:txBody>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vMerge="1">
                  <a:txBody>
                    <a:bodyPr/>
                    <a:lstStyle/>
                    <a:p>
                      <a:endParaRPr lang="en-IN"/>
                    </a:p>
                  </a:txBody>
                  <a:tcPr/>
                </a:tc>
                <a:tc vMerge="1">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xmlns="" val="10008"/>
                  </a:ext>
                </a:extLst>
              </a:tr>
              <a:tr h="223683">
                <a:tc>
                  <a:txBody>
                    <a:bodyPr/>
                    <a:lstStyle/>
                    <a:p>
                      <a:pPr algn="l" rtl="0" fontAlgn="ctr"/>
                      <a:r>
                        <a:rPr lang="en-IN" sz="1200" b="0" i="0" u="none" strike="noStrike" dirty="0">
                          <a:solidFill>
                            <a:srgbClr val="000000"/>
                          </a:solidFill>
                          <a:effectLst/>
                          <a:latin typeface="Calibri" panose="020F0502020204030204" pitchFamily="34" charset="0"/>
                        </a:rPr>
                        <a:t>Design</a:t>
                      </a:r>
                    </a:p>
                  </a:txBody>
                  <a:tcPr marL="857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rtl="0" fontAlgn="ctr"/>
                      <a:r>
                        <a:rPr lang="en-IN" sz="1000" b="0" i="0" u="none" strike="noStrike" dirty="0">
                          <a:solidFill>
                            <a:srgbClr val="000000"/>
                          </a:solidFill>
                          <a:effectLst/>
                          <a:latin typeface="Calibri" panose="020F0502020204030204" pitchFamily="34" charset="0"/>
                        </a:rPr>
                        <a:t>1</a:t>
                      </a:r>
                    </a:p>
                  </a:txBody>
                  <a:tcPr marL="9525" marR="9525" marT="9525" marB="0" anchor="ctr">
                    <a:lnL>
                      <a:noFill/>
                    </a:lnL>
                    <a:lnR>
                      <a:noFill/>
                    </a:lnR>
                    <a:lnT>
                      <a:noFill/>
                    </a:lnT>
                    <a:lnB>
                      <a:noFill/>
                    </a:lnB>
                    <a:solidFill>
                      <a:srgbClr val="FFE699"/>
                    </a:solidFill>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vMerge="1">
                  <a:txBody>
                    <a:bodyPr/>
                    <a:lstStyle/>
                    <a:p>
                      <a:endParaRPr lang="en-IN"/>
                    </a:p>
                  </a:txBody>
                  <a:tcPr/>
                </a:tc>
                <a:tc vMerge="1">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xmlns="" val="10009"/>
                  </a:ext>
                </a:extLst>
              </a:tr>
              <a:tr h="223683">
                <a:tc>
                  <a:txBody>
                    <a:bodyPr/>
                    <a:lstStyle/>
                    <a:p>
                      <a:pPr algn="l" rtl="0" fontAlgn="ctr"/>
                      <a:r>
                        <a:rPr lang="en-IN" sz="1200" b="0" i="0" u="none" strike="noStrike" dirty="0">
                          <a:solidFill>
                            <a:srgbClr val="000000"/>
                          </a:solidFill>
                          <a:effectLst/>
                          <a:latin typeface="Calibri" panose="020F0502020204030204" pitchFamily="34" charset="0"/>
                        </a:rPr>
                        <a:t>Execution</a:t>
                      </a:r>
                    </a:p>
                  </a:txBody>
                  <a:tcPr marL="857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ctr" rtl="0" fontAlgn="ctr"/>
                      <a:r>
                        <a:rPr lang="en-IN" sz="1000" b="0" i="0" u="none" strike="noStrike" dirty="0">
                          <a:solidFill>
                            <a:srgbClr val="000000"/>
                          </a:solidFill>
                          <a:effectLst/>
                          <a:latin typeface="Calibri" panose="020F0502020204030204" pitchFamily="34" charset="0"/>
                        </a:rPr>
                        <a:t>1</a:t>
                      </a:r>
                    </a:p>
                  </a:txBody>
                  <a:tcPr marL="9525" marR="9525" marT="9525" marB="0" anchor="ctr">
                    <a:lnL>
                      <a:noFill/>
                    </a:lnL>
                    <a:lnR>
                      <a:noFill/>
                    </a:lnR>
                    <a:lnT>
                      <a:noFill/>
                    </a:lnT>
                    <a:lnB>
                      <a:noFill/>
                    </a:lnB>
                    <a:solidFill>
                      <a:srgbClr val="FFE699"/>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vMerge="1">
                  <a:txBody>
                    <a:bodyPr/>
                    <a:lstStyle/>
                    <a:p>
                      <a:endParaRPr lang="en-IN"/>
                    </a:p>
                  </a:txBody>
                  <a:tcPr/>
                </a:tc>
                <a:tc vMerge="1">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xmlns="" val="10010"/>
                  </a:ext>
                </a:extLst>
              </a:tr>
              <a:tr h="223683">
                <a:tc>
                  <a:txBody>
                    <a:bodyPr/>
                    <a:lstStyle/>
                    <a:p>
                      <a:pPr algn="l" rtl="0" fontAlgn="ctr"/>
                      <a:r>
                        <a:rPr lang="en-IN" sz="1200" b="1" i="0" u="none" strike="noStrike" dirty="0">
                          <a:solidFill>
                            <a:srgbClr val="000000"/>
                          </a:solidFill>
                          <a:effectLst/>
                          <a:latin typeface="Calibri" panose="020F0502020204030204" pitchFamily="34" charset="0"/>
                        </a:rPr>
                        <a:t>Sprint 4</a:t>
                      </a: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gridSpan="3">
                  <a:txBody>
                    <a:bodyPr/>
                    <a:lstStyle/>
                    <a:p>
                      <a:pPr algn="ctr" rtl="0" fontAlgn="ctr"/>
                      <a:r>
                        <a:rPr lang="en-IN" sz="1000" b="0" i="0" u="none" strike="noStrike" dirty="0">
                          <a:solidFill>
                            <a:srgbClr val="000000"/>
                          </a:solidFill>
                          <a:effectLst/>
                          <a:latin typeface="Calibri" panose="020F0502020204030204" pitchFamily="34" charset="0"/>
                        </a:rPr>
                        <a:t>3</a:t>
                      </a:r>
                    </a:p>
                  </a:txBody>
                  <a:tcPr marL="9525" marR="9525" marT="9525" marB="0" anchor="ctr">
                    <a:lnL>
                      <a:noFill/>
                    </a:lnL>
                    <a:lnR>
                      <a:noFill/>
                    </a:lnR>
                    <a:lnT>
                      <a:noFill/>
                    </a:lnT>
                    <a:lnB>
                      <a:noFill/>
                    </a:lnB>
                    <a:solidFill>
                      <a:srgbClr val="FFE699"/>
                    </a:solidFill>
                  </a:tcPr>
                </a:tc>
                <a:tc hMerge="1">
                  <a:txBody>
                    <a:bodyPr/>
                    <a:lstStyle/>
                    <a:p>
                      <a:endParaRPr lang="en-IN"/>
                    </a:p>
                  </a:txBody>
                  <a:tcPr/>
                </a:tc>
                <a:tc hMerge="1">
                  <a:txBody>
                    <a:bodyPr/>
                    <a:lstStyle/>
                    <a:p>
                      <a:endParaRPr lang="en-IN"/>
                    </a:p>
                  </a:txBody>
                  <a:tcPr/>
                </a:tc>
                <a:tc vMerge="1">
                  <a:txBody>
                    <a:bodyPr/>
                    <a:lstStyle/>
                    <a:p>
                      <a:endParaRPr lang="en-IN"/>
                    </a:p>
                  </a:txBody>
                  <a:tcPr/>
                </a:tc>
                <a:tc vMerge="1">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xmlns="" val="10011"/>
                  </a:ext>
                </a:extLst>
              </a:tr>
              <a:tr h="223683">
                <a:tc>
                  <a:txBody>
                    <a:bodyPr/>
                    <a:lstStyle/>
                    <a:p>
                      <a:pPr algn="l" rtl="0" fontAlgn="ctr"/>
                      <a:r>
                        <a:rPr lang="en-IN" sz="1200" b="0" i="0" u="none" strike="noStrike" dirty="0">
                          <a:solidFill>
                            <a:srgbClr val="000000"/>
                          </a:solidFill>
                          <a:effectLst/>
                          <a:latin typeface="Calibri" panose="020F0502020204030204" pitchFamily="34" charset="0"/>
                        </a:rPr>
                        <a:t>Execution</a:t>
                      </a:r>
                    </a:p>
                  </a:txBody>
                  <a:tcPr marL="857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gridSpan="2">
                  <a:txBody>
                    <a:bodyPr/>
                    <a:lstStyle/>
                    <a:p>
                      <a:pPr algn="ctr" rtl="0" fontAlgn="ctr"/>
                      <a:r>
                        <a:rPr lang="en-IN" sz="1000" b="0" i="0" u="none" strike="noStrike" dirty="0">
                          <a:solidFill>
                            <a:srgbClr val="000000"/>
                          </a:solidFill>
                          <a:effectLst/>
                          <a:latin typeface="Calibri" panose="020F0502020204030204" pitchFamily="34" charset="0"/>
                        </a:rPr>
                        <a:t>2</a:t>
                      </a:r>
                    </a:p>
                  </a:txBody>
                  <a:tcPr marL="9525" marR="9525" marT="9525" marB="0" anchor="ctr">
                    <a:lnL>
                      <a:noFill/>
                    </a:lnL>
                    <a:lnR>
                      <a:noFill/>
                    </a:lnR>
                    <a:lnT>
                      <a:noFill/>
                    </a:lnT>
                    <a:lnB>
                      <a:noFill/>
                    </a:lnB>
                    <a:solidFill>
                      <a:srgbClr val="FFE699"/>
                    </a:solidFill>
                  </a:tcPr>
                </a:tc>
                <a:tc hMerge="1">
                  <a:txBody>
                    <a:bodyPr/>
                    <a:lstStyle/>
                    <a:p>
                      <a:endParaRPr lang="en-IN"/>
                    </a:p>
                  </a:txBody>
                  <a:tcPr/>
                </a:tc>
                <a:tc>
                  <a:txBody>
                    <a:bodyPr/>
                    <a:lstStyle/>
                    <a:p>
                      <a:pPr algn="l" rtl="0" fontAlgn="ctr"/>
                      <a:r>
                        <a:rPr lang="en-IN" sz="1000" b="1" i="0" u="none" strike="noStrike" dirty="0">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9BC2E6"/>
                    </a:solidFill>
                  </a:tcPr>
                </a:tc>
                <a:tc vMerge="1">
                  <a:txBody>
                    <a:bodyPr/>
                    <a:lstStyle/>
                    <a:p>
                      <a:endParaRPr lang="en-IN"/>
                    </a:p>
                  </a:txBody>
                  <a:tcPr/>
                </a:tc>
                <a:tc vMerge="1">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xmlns="" val="10012"/>
                  </a:ext>
                </a:extLst>
              </a:tr>
              <a:tr h="223683">
                <a:tc>
                  <a:txBody>
                    <a:bodyPr/>
                    <a:lstStyle/>
                    <a:p>
                      <a:pPr algn="l" rtl="0" fontAlgn="ctr"/>
                      <a:r>
                        <a:rPr lang="en-IN" sz="1200" b="0" i="0" u="none" strike="noStrike" dirty="0">
                          <a:solidFill>
                            <a:srgbClr val="000000"/>
                          </a:solidFill>
                          <a:effectLst/>
                          <a:latin typeface="Calibri" panose="020F0502020204030204" pitchFamily="34" charset="0"/>
                        </a:rPr>
                        <a:t>Closure</a:t>
                      </a:r>
                    </a:p>
                  </a:txBody>
                  <a:tcPr marL="857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ctr"/>
                      <a:endParaRPr lang="en-IN"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rtl="0" fontAlgn="ctr"/>
                      <a:r>
                        <a:rPr lang="en-IN" sz="1000" b="0" i="0" u="none" strike="noStrike" dirty="0">
                          <a:solidFill>
                            <a:srgbClr val="000000"/>
                          </a:solidFill>
                          <a:effectLst/>
                          <a:latin typeface="Calibri" panose="020F0502020204030204" pitchFamily="34" charset="0"/>
                        </a:rPr>
                        <a:t>1</a:t>
                      </a:r>
                    </a:p>
                  </a:txBody>
                  <a:tcPr marL="9525" marR="9525" marT="9525" marB="0" anchor="ctr">
                    <a:lnL>
                      <a:noFill/>
                    </a:lnL>
                    <a:lnR>
                      <a:noFill/>
                    </a:lnR>
                    <a:lnT>
                      <a:noFill/>
                    </a:lnT>
                    <a:lnB>
                      <a:noFill/>
                    </a:lnB>
                    <a:solidFill>
                      <a:srgbClr val="FFE699"/>
                    </a:solidFill>
                  </a:tcPr>
                </a:tc>
                <a:tc vMerge="1">
                  <a:txBody>
                    <a:bodyPr/>
                    <a:lstStyle/>
                    <a:p>
                      <a:endParaRPr lang="en-IN"/>
                    </a:p>
                  </a:txBody>
                  <a:tcPr/>
                </a:tc>
                <a:tc vMerge="1">
                  <a:txBody>
                    <a:bodyPr/>
                    <a:lstStyle/>
                    <a:p>
                      <a:pPr algn="l" fontAlgn="b"/>
                      <a:endParaRPr lang="en-IN"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xmlns="" val="10013"/>
                  </a:ext>
                </a:extLst>
              </a:tr>
            </a:tbl>
          </a:graphicData>
        </a:graphic>
      </p:graphicFrame>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32258" y="1458951"/>
            <a:ext cx="279709" cy="228182"/>
          </a:xfrm>
          <a:prstGeom prst="rect">
            <a:avLst/>
          </a:prstGeom>
        </p:spPr>
      </p:pic>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10094" y="2139385"/>
            <a:ext cx="279709" cy="228182"/>
          </a:xfrm>
          <a:prstGeom prst="rect">
            <a:avLst/>
          </a:prstGeom>
        </p:spPr>
      </p:pic>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92049" y="2806940"/>
            <a:ext cx="279709" cy="228182"/>
          </a:xfrm>
          <a:prstGeom prst="rect">
            <a:avLst/>
          </a:prstGeom>
        </p:spPr>
      </p:pic>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20979" y="3487374"/>
            <a:ext cx="279709" cy="228182"/>
          </a:xfrm>
          <a:prstGeom prst="rect">
            <a:avLst/>
          </a:prstGeom>
        </p:spPr>
      </p:pic>
    </p:spTree>
    <p:extLst>
      <p:ext uri="{BB962C8B-B14F-4D97-AF65-F5344CB8AC3E}">
        <p14:creationId xmlns:p14="http://schemas.microsoft.com/office/powerpoint/2010/main" val="12919041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IN" dirty="0"/>
              <a:t>Sprint 1 &amp; 2</a:t>
            </a:r>
          </a:p>
        </p:txBody>
      </p:sp>
      <p:graphicFrame>
        <p:nvGraphicFramePr>
          <p:cNvPr id="5" name="Diagram 4"/>
          <p:cNvGraphicFramePr/>
          <p:nvPr/>
        </p:nvGraphicFramePr>
        <p:xfrm>
          <a:off x="559061" y="1236372"/>
          <a:ext cx="8128000" cy="49534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ounded Rectangle 5"/>
          <p:cNvSpPr/>
          <p:nvPr/>
        </p:nvSpPr>
        <p:spPr>
          <a:xfrm>
            <a:off x="8783391" y="1236372"/>
            <a:ext cx="2983606" cy="2086377"/>
          </a:xfrm>
          <a:prstGeom prst="roundRect">
            <a:avLst/>
          </a:prstGeom>
          <a:ln>
            <a:solidFill>
              <a:srgbClr val="D9D9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Calibiri"/>
            </a:endParaRPr>
          </a:p>
        </p:txBody>
      </p:sp>
      <p:sp>
        <p:nvSpPr>
          <p:cNvPr id="7" name="TextBox 6"/>
          <p:cNvSpPr txBox="1"/>
          <p:nvPr/>
        </p:nvSpPr>
        <p:spPr>
          <a:xfrm>
            <a:off x="9128989" y="1326679"/>
            <a:ext cx="2343956" cy="276999"/>
          </a:xfrm>
          <a:prstGeom prst="rect">
            <a:avLst/>
          </a:prstGeom>
        </p:spPr>
        <p:txBody>
          <a:bodyPr wrap="square" lIns="0" tIns="0" rIns="0" bIns="0" rtlCol="0">
            <a:spAutoFit/>
          </a:bodyPr>
          <a:lstStyle/>
          <a:p>
            <a:r>
              <a:rPr lang="en-IN" dirty="0">
                <a:solidFill>
                  <a:schemeClr val="bg1">
                    <a:lumMod val="10000"/>
                  </a:schemeClr>
                </a:solidFill>
                <a:latin typeface="Calibri" panose="020F0502020204030204" pitchFamily="34" charset="0"/>
                <a:cs typeface="Calibri" panose="020F0502020204030204" pitchFamily="34" charset="0"/>
              </a:rPr>
              <a:t>Sprint 1 Key Deliverables</a:t>
            </a:r>
          </a:p>
        </p:txBody>
      </p:sp>
      <p:sp>
        <p:nvSpPr>
          <p:cNvPr id="9" name="TextBox 8"/>
          <p:cNvSpPr txBox="1"/>
          <p:nvPr/>
        </p:nvSpPr>
        <p:spPr>
          <a:xfrm>
            <a:off x="8929367" y="1741194"/>
            <a:ext cx="2743201" cy="1477328"/>
          </a:xfrm>
          <a:prstGeom prst="rect">
            <a:avLst/>
          </a:prstGeom>
        </p:spPr>
        <p:txBody>
          <a:bodyPr wrap="square" lIns="0" tIns="0" rIns="0" bIns="0" rtlCol="0">
            <a:spAutoFit/>
          </a:bodyPr>
          <a:lstStyle/>
          <a:p>
            <a:pPr marL="171450" indent="-171450">
              <a:buFont typeface="Arial" panose="020B0604020202020204" pitchFamily="34" charset="0"/>
              <a:buChar char="•"/>
            </a:pPr>
            <a:r>
              <a:rPr lang="en-IN" sz="1200" dirty="0">
                <a:solidFill>
                  <a:schemeClr val="bg1">
                    <a:lumMod val="10000"/>
                  </a:schemeClr>
                </a:solidFill>
                <a:latin typeface="Calibri" panose="020F0502020204030204" pitchFamily="34" charset="0"/>
                <a:cs typeface="Calibri" panose="020F0502020204030204" pitchFamily="34" charset="0"/>
              </a:rPr>
              <a:t>Transactions in scope for MEEM KSA IB and MB</a:t>
            </a:r>
          </a:p>
          <a:p>
            <a:pPr marL="171450" indent="-171450">
              <a:buFont typeface="Arial" panose="020B0604020202020204" pitchFamily="34" charset="0"/>
              <a:buChar char="•"/>
            </a:pPr>
            <a:r>
              <a:rPr lang="en-IN" sz="1200" dirty="0">
                <a:solidFill>
                  <a:schemeClr val="bg1">
                    <a:lumMod val="10000"/>
                  </a:schemeClr>
                </a:solidFill>
                <a:latin typeface="Calibri" panose="020F0502020204030204" pitchFamily="34" charset="0"/>
                <a:cs typeface="Calibri" panose="020F0502020204030204" pitchFamily="34" charset="0"/>
              </a:rPr>
              <a:t>Test environment for Performance Testing</a:t>
            </a:r>
          </a:p>
          <a:p>
            <a:pPr marL="171450" indent="-171450">
              <a:buFont typeface="Arial" panose="020B0604020202020204" pitchFamily="34" charset="0"/>
              <a:buChar char="•"/>
            </a:pPr>
            <a:r>
              <a:rPr lang="en-IN" sz="1200" dirty="0">
                <a:solidFill>
                  <a:schemeClr val="bg1">
                    <a:lumMod val="10000"/>
                  </a:schemeClr>
                </a:solidFill>
                <a:latin typeface="Calibri" panose="020F0502020204030204" pitchFamily="34" charset="0"/>
                <a:cs typeface="Calibri" panose="020F0502020204030204" pitchFamily="34" charset="0"/>
              </a:rPr>
              <a:t>Workload model</a:t>
            </a:r>
          </a:p>
          <a:p>
            <a:pPr marL="171450" indent="-171450">
              <a:buFont typeface="Arial" panose="020B0604020202020204" pitchFamily="34" charset="0"/>
              <a:buChar char="•"/>
            </a:pPr>
            <a:r>
              <a:rPr lang="en-IN" sz="1200" dirty="0">
                <a:solidFill>
                  <a:schemeClr val="bg1">
                    <a:lumMod val="10000"/>
                  </a:schemeClr>
                </a:solidFill>
                <a:latin typeface="Calibri" panose="020F0502020204030204" pitchFamily="34" charset="0"/>
                <a:cs typeface="Calibri" panose="020F0502020204030204" pitchFamily="34" charset="0"/>
              </a:rPr>
              <a:t>Performance scripts for 3 Transactions</a:t>
            </a:r>
          </a:p>
          <a:p>
            <a:pPr marL="171450" indent="-171450">
              <a:buFont typeface="Arial" panose="020B0604020202020204" pitchFamily="34" charset="0"/>
              <a:buChar char="•"/>
            </a:pPr>
            <a:r>
              <a:rPr lang="en-IN" sz="1200" dirty="0">
                <a:solidFill>
                  <a:schemeClr val="bg1">
                    <a:lumMod val="10000"/>
                  </a:schemeClr>
                </a:solidFill>
                <a:latin typeface="Calibri" panose="020F0502020204030204" pitchFamily="34" charset="0"/>
                <a:cs typeface="Calibri" panose="020F0502020204030204" pitchFamily="34" charset="0"/>
              </a:rPr>
              <a:t>Execution summary report for baseline test</a:t>
            </a:r>
          </a:p>
        </p:txBody>
      </p:sp>
      <p:sp>
        <p:nvSpPr>
          <p:cNvPr id="10" name="Rounded Rectangle 9"/>
          <p:cNvSpPr/>
          <p:nvPr/>
        </p:nvSpPr>
        <p:spPr>
          <a:xfrm>
            <a:off x="8783391" y="3964547"/>
            <a:ext cx="2983606" cy="2086377"/>
          </a:xfrm>
          <a:prstGeom prst="roundRect">
            <a:avLst/>
          </a:prstGeom>
          <a:ln>
            <a:solidFill>
              <a:srgbClr val="D9D9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Calibiri"/>
            </a:endParaRPr>
          </a:p>
        </p:txBody>
      </p:sp>
      <p:sp>
        <p:nvSpPr>
          <p:cNvPr id="11" name="TextBox 10"/>
          <p:cNvSpPr txBox="1"/>
          <p:nvPr/>
        </p:nvSpPr>
        <p:spPr>
          <a:xfrm>
            <a:off x="9128989" y="4084898"/>
            <a:ext cx="2343956" cy="276999"/>
          </a:xfrm>
          <a:prstGeom prst="rect">
            <a:avLst/>
          </a:prstGeom>
        </p:spPr>
        <p:txBody>
          <a:bodyPr wrap="square" lIns="0" tIns="0" rIns="0" bIns="0" rtlCol="0">
            <a:spAutoFit/>
          </a:bodyPr>
          <a:lstStyle/>
          <a:p>
            <a:r>
              <a:rPr lang="en-IN" dirty="0">
                <a:solidFill>
                  <a:schemeClr val="bg1">
                    <a:lumMod val="10000"/>
                  </a:schemeClr>
                </a:solidFill>
                <a:latin typeface="Calibri" panose="020F0502020204030204" pitchFamily="34" charset="0"/>
                <a:cs typeface="Calibri" panose="020F0502020204030204" pitchFamily="34" charset="0"/>
              </a:rPr>
              <a:t>Sprint 2 Key Deliverables</a:t>
            </a:r>
          </a:p>
        </p:txBody>
      </p:sp>
      <p:sp>
        <p:nvSpPr>
          <p:cNvPr id="12" name="TextBox 11"/>
          <p:cNvSpPr txBox="1"/>
          <p:nvPr/>
        </p:nvSpPr>
        <p:spPr>
          <a:xfrm>
            <a:off x="8929367" y="4482247"/>
            <a:ext cx="2743201" cy="1292662"/>
          </a:xfrm>
          <a:prstGeom prst="rect">
            <a:avLst/>
          </a:prstGeom>
        </p:spPr>
        <p:txBody>
          <a:bodyPr wrap="square" lIns="0" tIns="0" rIns="0" bIns="0" rtlCol="0">
            <a:spAutoFit/>
          </a:bodyPr>
          <a:lstStyle/>
          <a:p>
            <a:pPr marL="171450" indent="-171450">
              <a:buFont typeface="Arial" panose="020B0604020202020204" pitchFamily="34" charset="0"/>
              <a:buChar char="•"/>
            </a:pPr>
            <a:r>
              <a:rPr lang="en-IN" sz="1200" dirty="0">
                <a:solidFill>
                  <a:schemeClr val="bg1">
                    <a:lumMod val="10000"/>
                  </a:schemeClr>
                </a:solidFill>
                <a:latin typeface="Calibri" panose="020F0502020204030204" pitchFamily="34" charset="0"/>
                <a:cs typeface="Calibri" panose="020F0502020204030204" pitchFamily="34" charset="0"/>
              </a:rPr>
              <a:t>Delta report between performance test environment and production for extrapolation</a:t>
            </a:r>
          </a:p>
          <a:p>
            <a:pPr marL="171450" indent="-171450">
              <a:buFont typeface="Arial" panose="020B0604020202020204" pitchFamily="34" charset="0"/>
              <a:buChar char="•"/>
            </a:pPr>
            <a:r>
              <a:rPr lang="en-IN" sz="1200" dirty="0">
                <a:solidFill>
                  <a:schemeClr val="bg1">
                    <a:lumMod val="10000"/>
                  </a:schemeClr>
                </a:solidFill>
                <a:latin typeface="Calibri" panose="020F0502020204030204" pitchFamily="34" charset="0"/>
                <a:cs typeface="Calibri" panose="020F0502020204030204" pitchFamily="34" charset="0"/>
              </a:rPr>
              <a:t>Performance Test Plan</a:t>
            </a:r>
          </a:p>
          <a:p>
            <a:pPr marL="171450" indent="-171450">
              <a:buFont typeface="Arial" panose="020B0604020202020204" pitchFamily="34" charset="0"/>
              <a:buChar char="•"/>
            </a:pPr>
            <a:r>
              <a:rPr lang="en-IN" sz="1200" dirty="0">
                <a:solidFill>
                  <a:schemeClr val="bg1">
                    <a:lumMod val="10000"/>
                  </a:schemeClr>
                </a:solidFill>
                <a:latin typeface="Calibri" panose="020F0502020204030204" pitchFamily="34" charset="0"/>
                <a:cs typeface="Calibri" panose="020F0502020204030204" pitchFamily="34" charset="0"/>
              </a:rPr>
              <a:t>Performance scripts for 5 transactions</a:t>
            </a:r>
          </a:p>
          <a:p>
            <a:pPr marL="171450" indent="-171450">
              <a:buFont typeface="Arial" panose="020B0604020202020204" pitchFamily="34" charset="0"/>
              <a:buChar char="•"/>
            </a:pPr>
            <a:r>
              <a:rPr lang="en-IN" sz="1200" dirty="0">
                <a:solidFill>
                  <a:schemeClr val="bg1">
                    <a:lumMod val="10000"/>
                  </a:schemeClr>
                </a:solidFill>
                <a:latin typeface="Calibri" panose="020F0502020204030204" pitchFamily="34" charset="0"/>
                <a:cs typeface="Calibri" panose="020F0502020204030204" pitchFamily="34" charset="0"/>
              </a:rPr>
              <a:t>Execution summary report for 10% and 30% load test</a:t>
            </a:r>
          </a:p>
        </p:txBody>
      </p:sp>
    </p:spTree>
    <p:extLst>
      <p:ext uri="{BB962C8B-B14F-4D97-AF65-F5344CB8AC3E}">
        <p14:creationId xmlns:p14="http://schemas.microsoft.com/office/powerpoint/2010/main" val="3718856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IN" dirty="0"/>
              <a:t>Sprint 3 &amp; 4</a:t>
            </a:r>
          </a:p>
        </p:txBody>
      </p:sp>
      <p:graphicFrame>
        <p:nvGraphicFramePr>
          <p:cNvPr id="4" name="Diagram 3"/>
          <p:cNvGraphicFramePr/>
          <p:nvPr/>
        </p:nvGraphicFramePr>
        <p:xfrm>
          <a:off x="559061" y="1236372"/>
          <a:ext cx="8128000" cy="49534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ounded Rectangle 4"/>
          <p:cNvSpPr/>
          <p:nvPr/>
        </p:nvSpPr>
        <p:spPr>
          <a:xfrm>
            <a:off x="8783391" y="1236372"/>
            <a:ext cx="2983606" cy="2086377"/>
          </a:xfrm>
          <a:prstGeom prst="roundRect">
            <a:avLst/>
          </a:prstGeom>
          <a:ln>
            <a:solidFill>
              <a:srgbClr val="D9D9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Calibiri"/>
            </a:endParaRPr>
          </a:p>
        </p:txBody>
      </p:sp>
      <p:sp>
        <p:nvSpPr>
          <p:cNvPr id="6" name="Rounded Rectangle 5"/>
          <p:cNvSpPr/>
          <p:nvPr/>
        </p:nvSpPr>
        <p:spPr>
          <a:xfrm>
            <a:off x="8783391" y="3964547"/>
            <a:ext cx="2983606" cy="2086377"/>
          </a:xfrm>
          <a:prstGeom prst="roundRect">
            <a:avLst/>
          </a:prstGeom>
          <a:ln>
            <a:solidFill>
              <a:srgbClr val="D9D9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Calibiri"/>
            </a:endParaRPr>
          </a:p>
        </p:txBody>
      </p:sp>
      <p:sp>
        <p:nvSpPr>
          <p:cNvPr id="7" name="TextBox 6"/>
          <p:cNvSpPr txBox="1"/>
          <p:nvPr/>
        </p:nvSpPr>
        <p:spPr>
          <a:xfrm>
            <a:off x="9174065" y="1430655"/>
            <a:ext cx="2343956" cy="276999"/>
          </a:xfrm>
          <a:prstGeom prst="rect">
            <a:avLst/>
          </a:prstGeom>
        </p:spPr>
        <p:txBody>
          <a:bodyPr wrap="square" lIns="0" tIns="0" rIns="0" bIns="0" rtlCol="0">
            <a:spAutoFit/>
          </a:bodyPr>
          <a:lstStyle/>
          <a:p>
            <a:r>
              <a:rPr lang="en-IN" dirty="0">
                <a:solidFill>
                  <a:schemeClr val="bg1">
                    <a:lumMod val="10000"/>
                  </a:schemeClr>
                </a:solidFill>
                <a:latin typeface="Calibri" panose="020F0502020204030204" pitchFamily="34" charset="0"/>
                <a:cs typeface="Calibri" panose="020F0502020204030204" pitchFamily="34" charset="0"/>
              </a:rPr>
              <a:t>Sprint 3 Key Deliverables</a:t>
            </a:r>
          </a:p>
        </p:txBody>
      </p:sp>
      <p:sp>
        <p:nvSpPr>
          <p:cNvPr id="8" name="TextBox 7"/>
          <p:cNvSpPr txBox="1"/>
          <p:nvPr/>
        </p:nvSpPr>
        <p:spPr>
          <a:xfrm>
            <a:off x="8929367" y="2001766"/>
            <a:ext cx="2743201" cy="553998"/>
          </a:xfrm>
          <a:prstGeom prst="rect">
            <a:avLst/>
          </a:prstGeom>
        </p:spPr>
        <p:txBody>
          <a:bodyPr wrap="square" lIns="0" tIns="0" rIns="0" bIns="0" rtlCol="0">
            <a:spAutoFit/>
          </a:bodyPr>
          <a:lstStyle/>
          <a:p>
            <a:pPr marL="171450" indent="-171450">
              <a:buFont typeface="Arial" panose="020B0604020202020204" pitchFamily="34" charset="0"/>
              <a:buChar char="•"/>
            </a:pPr>
            <a:r>
              <a:rPr lang="en-IN" sz="1200" dirty="0">
                <a:solidFill>
                  <a:schemeClr val="bg1">
                    <a:lumMod val="10000"/>
                  </a:schemeClr>
                </a:solidFill>
                <a:latin typeface="Calibri" panose="020F0502020204030204" pitchFamily="34" charset="0"/>
                <a:cs typeface="Calibri" panose="020F0502020204030204" pitchFamily="34" charset="0"/>
              </a:rPr>
              <a:t>Performance scripts for 4 Transactions</a:t>
            </a:r>
          </a:p>
          <a:p>
            <a:pPr marL="171450" indent="-171450">
              <a:buFont typeface="Arial" panose="020B0604020202020204" pitchFamily="34" charset="0"/>
              <a:buChar char="•"/>
            </a:pPr>
            <a:r>
              <a:rPr lang="en-IN" sz="1200" dirty="0">
                <a:solidFill>
                  <a:schemeClr val="bg1">
                    <a:lumMod val="10000"/>
                  </a:schemeClr>
                </a:solidFill>
                <a:latin typeface="Calibri" panose="020F0502020204030204" pitchFamily="34" charset="0"/>
                <a:cs typeface="Calibri" panose="020F0502020204030204" pitchFamily="34" charset="0"/>
              </a:rPr>
              <a:t>Execution summary report for load test</a:t>
            </a:r>
          </a:p>
          <a:p>
            <a:pPr marL="171450" indent="-171450">
              <a:buFont typeface="Arial" panose="020B0604020202020204" pitchFamily="34" charset="0"/>
              <a:buChar char="•"/>
            </a:pPr>
            <a:r>
              <a:rPr lang="en-IN" sz="1200" dirty="0">
                <a:solidFill>
                  <a:schemeClr val="bg1">
                    <a:lumMod val="10000"/>
                  </a:schemeClr>
                </a:solidFill>
                <a:latin typeface="Calibri" panose="020F0502020204030204" pitchFamily="34" charset="0"/>
                <a:cs typeface="Calibri" panose="020F0502020204030204" pitchFamily="34" charset="0"/>
              </a:rPr>
              <a:t>Performance defects report</a:t>
            </a:r>
          </a:p>
        </p:txBody>
      </p:sp>
      <p:sp>
        <p:nvSpPr>
          <p:cNvPr id="9" name="TextBox 8"/>
          <p:cNvSpPr txBox="1"/>
          <p:nvPr/>
        </p:nvSpPr>
        <p:spPr>
          <a:xfrm>
            <a:off x="9174065" y="4084898"/>
            <a:ext cx="2343956" cy="276999"/>
          </a:xfrm>
          <a:prstGeom prst="rect">
            <a:avLst/>
          </a:prstGeom>
        </p:spPr>
        <p:txBody>
          <a:bodyPr wrap="square" lIns="0" tIns="0" rIns="0" bIns="0" rtlCol="0">
            <a:spAutoFit/>
          </a:bodyPr>
          <a:lstStyle/>
          <a:p>
            <a:r>
              <a:rPr lang="en-IN" dirty="0">
                <a:solidFill>
                  <a:schemeClr val="bg1">
                    <a:lumMod val="10000"/>
                  </a:schemeClr>
                </a:solidFill>
                <a:latin typeface="Calibri" panose="020F0502020204030204" pitchFamily="34" charset="0"/>
                <a:cs typeface="Calibri" panose="020F0502020204030204" pitchFamily="34" charset="0"/>
              </a:rPr>
              <a:t>Sprint 4 Key Deliverables</a:t>
            </a:r>
          </a:p>
        </p:txBody>
      </p:sp>
      <p:sp>
        <p:nvSpPr>
          <p:cNvPr id="10" name="TextBox 9"/>
          <p:cNvSpPr txBox="1"/>
          <p:nvPr/>
        </p:nvSpPr>
        <p:spPr>
          <a:xfrm>
            <a:off x="8929367" y="4482248"/>
            <a:ext cx="2743201" cy="1292662"/>
          </a:xfrm>
          <a:prstGeom prst="rect">
            <a:avLst/>
          </a:prstGeom>
        </p:spPr>
        <p:txBody>
          <a:bodyPr wrap="square" lIns="0" tIns="0" rIns="0" bIns="0" rtlCol="0">
            <a:spAutoFit/>
          </a:bodyPr>
          <a:lstStyle/>
          <a:p>
            <a:pPr marL="171450" indent="-171450">
              <a:buFont typeface="Arial" panose="020B0604020202020204" pitchFamily="34" charset="0"/>
              <a:buChar char="•"/>
            </a:pPr>
            <a:r>
              <a:rPr lang="en-IN" sz="1200" dirty="0">
                <a:solidFill>
                  <a:schemeClr val="bg1">
                    <a:lumMod val="10000"/>
                  </a:schemeClr>
                </a:solidFill>
                <a:latin typeface="Calibri" panose="020F0502020204030204" pitchFamily="34" charset="0"/>
                <a:cs typeface="Calibri" panose="020F0502020204030204" pitchFamily="34" charset="0"/>
              </a:rPr>
              <a:t>Performance script repository with 12 critical transactions from MEEM KSA IB &amp; MB </a:t>
            </a:r>
          </a:p>
          <a:p>
            <a:pPr marL="171450" indent="-171450">
              <a:buFont typeface="Arial" panose="020B0604020202020204" pitchFamily="34" charset="0"/>
              <a:buChar char="•"/>
            </a:pPr>
            <a:r>
              <a:rPr lang="en-IN" sz="1200" dirty="0">
                <a:solidFill>
                  <a:schemeClr val="bg1">
                    <a:lumMod val="10000"/>
                  </a:schemeClr>
                </a:solidFill>
                <a:latin typeface="Calibri" panose="020F0502020204030204" pitchFamily="34" charset="0"/>
                <a:cs typeface="Calibri" panose="020F0502020204030204" pitchFamily="34" charset="0"/>
              </a:rPr>
              <a:t>Execution summary report for stress and endurance test</a:t>
            </a:r>
          </a:p>
          <a:p>
            <a:pPr marL="171450" indent="-171450">
              <a:buFont typeface="Arial" panose="020B0604020202020204" pitchFamily="34" charset="0"/>
              <a:buChar char="•"/>
            </a:pPr>
            <a:r>
              <a:rPr lang="en-IN" sz="1200" dirty="0">
                <a:solidFill>
                  <a:schemeClr val="bg1">
                    <a:lumMod val="10000"/>
                  </a:schemeClr>
                </a:solidFill>
                <a:latin typeface="Calibri" panose="020F0502020204030204" pitchFamily="34" charset="0"/>
                <a:cs typeface="Calibri" panose="020F0502020204030204" pitchFamily="34" charset="0"/>
              </a:rPr>
              <a:t>Final performance test closure report</a:t>
            </a:r>
          </a:p>
          <a:p>
            <a:pPr marL="171450" indent="-171450">
              <a:buFont typeface="Arial" panose="020B0604020202020204" pitchFamily="34" charset="0"/>
              <a:buChar char="•"/>
            </a:pPr>
            <a:endParaRPr lang="en-IN" sz="1200" dirty="0">
              <a:solidFill>
                <a:schemeClr val="bg1">
                  <a:lumMod val="1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269147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IN" dirty="0"/>
              <a:t>Performance Testing Tool Comparison</a:t>
            </a:r>
          </a:p>
        </p:txBody>
      </p:sp>
      <p:graphicFrame>
        <p:nvGraphicFramePr>
          <p:cNvPr id="4" name="Object 3"/>
          <p:cNvGraphicFramePr>
            <a:graphicFrameLocks noChangeAspect="1"/>
          </p:cNvGraphicFramePr>
          <p:nvPr>
            <p:extLst>
              <p:ext uri="{D42A27DB-BD31-4B8C-83A1-F6EECF244321}">
                <p14:modId xmlns:p14="http://schemas.microsoft.com/office/powerpoint/2010/main" val="3367410997"/>
              </p:ext>
            </p:extLst>
          </p:nvPr>
        </p:nvGraphicFramePr>
        <p:xfrm>
          <a:off x="11306913" y="956553"/>
          <a:ext cx="777026" cy="599745"/>
        </p:xfrm>
        <a:graphic>
          <a:graphicData uri="http://schemas.openxmlformats.org/presentationml/2006/ole">
            <mc:AlternateContent xmlns:mc="http://schemas.openxmlformats.org/markup-compatibility/2006">
              <mc:Choice xmlns:v="urn:schemas-microsoft-com:vml" Requires="v">
                <p:oleObj spid="_x0000_s1077" name="Worksheet" showAsIcon="1" r:id="rId3" imgW="914400" imgH="771480" progId="Excel.Sheet.12">
                  <p:embed/>
                </p:oleObj>
              </mc:Choice>
              <mc:Fallback>
                <p:oleObj name="Worksheet" showAsIcon="1" r:id="rId3" imgW="914400" imgH="771480" progId="Excel.Sheet.12">
                  <p:embed/>
                  <p:pic>
                    <p:nvPicPr>
                      <p:cNvPr id="0" name=""/>
                      <p:cNvPicPr/>
                      <p:nvPr/>
                    </p:nvPicPr>
                    <p:blipFill>
                      <a:blip r:embed="rId4"/>
                      <a:stretch>
                        <a:fillRect/>
                      </a:stretch>
                    </p:blipFill>
                    <p:spPr>
                      <a:xfrm>
                        <a:off x="11306913" y="956553"/>
                        <a:ext cx="777026" cy="599745"/>
                      </a:xfrm>
                      <a:prstGeom prst="rect">
                        <a:avLst/>
                      </a:prstGeom>
                    </p:spPr>
                  </p:pic>
                </p:oleObj>
              </mc:Fallback>
            </mc:AlternateContent>
          </a:graphicData>
        </a:graphic>
      </p:graphicFrame>
      <p:grpSp>
        <p:nvGrpSpPr>
          <p:cNvPr id="22" name="Group 21"/>
          <p:cNvGrpSpPr/>
          <p:nvPr/>
        </p:nvGrpSpPr>
        <p:grpSpPr>
          <a:xfrm>
            <a:off x="101326" y="912955"/>
            <a:ext cx="11586748" cy="5503729"/>
            <a:chOff x="287573" y="912955"/>
            <a:chExt cx="11586748" cy="5503729"/>
          </a:xfrm>
        </p:grpSpPr>
        <p:graphicFrame>
          <p:nvGraphicFramePr>
            <p:cNvPr id="3" name="Diagram 2"/>
            <p:cNvGraphicFramePr/>
            <p:nvPr>
              <p:extLst>
                <p:ext uri="{D42A27DB-BD31-4B8C-83A1-F6EECF244321}">
                  <p14:modId xmlns:p14="http://schemas.microsoft.com/office/powerpoint/2010/main" val="3667198269"/>
                </p:ext>
              </p:extLst>
            </p:nvPr>
          </p:nvGraphicFramePr>
          <p:xfrm>
            <a:off x="817108" y="912955"/>
            <a:ext cx="10928423" cy="550372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5" name="Picture 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53250" y="1146589"/>
              <a:ext cx="901308" cy="819418"/>
            </a:xfrm>
            <a:prstGeom prst="rect">
              <a:avLst/>
            </a:prstGeom>
          </p:spPr>
        </p:pic>
        <p:pic>
          <p:nvPicPr>
            <p:cNvPr id="7" name="Picture 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803820" y="1166044"/>
              <a:ext cx="867714" cy="786120"/>
            </a:xfrm>
            <a:prstGeom prst="rect">
              <a:avLst/>
            </a:prstGeom>
          </p:spPr>
        </p:pic>
        <p:grpSp>
          <p:nvGrpSpPr>
            <p:cNvPr id="10" name="Group 9"/>
            <p:cNvGrpSpPr/>
            <p:nvPr/>
          </p:nvGrpSpPr>
          <p:grpSpPr>
            <a:xfrm>
              <a:off x="8620796" y="1147953"/>
              <a:ext cx="898501" cy="839392"/>
              <a:chOff x="6117465" y="1367501"/>
              <a:chExt cx="973965" cy="953037"/>
            </a:xfrm>
          </p:grpSpPr>
          <p:sp>
            <p:nvSpPr>
              <p:cNvPr id="8" name="Rectangle 7"/>
              <p:cNvSpPr/>
              <p:nvPr/>
            </p:nvSpPr>
            <p:spPr>
              <a:xfrm>
                <a:off x="6117465" y="1367501"/>
                <a:ext cx="973965" cy="9530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9" name="Picture 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163273" y="1367501"/>
                <a:ext cx="876843" cy="876843"/>
              </a:xfrm>
              <a:prstGeom prst="rect">
                <a:avLst/>
              </a:prstGeom>
            </p:spPr>
          </p:pic>
        </p:grpSp>
        <p:sp>
          <p:nvSpPr>
            <p:cNvPr id="11" name="Rectangle 10"/>
            <p:cNvSpPr/>
            <p:nvPr/>
          </p:nvSpPr>
          <p:spPr>
            <a:xfrm>
              <a:off x="656823" y="2053202"/>
              <a:ext cx="11217498" cy="2171069"/>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Rectangle 11"/>
            <p:cNvSpPr/>
            <p:nvPr/>
          </p:nvSpPr>
          <p:spPr>
            <a:xfrm>
              <a:off x="656823" y="4365938"/>
              <a:ext cx="11217498" cy="195758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TextBox 12"/>
            <p:cNvSpPr txBox="1"/>
            <p:nvPr/>
          </p:nvSpPr>
          <p:spPr>
            <a:xfrm>
              <a:off x="1493949" y="4544448"/>
              <a:ext cx="2446986" cy="369332"/>
            </a:xfrm>
            <a:prstGeom prst="rect">
              <a:avLst/>
            </a:prstGeom>
          </p:spPr>
          <p:txBody>
            <a:bodyPr wrap="square" lIns="0" tIns="0" rIns="0" bIns="0" rtlCol="0">
              <a:spAutoFit/>
            </a:bodyPr>
            <a:lstStyle/>
            <a:p>
              <a:pPr marL="28575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Non GUI mode execution</a:t>
              </a:r>
            </a:p>
            <a:p>
              <a:pPr marL="28575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Constraints on report generation</a:t>
              </a:r>
            </a:p>
          </p:txBody>
        </p:sp>
        <p:sp>
          <p:nvSpPr>
            <p:cNvPr id="15" name="TextBox 14"/>
            <p:cNvSpPr txBox="1"/>
            <p:nvPr/>
          </p:nvSpPr>
          <p:spPr>
            <a:xfrm>
              <a:off x="5396247" y="4424565"/>
              <a:ext cx="2446986" cy="1785104"/>
            </a:xfrm>
            <a:prstGeom prst="rect">
              <a:avLst/>
            </a:prstGeom>
          </p:spPr>
          <p:txBody>
            <a:bodyPr wrap="square" lIns="0" tIns="0" rIns="0" bIns="0" rtlCol="0">
              <a:spAutoFit/>
            </a:bodyPr>
            <a:lstStyle/>
            <a:p>
              <a:pPr marL="28575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Licensed </a:t>
              </a:r>
            </a:p>
            <a:p>
              <a:pPr marL="28575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Cost is less compared to load runner</a:t>
              </a:r>
            </a:p>
            <a:p>
              <a:pPr marL="285750" indent="-285750">
                <a:buFont typeface="Wingdings" panose="05000000000000000000" pitchFamily="2" charset="2"/>
                <a:buChar char="§"/>
              </a:pPr>
              <a:r>
                <a:rPr lang="en-IN" sz="1200" b="1" dirty="0">
                  <a:solidFill>
                    <a:schemeClr val="bg1">
                      <a:lumMod val="10000"/>
                    </a:schemeClr>
                  </a:solidFill>
                  <a:latin typeface="Calibri" panose="020F0502020204030204" pitchFamily="34" charset="0"/>
                  <a:cs typeface="Calibri" panose="020F0502020204030204" pitchFamily="34" charset="0"/>
                </a:rPr>
                <a:t>Cost</a:t>
              </a:r>
            </a:p>
            <a:p>
              <a:pPr marL="742950" lvl="1" indent="-285750">
                <a:buFont typeface="Wingdings" panose="05000000000000000000" pitchFamily="2" charset="2"/>
                <a:buChar char="§"/>
              </a:pPr>
              <a:r>
                <a:rPr lang="en-US" sz="1100" dirty="0">
                  <a:solidFill>
                    <a:schemeClr val="bg1">
                      <a:lumMod val="10000"/>
                    </a:schemeClr>
                  </a:solidFill>
                  <a:latin typeface="Calibri" panose="020F0502020204030204" pitchFamily="34" charset="0"/>
                  <a:cs typeface="Calibri" panose="020F0502020204030204" pitchFamily="34" charset="0"/>
                </a:rPr>
                <a:t>1-500 VUs  -  $945 / Month</a:t>
              </a:r>
            </a:p>
            <a:p>
              <a:pPr marL="742950" lvl="1" indent="-285750">
                <a:buFont typeface="Wingdings" panose="05000000000000000000" pitchFamily="2" charset="2"/>
                <a:buChar char="§"/>
              </a:pPr>
              <a:r>
                <a:rPr lang="en-US" sz="1100" dirty="0">
                  <a:solidFill>
                    <a:schemeClr val="bg1">
                      <a:lumMod val="10000"/>
                    </a:schemeClr>
                  </a:solidFill>
                  <a:latin typeface="Calibri" panose="020F0502020204030204" pitchFamily="34" charset="0"/>
                  <a:cs typeface="Calibri" panose="020F0502020204030204" pitchFamily="34" charset="0"/>
                </a:rPr>
                <a:t>500-999 VUs - $1260 / Month</a:t>
              </a:r>
            </a:p>
            <a:p>
              <a:pPr marL="742950" lvl="1" indent="-285750">
                <a:buFont typeface="Wingdings" panose="05000000000000000000" pitchFamily="2" charset="2"/>
                <a:buChar char="§"/>
              </a:pPr>
              <a:r>
                <a:rPr lang="en-US" sz="1100" dirty="0">
                  <a:solidFill>
                    <a:schemeClr val="bg1">
                      <a:lumMod val="10000"/>
                    </a:schemeClr>
                  </a:solidFill>
                  <a:latin typeface="Calibri" panose="020F0502020204030204" pitchFamily="34" charset="0"/>
                  <a:cs typeface="Calibri" panose="020F0502020204030204" pitchFamily="34" charset="0"/>
                </a:rPr>
                <a:t>Above 1000 VUs - $1575 / Month</a:t>
              </a:r>
              <a:endParaRPr lang="en-IN" sz="1100" dirty="0">
                <a:solidFill>
                  <a:schemeClr val="bg1">
                    <a:lumMod val="10000"/>
                  </a:schemeClr>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Lack of protocols for legacy systems</a:t>
              </a:r>
            </a:p>
          </p:txBody>
        </p:sp>
        <p:sp>
          <p:nvSpPr>
            <p:cNvPr id="16" name="TextBox 15"/>
            <p:cNvSpPr txBox="1"/>
            <p:nvPr/>
          </p:nvSpPr>
          <p:spPr>
            <a:xfrm>
              <a:off x="9195514" y="4497374"/>
              <a:ext cx="2446986" cy="1477328"/>
            </a:xfrm>
            <a:prstGeom prst="rect">
              <a:avLst/>
            </a:prstGeom>
          </p:spPr>
          <p:txBody>
            <a:bodyPr wrap="square" lIns="0" tIns="0" rIns="0" bIns="0" rtlCol="0">
              <a:spAutoFit/>
            </a:bodyPr>
            <a:lstStyle/>
            <a:p>
              <a:pPr marL="28575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Licensed</a:t>
              </a:r>
            </a:p>
            <a:p>
              <a:pPr marL="28575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License costs are high</a:t>
              </a:r>
            </a:p>
            <a:p>
              <a:pPr marL="285750" indent="-285750">
                <a:buFont typeface="Wingdings" panose="05000000000000000000" pitchFamily="2" charset="2"/>
                <a:buChar char="§"/>
              </a:pPr>
              <a:r>
                <a:rPr lang="en-IN" sz="1200" b="1" dirty="0">
                  <a:solidFill>
                    <a:schemeClr val="bg1">
                      <a:lumMod val="10000"/>
                    </a:schemeClr>
                  </a:solidFill>
                  <a:latin typeface="Calibri" panose="020F0502020204030204" pitchFamily="34" charset="0"/>
                  <a:cs typeface="Calibri" panose="020F0502020204030204" pitchFamily="34" charset="0"/>
                </a:rPr>
                <a:t>Cost:</a:t>
              </a:r>
            </a:p>
            <a:p>
              <a:pPr marL="742950" lvl="1" indent="-285750">
                <a:buFont typeface="Wingdings" panose="05000000000000000000" pitchFamily="2" charset="2"/>
                <a:buChar char="§"/>
              </a:pPr>
              <a:r>
                <a:rPr lang="en-US" sz="1200" dirty="0">
                  <a:solidFill>
                    <a:schemeClr val="bg1">
                      <a:lumMod val="10000"/>
                    </a:schemeClr>
                  </a:solidFill>
                  <a:latin typeface="Calibri" panose="020F0502020204030204" pitchFamily="34" charset="0"/>
                  <a:cs typeface="Calibri" panose="020F0502020204030204" pitchFamily="34" charset="0"/>
                </a:rPr>
                <a:t>999 VUs - $ 4995 / Day</a:t>
              </a:r>
            </a:p>
            <a:p>
              <a:pPr marL="742950" lvl="1" indent="-285750">
                <a:buFont typeface="Wingdings" panose="05000000000000000000" pitchFamily="2" charset="2"/>
                <a:buChar char="§"/>
              </a:pPr>
              <a:r>
                <a:rPr lang="en-US" sz="1200" dirty="0">
                  <a:solidFill>
                    <a:schemeClr val="bg1">
                      <a:lumMod val="10000"/>
                    </a:schemeClr>
                  </a:solidFill>
                  <a:latin typeface="Calibri" panose="020F0502020204030204" pitchFamily="34" charset="0"/>
                  <a:cs typeface="Calibri" panose="020F0502020204030204" pitchFamily="34" charset="0"/>
                </a:rPr>
                <a:t>9999 VUs - $ 34996 / Day</a:t>
              </a:r>
              <a:endParaRPr lang="en-IN" sz="1200" dirty="0">
                <a:solidFill>
                  <a:schemeClr val="bg1">
                    <a:lumMod val="10000"/>
                  </a:schemeClr>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Multiple components and hardware requirement is comparatively high</a:t>
              </a:r>
            </a:p>
          </p:txBody>
        </p:sp>
        <p:sp>
          <p:nvSpPr>
            <p:cNvPr id="17" name="TextBox 16"/>
            <p:cNvSpPr txBox="1"/>
            <p:nvPr/>
          </p:nvSpPr>
          <p:spPr>
            <a:xfrm>
              <a:off x="287574" y="2353125"/>
              <a:ext cx="276999" cy="1571222"/>
            </a:xfrm>
            <a:prstGeom prst="rect">
              <a:avLst/>
            </a:prstGeom>
          </p:spPr>
          <p:txBody>
            <a:bodyPr vert="vert270" wrap="square" lIns="0" tIns="0" rIns="0" bIns="0" rtlCol="0" anchor="ctr">
              <a:spAutoFit/>
            </a:bodyPr>
            <a:lstStyle/>
            <a:p>
              <a:pPr algn="ctr"/>
              <a:r>
                <a:rPr lang="en-IN" b="1" dirty="0">
                  <a:solidFill>
                    <a:srgbClr val="00B050"/>
                  </a:solidFill>
                  <a:latin typeface="Calibri" panose="020F0502020204030204" pitchFamily="34" charset="0"/>
                  <a:cs typeface="Calibri" panose="020F0502020204030204" pitchFamily="34" charset="0"/>
                </a:rPr>
                <a:t>PROS</a:t>
              </a:r>
            </a:p>
          </p:txBody>
        </p:sp>
        <p:sp>
          <p:nvSpPr>
            <p:cNvPr id="18" name="TextBox 17"/>
            <p:cNvSpPr txBox="1"/>
            <p:nvPr/>
          </p:nvSpPr>
          <p:spPr>
            <a:xfrm>
              <a:off x="287573" y="4403480"/>
              <a:ext cx="276999" cy="1571222"/>
            </a:xfrm>
            <a:prstGeom prst="rect">
              <a:avLst/>
            </a:prstGeom>
          </p:spPr>
          <p:txBody>
            <a:bodyPr vert="vert270" wrap="square" lIns="0" tIns="0" rIns="0" bIns="0" rtlCol="0" anchor="ctr">
              <a:spAutoFit/>
            </a:bodyPr>
            <a:lstStyle/>
            <a:p>
              <a:pPr algn="ctr"/>
              <a:r>
                <a:rPr lang="en-IN" b="1" dirty="0">
                  <a:solidFill>
                    <a:srgbClr val="FF0000"/>
                  </a:solidFill>
                  <a:latin typeface="Calibri" panose="020F0502020204030204" pitchFamily="34" charset="0"/>
                  <a:cs typeface="Calibri" panose="020F0502020204030204" pitchFamily="34" charset="0"/>
                </a:rPr>
                <a:t>CONS</a:t>
              </a:r>
            </a:p>
          </p:txBody>
        </p:sp>
        <p:sp>
          <p:nvSpPr>
            <p:cNvPr id="19" name="TextBox 18"/>
            <p:cNvSpPr txBox="1"/>
            <p:nvPr/>
          </p:nvSpPr>
          <p:spPr>
            <a:xfrm>
              <a:off x="1493949" y="2185087"/>
              <a:ext cx="2446986" cy="1661993"/>
            </a:xfrm>
            <a:prstGeom prst="rect">
              <a:avLst/>
            </a:prstGeom>
          </p:spPr>
          <p:txBody>
            <a:bodyPr wrap="square" lIns="0" tIns="0" rIns="0" bIns="0" rtlCol="0">
              <a:spAutoFit/>
            </a:bodyPr>
            <a:lstStyle/>
            <a:p>
              <a:pPr marL="285750" lvl="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Open source</a:t>
              </a:r>
            </a:p>
            <a:p>
              <a:pPr marL="285750" lvl="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Easy Installation</a:t>
              </a:r>
            </a:p>
            <a:p>
              <a:pPr marL="285750" lvl="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Supports major web and web services protocol</a:t>
              </a:r>
            </a:p>
            <a:p>
              <a:pPr marL="285750" lvl="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Can be integrated with CI tools</a:t>
              </a:r>
            </a:p>
            <a:p>
              <a:pPr marL="285750" lvl="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Support Java, bean shell and Groovy scripting</a:t>
              </a:r>
            </a:p>
            <a:p>
              <a:pPr marL="285750" lvl="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Implemented in GIB, Metro Bank, Bank ABC and Bank Muscat </a:t>
              </a:r>
            </a:p>
          </p:txBody>
        </p:sp>
        <p:sp>
          <p:nvSpPr>
            <p:cNvPr id="20" name="TextBox 19"/>
            <p:cNvSpPr txBox="1"/>
            <p:nvPr/>
          </p:nvSpPr>
          <p:spPr>
            <a:xfrm>
              <a:off x="5396247" y="2119229"/>
              <a:ext cx="2446986" cy="1661993"/>
            </a:xfrm>
            <a:prstGeom prst="rect">
              <a:avLst/>
            </a:prstGeom>
          </p:spPr>
          <p:txBody>
            <a:bodyPr wrap="square" lIns="0" tIns="0" rIns="0" bIns="0" rtlCol="0">
              <a:spAutoFit/>
            </a:bodyPr>
            <a:lstStyle/>
            <a:p>
              <a:pPr marL="285750" lvl="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Supports multiple protocol</a:t>
              </a:r>
            </a:p>
            <a:p>
              <a:pPr marL="285750" lvl="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More insights on KPI’s</a:t>
              </a:r>
            </a:p>
            <a:p>
              <a:pPr marL="285750" lvl="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Customized reporting</a:t>
              </a:r>
            </a:p>
            <a:p>
              <a:pPr marL="285750" lvl="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Can be integrated with APM tools</a:t>
              </a:r>
            </a:p>
            <a:p>
              <a:pPr marL="285750" lvl="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Real time execution monitoring</a:t>
              </a:r>
            </a:p>
            <a:p>
              <a:pPr marL="285750" lvl="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Flexible licensing mode</a:t>
              </a:r>
            </a:p>
            <a:p>
              <a:pPr marL="285750" lvl="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Implemented in BAB, Riyadh Bank, Bank Muscat, KIB, QIB, ANB, Alawwal, Al </a:t>
              </a:r>
              <a:r>
                <a:rPr lang="en-IN" sz="1200" dirty="0" err="1">
                  <a:solidFill>
                    <a:schemeClr val="bg1">
                      <a:lumMod val="10000"/>
                    </a:schemeClr>
                  </a:solidFill>
                  <a:latin typeface="Calibri" panose="020F0502020204030204" pitchFamily="34" charset="0"/>
                  <a:cs typeface="Calibri" panose="020F0502020204030204" pitchFamily="34" charset="0"/>
                </a:rPr>
                <a:t>Rajhi</a:t>
              </a:r>
              <a:r>
                <a:rPr lang="en-IN" sz="1200" dirty="0">
                  <a:solidFill>
                    <a:schemeClr val="bg1">
                      <a:lumMod val="10000"/>
                    </a:schemeClr>
                  </a:solidFill>
                  <a:latin typeface="Calibri" panose="020F0502020204030204" pitchFamily="34" charset="0"/>
                  <a:cs typeface="Calibri" panose="020F0502020204030204" pitchFamily="34" charset="0"/>
                </a:rPr>
                <a:t>, etc..</a:t>
              </a:r>
            </a:p>
          </p:txBody>
        </p:sp>
        <p:sp>
          <p:nvSpPr>
            <p:cNvPr id="21" name="TextBox 20"/>
            <p:cNvSpPr txBox="1"/>
            <p:nvPr/>
          </p:nvSpPr>
          <p:spPr>
            <a:xfrm>
              <a:off x="9195514" y="2158716"/>
              <a:ext cx="2446986" cy="1292662"/>
            </a:xfrm>
            <a:prstGeom prst="rect">
              <a:avLst/>
            </a:prstGeom>
          </p:spPr>
          <p:txBody>
            <a:bodyPr wrap="square" lIns="0" tIns="0" rIns="0" bIns="0" rtlCol="0">
              <a:spAutoFit/>
            </a:bodyPr>
            <a:lstStyle/>
            <a:p>
              <a:pPr marL="285750" lvl="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Supports 50+ protocol</a:t>
              </a:r>
            </a:p>
            <a:p>
              <a:pPr marL="285750" lvl="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Protocols that support legacy systems and other technologies</a:t>
              </a:r>
            </a:p>
            <a:p>
              <a:pPr marL="285750" lvl="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Real time execution monitoring</a:t>
              </a:r>
            </a:p>
            <a:p>
              <a:pPr marL="285750" lvl="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Can be integrated with APM tool</a:t>
              </a:r>
            </a:p>
            <a:p>
              <a:pPr marL="285750" lvl="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Could based load generators</a:t>
              </a:r>
            </a:p>
            <a:p>
              <a:pPr marL="285750" lvl="0" indent="-285750">
                <a:buFont typeface="Wingdings" panose="05000000000000000000" pitchFamily="2" charset="2"/>
                <a:buChar char="§"/>
              </a:pPr>
              <a:r>
                <a:rPr lang="en-IN" sz="1200" dirty="0">
                  <a:solidFill>
                    <a:schemeClr val="bg1">
                      <a:lumMod val="10000"/>
                    </a:schemeClr>
                  </a:solidFill>
                  <a:latin typeface="Calibri" panose="020F0502020204030204" pitchFamily="34" charset="0"/>
                  <a:cs typeface="Calibri" panose="020F0502020204030204" pitchFamily="34" charset="0"/>
                </a:rPr>
                <a:t>Implemented in SABB and SAMBA</a:t>
              </a:r>
            </a:p>
          </p:txBody>
        </p:sp>
      </p:grpSp>
    </p:spTree>
    <p:extLst>
      <p:ext uri="{BB962C8B-B14F-4D97-AF65-F5344CB8AC3E}">
        <p14:creationId xmlns:p14="http://schemas.microsoft.com/office/powerpoint/2010/main" val="6266372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OM2KffsW0S2Oq2EcgZM5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gRmh0hbWUGscvzaKWhZ.A"/>
</p:tagLst>
</file>

<file path=ppt/theme/theme1.xml><?xml version="1.0" encoding="utf-8"?>
<a:theme xmlns:a="http://schemas.openxmlformats.org/drawingml/2006/main" name="GIB Theme - White/Yellow">
  <a:themeElements>
    <a:clrScheme name="GIB Colors">
      <a:dk1>
        <a:srgbClr val="53565A"/>
      </a:dk1>
      <a:lt1>
        <a:srgbClr val="D9D9D6"/>
      </a:lt1>
      <a:dk2>
        <a:srgbClr val="A2AAAD"/>
      </a:dk2>
      <a:lt2>
        <a:srgbClr val="FFFFFF"/>
      </a:lt2>
      <a:accent1>
        <a:srgbClr val="FFC72C"/>
      </a:accent1>
      <a:accent2>
        <a:srgbClr val="A50034"/>
      </a:accent2>
      <a:accent3>
        <a:srgbClr val="A7A2C3"/>
      </a:accent3>
      <a:accent4>
        <a:srgbClr val="0085CA"/>
      </a:accent4>
      <a:accent5>
        <a:srgbClr val="00587C"/>
      </a:accent5>
      <a:accent6>
        <a:srgbClr val="00A499"/>
      </a:accent6>
      <a:hlink>
        <a:srgbClr val="00A499"/>
      </a:hlink>
      <a:folHlink>
        <a:srgbClr val="FFC72C"/>
      </a:folHlink>
    </a:clrScheme>
    <a:fontScheme name="Custom 1">
      <a:majorFont>
        <a:latin typeface="Arial"/>
        <a:ea typeface=""/>
        <a:cs typeface=""/>
      </a:majorFont>
      <a:minorFont>
        <a:latin typeface="Arial"/>
        <a:ea typeface=""/>
        <a:cs typeface=""/>
      </a:minorFont>
    </a:fontScheme>
    <a:fmtScheme name="Glossy">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12700" cap="flat" cmpd="sng" algn="ctr">
          <a:solidFill>
            <a:schemeClr val="phClr">
              <a:tint val="95000"/>
              <a:shade val="95000"/>
              <a:satMod val="120000"/>
            </a:schemeClr>
          </a:solidFill>
          <a:prstDash val="solid"/>
        </a:ln>
        <a:ln w="55000" cap="flat" cmpd="thickThin" algn="ctr">
          <a:solidFill>
            <a:schemeClr val="phClr">
              <a:tint val="90000"/>
              <a:satMod val="130000"/>
            </a:schemeClr>
          </a:solidFill>
          <a:prstDash val="solid"/>
        </a:ln>
        <a:ln w="50800" cap="flat" cmpd="sng"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ank.potx" id="{1CDBC1F3-7FE1-4AA1-9392-4055A7C40742}" vid="{76AA0C87-697E-468C-8EDE-6957A732DF70}"/>
    </a:ext>
  </a:extLst>
</a:theme>
</file>

<file path=ppt/theme/theme2.xml><?xml version="1.0" encoding="utf-8"?>
<a:theme xmlns:a="http://schemas.openxmlformats.org/drawingml/2006/main" name="GIB Theme - Charcoal Gray">
  <a:themeElements>
    <a:clrScheme name="GIB Colors">
      <a:dk1>
        <a:srgbClr val="53565A"/>
      </a:dk1>
      <a:lt1>
        <a:srgbClr val="D9D9D6"/>
      </a:lt1>
      <a:dk2>
        <a:srgbClr val="A2AAAD"/>
      </a:dk2>
      <a:lt2>
        <a:srgbClr val="FFFFFF"/>
      </a:lt2>
      <a:accent1>
        <a:srgbClr val="FFC72C"/>
      </a:accent1>
      <a:accent2>
        <a:srgbClr val="A50034"/>
      </a:accent2>
      <a:accent3>
        <a:srgbClr val="A7A2C3"/>
      </a:accent3>
      <a:accent4>
        <a:srgbClr val="0085CA"/>
      </a:accent4>
      <a:accent5>
        <a:srgbClr val="00587C"/>
      </a:accent5>
      <a:accent6>
        <a:srgbClr val="00A499"/>
      </a:accent6>
      <a:hlink>
        <a:srgbClr val="00A499"/>
      </a:hlink>
      <a:folHlink>
        <a:srgbClr val="FFC72C"/>
      </a:folHlink>
    </a:clrScheme>
    <a:fontScheme name="GIB Fonts">
      <a:majorFont>
        <a:latin typeface="Arial"/>
        <a:ea typeface=""/>
        <a:cs typeface=""/>
      </a:majorFont>
      <a:minorFont>
        <a:latin typeface="Georgia"/>
        <a:ea typeface=""/>
        <a:cs typeface=""/>
      </a:minorFont>
    </a:fontScheme>
    <a:fmtScheme name="Glossy">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12700" cap="flat" cmpd="sng" algn="ctr">
          <a:solidFill>
            <a:schemeClr val="phClr">
              <a:tint val="95000"/>
              <a:shade val="95000"/>
              <a:satMod val="120000"/>
            </a:schemeClr>
          </a:solidFill>
          <a:prstDash val="solid"/>
        </a:ln>
        <a:ln w="55000" cap="flat" cmpd="thickThin" algn="ctr">
          <a:solidFill>
            <a:schemeClr val="phClr">
              <a:tint val="90000"/>
              <a:satMod val="130000"/>
            </a:schemeClr>
          </a:solidFill>
          <a:prstDash val="solid"/>
        </a:ln>
        <a:ln w="50800" cap="flat" cmpd="sng"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lstStyle>
        <a:defPPr>
          <a:defRPr dirty="0" smtClean="0"/>
        </a:defPPr>
      </a:lstStyle>
    </a:txDef>
  </a:objectDefaults>
  <a:extraClrSchemeLst/>
  <a:extLst>
    <a:ext uri="{05A4C25C-085E-4340-85A3-A5531E510DB2}">
      <thm15:themeFamily xmlns:thm15="http://schemas.microsoft.com/office/thememl/2012/main" name="Blank.potx" id="{1CDBC1F3-7FE1-4AA1-9392-4055A7C40742}" vid="{2C096D91-0F72-469C-AFB7-44819315F6D2}"/>
    </a:ext>
  </a:extLst>
</a:theme>
</file>

<file path=ppt/theme/theme3.xml><?xml version="1.0" encoding="utf-8"?>
<a:theme xmlns:a="http://schemas.openxmlformats.org/drawingml/2006/main" name="Office Theme">
  <a:themeElements>
    <a:clrScheme name="GIB Colors">
      <a:dk1>
        <a:srgbClr val="53565A"/>
      </a:dk1>
      <a:lt1>
        <a:srgbClr val="D9D9D6"/>
      </a:lt1>
      <a:dk2>
        <a:srgbClr val="A2AAAD"/>
      </a:dk2>
      <a:lt2>
        <a:srgbClr val="FFFFFF"/>
      </a:lt2>
      <a:accent1>
        <a:srgbClr val="FFC72C"/>
      </a:accent1>
      <a:accent2>
        <a:srgbClr val="A50034"/>
      </a:accent2>
      <a:accent3>
        <a:srgbClr val="A7A2C3"/>
      </a:accent3>
      <a:accent4>
        <a:srgbClr val="0085CA"/>
      </a:accent4>
      <a:accent5>
        <a:srgbClr val="00587C"/>
      </a:accent5>
      <a:accent6>
        <a:srgbClr val="00A499"/>
      </a:accent6>
      <a:hlink>
        <a:srgbClr val="00A499"/>
      </a:hlink>
      <a:folHlink>
        <a:srgbClr val="FFC72C"/>
      </a:folHlink>
    </a:clrScheme>
    <a:fontScheme name="GIB Fonts">
      <a:majorFont>
        <a:latin typeface="Arial"/>
        <a:ea typeface=""/>
        <a:cs typeface=""/>
      </a:majorFont>
      <a:minorFont>
        <a:latin typeface="Georgia"/>
        <a:ea typeface=""/>
        <a:cs typeface=""/>
      </a:minorFont>
    </a:fontScheme>
    <a:fmtScheme name="Glossy">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12700" cap="flat" cmpd="sng" algn="ctr">
          <a:solidFill>
            <a:schemeClr val="phClr">
              <a:tint val="95000"/>
              <a:shade val="95000"/>
              <a:satMod val="120000"/>
            </a:schemeClr>
          </a:solidFill>
          <a:prstDash val="solid"/>
        </a:ln>
        <a:ln w="55000" cap="flat" cmpd="thickThin" algn="ctr">
          <a:solidFill>
            <a:schemeClr val="phClr">
              <a:tint val="90000"/>
              <a:satMod val="130000"/>
            </a:schemeClr>
          </a:solidFill>
          <a:prstDash val="solid"/>
        </a:ln>
        <a:ln w="50800" cap="flat" cmpd="sng"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GIB Colors">
      <a:dk1>
        <a:srgbClr val="000000"/>
      </a:dk1>
      <a:lt1>
        <a:srgbClr val="F4F4F3"/>
      </a:lt1>
      <a:dk2>
        <a:srgbClr val="53565A"/>
      </a:dk2>
      <a:lt2>
        <a:srgbClr val="D9D9D6"/>
      </a:lt2>
      <a:accent1>
        <a:srgbClr val="FFC72C"/>
      </a:accent1>
      <a:accent2>
        <a:srgbClr val="AD0132"/>
      </a:accent2>
      <a:accent3>
        <a:srgbClr val="A8A1C2"/>
      </a:accent3>
      <a:accent4>
        <a:srgbClr val="0082CB"/>
      </a:accent4>
      <a:accent5>
        <a:srgbClr val="00A19C"/>
      </a:accent5>
      <a:accent6>
        <a:srgbClr val="73233C"/>
      </a:accent6>
      <a:hlink>
        <a:srgbClr val="FFC72C"/>
      </a:hlink>
      <a:folHlink>
        <a:srgbClr val="A8A1C2"/>
      </a:folHlink>
    </a:clrScheme>
    <a:fontScheme name="GIB Fonts">
      <a:majorFont>
        <a:latin typeface="Arial"/>
        <a:ea typeface=""/>
        <a:cs typeface=""/>
      </a:majorFont>
      <a:minorFont>
        <a:latin typeface="Georgia"/>
        <a:ea typeface=""/>
        <a:cs typeface=""/>
      </a:minorFont>
    </a:fontScheme>
    <a:fmtScheme name="Glossy">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12700" cap="flat" cmpd="sng" algn="ctr">
          <a:solidFill>
            <a:schemeClr val="phClr">
              <a:tint val="95000"/>
              <a:shade val="95000"/>
              <a:satMod val="120000"/>
            </a:schemeClr>
          </a:solidFill>
          <a:prstDash val="solid"/>
        </a:ln>
        <a:ln w="55000" cap="flat" cmpd="thickThin" algn="ctr">
          <a:solidFill>
            <a:schemeClr val="phClr">
              <a:tint val="90000"/>
              <a:satMod val="130000"/>
            </a:schemeClr>
          </a:solidFill>
          <a:prstDash val="solid"/>
        </a:ln>
        <a:ln w="50800" cap="flat" cmpd="sng"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823</TotalTime>
  <Words>1400</Words>
  <Application>Microsoft Office PowerPoint</Application>
  <PresentationFormat>Widescreen</PresentationFormat>
  <Paragraphs>392</Paragraphs>
  <Slides>13</Slides>
  <Notes>0</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8" baseType="lpstr">
      <vt:lpstr>Arial Unicode MS</vt:lpstr>
      <vt:lpstr>MS PGothic</vt:lpstr>
      <vt:lpstr>Arial</vt:lpstr>
      <vt:lpstr>Calibiri</vt:lpstr>
      <vt:lpstr>Calibri</vt:lpstr>
      <vt:lpstr>Calibri (Body)</vt:lpstr>
      <vt:lpstr>Georgia</vt:lpstr>
      <vt:lpstr>Glosa Roman</vt:lpstr>
      <vt:lpstr>Lucida Grande</vt:lpstr>
      <vt:lpstr>Times New Roman</vt:lpstr>
      <vt:lpstr>Verdana</vt:lpstr>
      <vt:lpstr>Wingdings</vt:lpstr>
      <vt:lpstr>GIB Theme - White/Yellow</vt:lpstr>
      <vt:lpstr>GIB Theme - Charcoal Gray</vt:lpstr>
      <vt:lpstr>Worksheet</vt:lpstr>
      <vt:lpstr>GIB Retail Performance Test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unasekaranj@maveric-systems.com</dc:creator>
  <cp:lastModifiedBy>Windows User</cp:lastModifiedBy>
  <cp:revision>88</cp:revision>
  <dcterms:created xsi:type="dcterms:W3CDTF">2019-11-21T15:06:02Z</dcterms:created>
  <dcterms:modified xsi:type="dcterms:W3CDTF">2020-03-03T09:56:35Z</dcterms:modified>
</cp:coreProperties>
</file>